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59" r:id="rId5"/>
    <p:sldId id="1134" r:id="rId6"/>
    <p:sldId id="2134805942" r:id="rId7"/>
    <p:sldId id="2134805940" r:id="rId8"/>
    <p:sldId id="2134805941" r:id="rId9"/>
    <p:sldId id="2134805938" r:id="rId10"/>
    <p:sldId id="2134805939" r:id="rId11"/>
    <p:sldId id="2134805943" r:id="rId12"/>
    <p:sldId id="2134805947" r:id="rId13"/>
    <p:sldId id="2134805945" r:id="rId14"/>
    <p:sldId id="2134805948" r:id="rId15"/>
    <p:sldId id="2134805928" r:id="rId16"/>
    <p:sldId id="2134805950" r:id="rId17"/>
    <p:sldId id="2134805951" r:id="rId18"/>
  </p:sldIdLst>
  <p:sldSz cx="13004800" cy="9753600"/>
  <p:notesSz cx="9926638" cy="6797675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5pPr>
    <a:lvl6pPr marL="2286000" algn="l" defTabSz="914400" rtl="0" eaLnBrk="1" latinLnBrk="0" hangingPunct="1"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6pPr>
    <a:lvl7pPr marL="2743200" algn="l" defTabSz="914400" rtl="0" eaLnBrk="1" latinLnBrk="0" hangingPunct="1"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7pPr>
    <a:lvl8pPr marL="3200400" algn="l" defTabSz="914400" rtl="0" eaLnBrk="1" latinLnBrk="0" hangingPunct="1"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8pPr>
    <a:lvl9pPr marL="3657600" algn="l" defTabSz="914400" rtl="0" eaLnBrk="1" latinLnBrk="0" hangingPunct="1">
      <a:defRPr sz="24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8A645897-50D2-49D8-BD33-4D37B4E6F3E1}">
          <p14:sldIdLst>
            <p14:sldId id="259"/>
            <p14:sldId id="1134"/>
          </p14:sldIdLst>
        </p14:section>
        <p14:section name="TOP 1 Commissioing Concept" id="{761F9B0F-58A7-41B2-9953-CC77D71D0D63}">
          <p14:sldIdLst>
            <p14:sldId id="2134805942"/>
            <p14:sldId id="2134805940"/>
            <p14:sldId id="2134805941"/>
            <p14:sldId id="2134805938"/>
            <p14:sldId id="2134805939"/>
          </p14:sldIdLst>
        </p14:section>
        <p14:section name="TOP 2 Commissioing by System" id="{EFB192C1-D9A5-44AD-93C4-5E07A5FC9959}">
          <p14:sldIdLst>
            <p14:sldId id="2134805943"/>
            <p14:sldId id="2134805947"/>
            <p14:sldId id="2134805945"/>
            <p14:sldId id="2134805948"/>
          </p14:sldIdLst>
        </p14:section>
        <p14:section name="TOP 3 Schedule and Status" id="{1833487B-38AA-BE4E-8329-342D71D04675}">
          <p14:sldIdLst>
            <p14:sldId id="2134805928"/>
            <p14:sldId id="2134805950"/>
            <p14:sldId id="21348059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7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3" orient="horz" pos="1031" userDrawn="1">
          <p15:clr>
            <a:srgbClr val="A4A3A4"/>
          </p15:clr>
        </p15:guide>
        <p15:guide id="4" pos="7929" userDrawn="1">
          <p15:clr>
            <a:srgbClr val="A4A3A4"/>
          </p15:clr>
        </p15:guide>
        <p15:guide id="5" orient="horz" pos="45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8861" userDrawn="1">
          <p15:clr>
            <a:srgbClr val="A4A3A4"/>
          </p15:clr>
        </p15:guide>
        <p15:guide id="2" pos="4626" userDrawn="1">
          <p15:clr>
            <a:srgbClr val="A4A3A4"/>
          </p15:clr>
        </p15:guide>
        <p15:guide id="3" orient="horz" pos="8844" userDrawn="1">
          <p15:clr>
            <a:srgbClr val="A4A3A4"/>
          </p15:clr>
        </p15:guide>
        <p15:guide id="4" pos="46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chröder, Andreas" initials="SA" lastIdx="1" clrIdx="6">
    <p:extLst>
      <p:ext uri="{19B8F6BF-5375-455C-9EA6-DF929625EA0E}">
        <p15:presenceInfo xmlns:p15="http://schemas.microsoft.com/office/powerpoint/2012/main" userId="S::andreas.schroeder@dreso.com::16b3078c-88fc-4170-8236-77ffdd1c5389" providerId="AD"/>
      </p:ext>
    </p:extLst>
  </p:cmAuthor>
  <p:cmAuthor id="1" name="Kraus, Maria" initials="AM" lastIdx="1" clrIdx="0"/>
  <p:cmAuthor id="8" name="Iriohn, Sina" initials="IS" lastIdx="1" clrIdx="7">
    <p:extLst>
      <p:ext uri="{19B8F6BF-5375-455C-9EA6-DF929625EA0E}">
        <p15:presenceInfo xmlns:p15="http://schemas.microsoft.com/office/powerpoint/2012/main" userId="S::sina.iriohn@dreso.com::795634fc-5faf-49cb-b3c3-da9f615a4500" providerId="AD"/>
      </p:ext>
    </p:extLst>
  </p:cmAuthor>
  <p:cmAuthor id="2" name="Seuß, Andreas" initials="SA" lastIdx="10" clrIdx="1"/>
  <p:cmAuthor id="9" name="Walldorf, Nils" initials="WN" lastIdx="1" clrIdx="8">
    <p:extLst>
      <p:ext uri="{19B8F6BF-5375-455C-9EA6-DF929625EA0E}">
        <p15:presenceInfo xmlns:p15="http://schemas.microsoft.com/office/powerpoint/2012/main" userId="S::nils.walldorf@dreso.com::923a9281-2969-45e7-a401-dd7838126c45" providerId="AD"/>
      </p:ext>
    </p:extLst>
  </p:cmAuthor>
  <p:cmAuthor id="3" name="Wehenkel, Beate" initials="WB" lastIdx="15" clrIdx="2"/>
  <p:cmAuthor id="4" name="Thomas Burkhard" initials="" lastIdx="0" clrIdx="3"/>
  <p:cmAuthor id="5" name="Petto, Joerg" initials="PJ" lastIdx="9" clrIdx="4"/>
  <p:cmAuthor id="6" name="Bittner, Thomas" initials="BT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51DC"/>
    <a:srgbClr val="00599D"/>
    <a:srgbClr val="BE0064"/>
    <a:srgbClr val="DF80B2"/>
    <a:srgbClr val="FF9900"/>
    <a:srgbClr val="D38307"/>
    <a:srgbClr val="E8DAFF"/>
    <a:srgbClr val="FFFF00"/>
    <a:srgbClr val="168DC7"/>
    <a:srgbClr val="D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E2504C-7850-B048-9E06-F13420535A55}" v="4" dt="2024-10-24T12:54:31.599"/>
    <p1510:client id="{CE538C61-99F3-8A42-B75E-938B475D3AC8}" v="61" dt="2024-10-23T12:58:20.8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12" autoAdjust="0"/>
    <p:restoredTop sz="95918" autoAdjust="0"/>
  </p:normalViewPr>
  <p:slideViewPr>
    <p:cSldViewPr snapToGrid="0">
      <p:cViewPr varScale="1">
        <p:scale>
          <a:sx n="108" d="100"/>
          <a:sy n="108" d="100"/>
        </p:scale>
        <p:origin x="2382" y="90"/>
      </p:cViewPr>
      <p:guideLst>
        <p:guide orient="horz" pos="237"/>
        <p:guide pos="308"/>
        <p:guide orient="horz" pos="1031"/>
        <p:guide pos="7929"/>
        <p:guide orient="horz" pos="4524"/>
      </p:guideLst>
    </p:cSldViewPr>
  </p:slideViewPr>
  <p:outlineViewPr>
    <p:cViewPr>
      <p:scale>
        <a:sx n="33" d="100"/>
        <a:sy n="33" d="100"/>
      </p:scale>
      <p:origin x="0" y="-284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341"/>
    </p:cViewPr>
  </p:sorterViewPr>
  <p:notesViewPr>
    <p:cSldViewPr snapToGrid="0">
      <p:cViewPr>
        <p:scale>
          <a:sx n="10" d="100"/>
          <a:sy n="10" d="100"/>
        </p:scale>
        <p:origin x="5" y="-1142"/>
      </p:cViewPr>
      <p:guideLst>
        <p:guide orient="horz" pos="8861"/>
        <p:guide pos="4626"/>
        <p:guide orient="horz" pos="8844"/>
        <p:guide pos="46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lger May" userId="ed96bf5a-4522-4628-b69b-e0f6e41c79a6" providerId="ADAL" clId="{CE538C61-99F3-8A42-B75E-938B475D3AC8}"/>
    <pc:docChg chg="undo redo custSel addSld delSld modSld modSection">
      <pc:chgData name="Holger May" userId="ed96bf5a-4522-4628-b69b-e0f6e41c79a6" providerId="ADAL" clId="{CE538C61-99F3-8A42-B75E-938B475D3AC8}" dt="2024-10-23T13:10:39.654" v="2973" actId="20577"/>
      <pc:docMkLst>
        <pc:docMk/>
      </pc:docMkLst>
      <pc:sldChg chg="modNotesTx">
        <pc:chgData name="Holger May" userId="ed96bf5a-4522-4628-b69b-e0f6e41c79a6" providerId="ADAL" clId="{CE538C61-99F3-8A42-B75E-938B475D3AC8}" dt="2024-10-22T15:23:22.689" v="920" actId="20577"/>
        <pc:sldMkLst>
          <pc:docMk/>
          <pc:sldMk cId="1656952062" sldId="1387"/>
        </pc:sldMkLst>
      </pc:sldChg>
      <pc:sldChg chg="modNotesTx">
        <pc:chgData name="Holger May" userId="ed96bf5a-4522-4628-b69b-e0f6e41c79a6" providerId="ADAL" clId="{CE538C61-99F3-8A42-B75E-938B475D3AC8}" dt="2024-10-22T14:40:45.016" v="41" actId="20577"/>
        <pc:sldMkLst>
          <pc:docMk/>
          <pc:sldMk cId="3654985779" sldId="2134805798"/>
        </pc:sldMkLst>
      </pc:sldChg>
      <pc:sldChg chg="del">
        <pc:chgData name="Holger May" userId="ed96bf5a-4522-4628-b69b-e0f6e41c79a6" providerId="ADAL" clId="{CE538C61-99F3-8A42-B75E-938B475D3AC8}" dt="2024-10-22T14:55:11.957" v="603" actId="2696"/>
        <pc:sldMkLst>
          <pc:docMk/>
          <pc:sldMk cId="4205354773" sldId="2134805911"/>
        </pc:sldMkLst>
      </pc:sldChg>
      <pc:sldChg chg="modSp mod">
        <pc:chgData name="Holger May" userId="ed96bf5a-4522-4628-b69b-e0f6e41c79a6" providerId="ADAL" clId="{CE538C61-99F3-8A42-B75E-938B475D3AC8}" dt="2024-10-23T11:02:12.471" v="1041" actId="20577"/>
        <pc:sldMkLst>
          <pc:docMk/>
          <pc:sldMk cId="2774276130" sldId="2134805912"/>
        </pc:sldMkLst>
        <pc:spChg chg="mod">
          <ac:chgData name="Holger May" userId="ed96bf5a-4522-4628-b69b-e0f6e41c79a6" providerId="ADAL" clId="{CE538C61-99F3-8A42-B75E-938B475D3AC8}" dt="2024-10-23T11:02:12.471" v="1041" actId="20577"/>
          <ac:spMkLst>
            <pc:docMk/>
            <pc:sldMk cId="2774276130" sldId="2134805912"/>
            <ac:spMk id="5" creationId="{00000000-0000-0000-0000-000000000000}"/>
          </ac:spMkLst>
        </pc:spChg>
        <pc:spChg chg="mod">
          <ac:chgData name="Holger May" userId="ed96bf5a-4522-4628-b69b-e0f6e41c79a6" providerId="ADAL" clId="{CE538C61-99F3-8A42-B75E-938B475D3AC8}" dt="2024-10-22T14:57:11.231" v="622" actId="20577"/>
          <ac:spMkLst>
            <pc:docMk/>
            <pc:sldMk cId="2774276130" sldId="2134805912"/>
            <ac:spMk id="8" creationId="{D431A752-896A-4AA5-9989-FDE80EB78DD0}"/>
          </ac:spMkLst>
        </pc:spChg>
      </pc:sldChg>
      <pc:sldChg chg="modSp mod modNotesTx">
        <pc:chgData name="Holger May" userId="ed96bf5a-4522-4628-b69b-e0f6e41c79a6" providerId="ADAL" clId="{CE538C61-99F3-8A42-B75E-938B475D3AC8}" dt="2024-10-22T15:05:15.413" v="728" actId="20577"/>
        <pc:sldMkLst>
          <pc:docMk/>
          <pc:sldMk cId="2895693503" sldId="2134805920"/>
        </pc:sldMkLst>
        <pc:spChg chg="mod">
          <ac:chgData name="Holger May" userId="ed96bf5a-4522-4628-b69b-e0f6e41c79a6" providerId="ADAL" clId="{CE538C61-99F3-8A42-B75E-938B475D3AC8}" dt="2024-10-22T14:56:10.182" v="607" actId="20577"/>
          <ac:spMkLst>
            <pc:docMk/>
            <pc:sldMk cId="2895693503" sldId="2134805920"/>
            <ac:spMk id="4" creationId="{9BC32237-0CC4-40EF-878A-D1E4293518CC}"/>
          </ac:spMkLst>
        </pc:spChg>
        <pc:spChg chg="mod">
          <ac:chgData name="Holger May" userId="ed96bf5a-4522-4628-b69b-e0f6e41c79a6" providerId="ADAL" clId="{CE538C61-99F3-8A42-B75E-938B475D3AC8}" dt="2024-10-22T14:56:14.460" v="610" actId="20577"/>
          <ac:spMkLst>
            <pc:docMk/>
            <pc:sldMk cId="2895693503" sldId="2134805920"/>
            <ac:spMk id="46" creationId="{5317115F-90D7-4958-82E7-B9F397FD5FE1}"/>
          </ac:spMkLst>
        </pc:spChg>
        <pc:spChg chg="mod">
          <ac:chgData name="Holger May" userId="ed96bf5a-4522-4628-b69b-e0f6e41c79a6" providerId="ADAL" clId="{CE538C61-99F3-8A42-B75E-938B475D3AC8}" dt="2024-10-22T15:03:52.660" v="673" actId="14100"/>
          <ac:spMkLst>
            <pc:docMk/>
            <pc:sldMk cId="2895693503" sldId="2134805920"/>
            <ac:spMk id="56" creationId="{723B706A-9D48-4CB6-A97B-38B95175EA24}"/>
          </ac:spMkLst>
        </pc:spChg>
        <pc:spChg chg="mod">
          <ac:chgData name="Holger May" userId="ed96bf5a-4522-4628-b69b-e0f6e41c79a6" providerId="ADAL" clId="{CE538C61-99F3-8A42-B75E-938B475D3AC8}" dt="2024-10-22T15:03:59.428" v="703" actId="1038"/>
          <ac:spMkLst>
            <pc:docMk/>
            <pc:sldMk cId="2895693503" sldId="2134805920"/>
            <ac:spMk id="59" creationId="{C7462FE1-FEEF-4E9C-855B-822132BDA567}"/>
          </ac:spMkLst>
        </pc:spChg>
      </pc:sldChg>
      <pc:sldChg chg="modNotesTx">
        <pc:chgData name="Holger May" userId="ed96bf5a-4522-4628-b69b-e0f6e41c79a6" providerId="ADAL" clId="{CE538C61-99F3-8A42-B75E-938B475D3AC8}" dt="2024-10-22T14:42:02.729" v="49" actId="20577"/>
        <pc:sldMkLst>
          <pc:docMk/>
          <pc:sldMk cId="977238806" sldId="2134805924"/>
        </pc:sldMkLst>
      </pc:sldChg>
      <pc:sldChg chg="modSp mod modNotesTx">
        <pc:chgData name="Holger May" userId="ed96bf5a-4522-4628-b69b-e0f6e41c79a6" providerId="ADAL" clId="{CE538C61-99F3-8A42-B75E-938B475D3AC8}" dt="2024-10-23T11:02:27.679" v="1043" actId="20577"/>
        <pc:sldMkLst>
          <pc:docMk/>
          <pc:sldMk cId="3136853054" sldId="2134805928"/>
        </pc:sldMkLst>
        <pc:spChg chg="mod">
          <ac:chgData name="Holger May" userId="ed96bf5a-4522-4628-b69b-e0f6e41c79a6" providerId="ADAL" clId="{CE538C61-99F3-8A42-B75E-938B475D3AC8}" dt="2024-10-23T11:02:27.679" v="1043" actId="20577"/>
          <ac:spMkLst>
            <pc:docMk/>
            <pc:sldMk cId="3136853054" sldId="2134805928"/>
            <ac:spMk id="40" creationId="{A7CAB08F-CCEA-462B-BE32-9F261D37804A}"/>
          </ac:spMkLst>
        </pc:spChg>
      </pc:sldChg>
      <pc:sldChg chg="addSp delSp modSp mod">
        <pc:chgData name="Holger May" userId="ed96bf5a-4522-4628-b69b-e0f6e41c79a6" providerId="ADAL" clId="{CE538C61-99F3-8A42-B75E-938B475D3AC8}" dt="2024-10-22T15:20:33.800" v="885" actId="478"/>
        <pc:sldMkLst>
          <pc:docMk/>
          <pc:sldMk cId="287016036" sldId="2134805929"/>
        </pc:sldMkLst>
        <pc:spChg chg="add del mod">
          <ac:chgData name="Holger May" userId="ed96bf5a-4522-4628-b69b-e0f6e41c79a6" providerId="ADAL" clId="{CE538C61-99F3-8A42-B75E-938B475D3AC8}" dt="2024-10-22T15:20:33.800" v="885" actId="478"/>
          <ac:spMkLst>
            <pc:docMk/>
            <pc:sldMk cId="287016036" sldId="2134805929"/>
            <ac:spMk id="2" creationId="{C03997ED-1440-E8E9-92B6-68F76E179A69}"/>
          </ac:spMkLst>
        </pc:spChg>
        <pc:spChg chg="add del mod">
          <ac:chgData name="Holger May" userId="ed96bf5a-4522-4628-b69b-e0f6e41c79a6" providerId="ADAL" clId="{CE538C61-99F3-8A42-B75E-938B475D3AC8}" dt="2024-10-22T15:20:26.154" v="884" actId="478"/>
          <ac:spMkLst>
            <pc:docMk/>
            <pc:sldMk cId="287016036" sldId="2134805929"/>
            <ac:spMk id="4" creationId="{7CCBA081-F053-7439-017A-05C6AAB155B1}"/>
          </ac:spMkLst>
        </pc:spChg>
        <pc:spChg chg="mod">
          <ac:chgData name="Holger May" userId="ed96bf5a-4522-4628-b69b-e0f6e41c79a6" providerId="ADAL" clId="{CE538C61-99F3-8A42-B75E-938B475D3AC8}" dt="2024-10-22T15:13:54.582" v="834" actId="20577"/>
          <ac:spMkLst>
            <pc:docMk/>
            <pc:sldMk cId="287016036" sldId="2134805929"/>
            <ac:spMk id="52" creationId="{09849E5A-BF53-46FB-8AB6-4D3F19EEB4A3}"/>
          </ac:spMkLst>
        </pc:spChg>
        <pc:spChg chg="mod">
          <ac:chgData name="Holger May" userId="ed96bf5a-4522-4628-b69b-e0f6e41c79a6" providerId="ADAL" clId="{CE538C61-99F3-8A42-B75E-938B475D3AC8}" dt="2024-10-22T15:13:43.671" v="827" actId="20577"/>
          <ac:spMkLst>
            <pc:docMk/>
            <pc:sldMk cId="287016036" sldId="2134805929"/>
            <ac:spMk id="59" creationId="{931E7AF9-7152-478E-B0F1-BBAF8F44568B}"/>
          </ac:spMkLst>
        </pc:spChg>
        <pc:spChg chg="del">
          <ac:chgData name="Holger May" userId="ed96bf5a-4522-4628-b69b-e0f6e41c79a6" providerId="ADAL" clId="{CE538C61-99F3-8A42-B75E-938B475D3AC8}" dt="2024-10-22T15:20:02.327" v="882" actId="478"/>
          <ac:spMkLst>
            <pc:docMk/>
            <pc:sldMk cId="287016036" sldId="2134805929"/>
            <ac:spMk id="117" creationId="{8FCC9920-CAAE-4654-AD7A-B7E6F21FDC67}"/>
          </ac:spMkLst>
        </pc:spChg>
        <pc:cxnChg chg="del mod">
          <ac:chgData name="Holger May" userId="ed96bf5a-4522-4628-b69b-e0f6e41c79a6" providerId="ADAL" clId="{CE538C61-99F3-8A42-B75E-938B475D3AC8}" dt="2024-10-22T15:20:05.593" v="883" actId="478"/>
          <ac:cxnSpMkLst>
            <pc:docMk/>
            <pc:sldMk cId="287016036" sldId="2134805929"/>
            <ac:cxnSpMk id="113" creationId="{57C75347-3523-498F-9FC2-82F50D1F6D6B}"/>
          </ac:cxnSpMkLst>
        </pc:cxnChg>
      </pc:sldChg>
      <pc:sldChg chg="addSp modSp mod modNotesTx">
        <pc:chgData name="Holger May" userId="ed96bf5a-4522-4628-b69b-e0f6e41c79a6" providerId="ADAL" clId="{CE538C61-99F3-8A42-B75E-938B475D3AC8}" dt="2024-10-23T10:59:44.113" v="1008" actId="115"/>
        <pc:sldMkLst>
          <pc:docMk/>
          <pc:sldMk cId="148656567" sldId="2134805930"/>
        </pc:sldMkLst>
        <pc:spChg chg="add mod">
          <ac:chgData name="Holger May" userId="ed96bf5a-4522-4628-b69b-e0f6e41c79a6" providerId="ADAL" clId="{CE538C61-99F3-8A42-B75E-938B475D3AC8}" dt="2024-10-23T10:59:31.566" v="1007" actId="113"/>
          <ac:spMkLst>
            <pc:docMk/>
            <pc:sldMk cId="148656567" sldId="2134805930"/>
            <ac:spMk id="3" creationId="{3199BC2D-EE3B-DF66-5300-D3BF9A4A5400}"/>
          </ac:spMkLst>
        </pc:spChg>
        <pc:spChg chg="mod">
          <ac:chgData name="Holger May" userId="ed96bf5a-4522-4628-b69b-e0f6e41c79a6" providerId="ADAL" clId="{CE538C61-99F3-8A42-B75E-938B475D3AC8}" dt="2024-10-23T10:59:44.113" v="1008" actId="115"/>
          <ac:spMkLst>
            <pc:docMk/>
            <pc:sldMk cId="148656567" sldId="2134805930"/>
            <ac:spMk id="8" creationId="{D431A752-896A-4AA5-9989-FDE80EB78DD0}"/>
          </ac:spMkLst>
        </pc:spChg>
      </pc:sldChg>
      <pc:sldChg chg="add del">
        <pc:chgData name="Holger May" userId="ed96bf5a-4522-4628-b69b-e0f6e41c79a6" providerId="ADAL" clId="{CE538C61-99F3-8A42-B75E-938B475D3AC8}" dt="2024-10-22T14:53:58.983" v="552" actId="2696"/>
        <pc:sldMkLst>
          <pc:docMk/>
          <pc:sldMk cId="279608981" sldId="2134805931"/>
        </pc:sldMkLst>
      </pc:sldChg>
      <pc:sldChg chg="addSp delSp modSp mod modNotesTx">
        <pc:chgData name="Holger May" userId="ed96bf5a-4522-4628-b69b-e0f6e41c79a6" providerId="ADAL" clId="{CE538C61-99F3-8A42-B75E-938B475D3AC8}" dt="2024-10-23T11:02:03.064" v="1040" actId="20577"/>
        <pc:sldMkLst>
          <pc:docMk/>
          <pc:sldMk cId="2102638764" sldId="2134805932"/>
        </pc:sldMkLst>
        <pc:spChg chg="del">
          <ac:chgData name="Holger May" userId="ed96bf5a-4522-4628-b69b-e0f6e41c79a6" providerId="ADAL" clId="{CE538C61-99F3-8A42-B75E-938B475D3AC8}" dt="2024-10-22T14:45:28.817" v="187" actId="478"/>
          <ac:spMkLst>
            <pc:docMk/>
            <pc:sldMk cId="2102638764" sldId="2134805932"/>
            <ac:spMk id="19" creationId="{BEC4E4FB-AD9E-7AB7-43CF-76BCC9795DC4}"/>
          </ac:spMkLst>
        </pc:spChg>
        <pc:spChg chg="mod">
          <ac:chgData name="Holger May" userId="ed96bf5a-4522-4628-b69b-e0f6e41c79a6" providerId="ADAL" clId="{CE538C61-99F3-8A42-B75E-938B475D3AC8}" dt="2024-10-23T11:02:03.064" v="1040" actId="20577"/>
          <ac:spMkLst>
            <pc:docMk/>
            <pc:sldMk cId="2102638764" sldId="2134805932"/>
            <ac:spMk id="20" creationId="{18BBF9FF-7F57-DC99-E9A8-A2798B4171D1}"/>
          </ac:spMkLst>
        </pc:spChg>
        <pc:spChg chg="mod">
          <ac:chgData name="Holger May" userId="ed96bf5a-4522-4628-b69b-e0f6e41c79a6" providerId="ADAL" clId="{CE538C61-99F3-8A42-B75E-938B475D3AC8}" dt="2024-10-22T14:52:46.540" v="545" actId="20577"/>
          <ac:spMkLst>
            <pc:docMk/>
            <pc:sldMk cId="2102638764" sldId="2134805932"/>
            <ac:spMk id="21" creationId="{ACBE0FAE-6B79-5EDD-4AFE-B7E76EAC660C}"/>
          </ac:spMkLst>
        </pc:spChg>
        <pc:picChg chg="add mod">
          <ac:chgData name="Holger May" userId="ed96bf5a-4522-4628-b69b-e0f6e41c79a6" providerId="ADAL" clId="{CE538C61-99F3-8A42-B75E-938B475D3AC8}" dt="2024-10-23T10:56:48.772" v="926" actId="1076"/>
          <ac:picMkLst>
            <pc:docMk/>
            <pc:sldMk cId="2102638764" sldId="2134805932"/>
            <ac:picMk id="3" creationId="{A359A016-54ED-4037-C528-685F647A46B9}"/>
          </ac:picMkLst>
        </pc:picChg>
      </pc:sldChg>
      <pc:sldChg chg="add del">
        <pc:chgData name="Holger May" userId="ed96bf5a-4522-4628-b69b-e0f6e41c79a6" providerId="ADAL" clId="{CE538C61-99F3-8A42-B75E-938B475D3AC8}" dt="2024-10-22T14:54:00.723" v="554" actId="2696"/>
        <pc:sldMkLst>
          <pc:docMk/>
          <pc:sldMk cId="1717452160" sldId="2134805933"/>
        </pc:sldMkLst>
      </pc:sldChg>
      <pc:sldChg chg="addSp delSp modSp new mod">
        <pc:chgData name="Holger May" userId="ed96bf5a-4522-4628-b69b-e0f6e41c79a6" providerId="ADAL" clId="{CE538C61-99F3-8A42-B75E-938B475D3AC8}" dt="2024-10-23T13:10:39.654" v="2973" actId="20577"/>
        <pc:sldMkLst>
          <pc:docMk/>
          <pc:sldMk cId="1738344516" sldId="2134805933"/>
        </pc:sldMkLst>
        <pc:spChg chg="add mod">
          <ac:chgData name="Holger May" userId="ed96bf5a-4522-4628-b69b-e0f6e41c79a6" providerId="ADAL" clId="{CE538C61-99F3-8A42-B75E-938B475D3AC8}" dt="2024-10-23T11:02:35.461" v="1045" actId="20577"/>
          <ac:spMkLst>
            <pc:docMk/>
            <pc:sldMk cId="1738344516" sldId="2134805933"/>
            <ac:spMk id="2" creationId="{F56F0F60-6880-D6DD-D3C5-F47664D17678}"/>
          </ac:spMkLst>
        </pc:spChg>
        <pc:spChg chg="add mod">
          <ac:chgData name="Holger May" userId="ed96bf5a-4522-4628-b69b-e0f6e41c79a6" providerId="ADAL" clId="{CE538C61-99F3-8A42-B75E-938B475D3AC8}" dt="2024-10-23T12:53:46.185" v="2375" actId="1076"/>
          <ac:spMkLst>
            <pc:docMk/>
            <pc:sldMk cId="1738344516" sldId="2134805933"/>
            <ac:spMk id="3" creationId="{3033B0EA-E973-7102-C2E4-6642FF25411D}"/>
          </ac:spMkLst>
        </pc:spChg>
        <pc:spChg chg="add del mod">
          <ac:chgData name="Holger May" userId="ed96bf5a-4522-4628-b69b-e0f6e41c79a6" providerId="ADAL" clId="{CE538C61-99F3-8A42-B75E-938B475D3AC8}" dt="2024-10-23T12:33:31.443" v="1414" actId="478"/>
          <ac:spMkLst>
            <pc:docMk/>
            <pc:sldMk cId="1738344516" sldId="2134805933"/>
            <ac:spMk id="4" creationId="{17056550-4B31-E349-46BC-25E2E92AB922}"/>
          </ac:spMkLst>
        </pc:spChg>
        <pc:spChg chg="add del mod">
          <ac:chgData name="Holger May" userId="ed96bf5a-4522-4628-b69b-e0f6e41c79a6" providerId="ADAL" clId="{CE538C61-99F3-8A42-B75E-938B475D3AC8}" dt="2024-10-23T12:33:53.266" v="1417" actId="478"/>
          <ac:spMkLst>
            <pc:docMk/>
            <pc:sldMk cId="1738344516" sldId="2134805933"/>
            <ac:spMk id="5" creationId="{338949D6-8F0A-7679-E25D-CC3C8238F211}"/>
          </ac:spMkLst>
        </pc:spChg>
        <pc:spChg chg="add del mod">
          <ac:chgData name="Holger May" userId="ed96bf5a-4522-4628-b69b-e0f6e41c79a6" providerId="ADAL" clId="{CE538C61-99F3-8A42-B75E-938B475D3AC8}" dt="2024-10-23T12:33:54.667" v="1418" actId="478"/>
          <ac:spMkLst>
            <pc:docMk/>
            <pc:sldMk cId="1738344516" sldId="2134805933"/>
            <ac:spMk id="6" creationId="{A9E0D463-5C68-CC31-4399-32BE2666678E}"/>
          </ac:spMkLst>
        </pc:spChg>
        <pc:spChg chg="add del mod">
          <ac:chgData name="Holger May" userId="ed96bf5a-4522-4628-b69b-e0f6e41c79a6" providerId="ADAL" clId="{CE538C61-99F3-8A42-B75E-938B475D3AC8}" dt="2024-10-23T12:33:55.054" v="1419" actId="478"/>
          <ac:spMkLst>
            <pc:docMk/>
            <pc:sldMk cId="1738344516" sldId="2134805933"/>
            <ac:spMk id="7" creationId="{4BBC185C-03BB-094A-4E22-4514D8445970}"/>
          </ac:spMkLst>
        </pc:spChg>
        <pc:spChg chg="add mod">
          <ac:chgData name="Holger May" userId="ed96bf5a-4522-4628-b69b-e0f6e41c79a6" providerId="ADAL" clId="{CE538C61-99F3-8A42-B75E-938B475D3AC8}" dt="2024-10-23T12:55:13.583" v="2419" actId="242"/>
          <ac:spMkLst>
            <pc:docMk/>
            <pc:sldMk cId="1738344516" sldId="2134805933"/>
            <ac:spMk id="9" creationId="{5E8BCF24-F5E4-B9DA-886F-D1BEDF44AB84}"/>
          </ac:spMkLst>
        </pc:spChg>
        <pc:spChg chg="add mod">
          <ac:chgData name="Holger May" userId="ed96bf5a-4522-4628-b69b-e0f6e41c79a6" providerId="ADAL" clId="{CE538C61-99F3-8A42-B75E-938B475D3AC8}" dt="2024-10-23T12:59:20.694" v="2509" actId="14100"/>
          <ac:spMkLst>
            <pc:docMk/>
            <pc:sldMk cId="1738344516" sldId="2134805933"/>
            <ac:spMk id="10" creationId="{E251D607-76B3-CFAE-80DA-8C2347C2FE98}"/>
          </ac:spMkLst>
        </pc:spChg>
        <pc:spChg chg="add mod">
          <ac:chgData name="Holger May" userId="ed96bf5a-4522-4628-b69b-e0f6e41c79a6" providerId="ADAL" clId="{CE538C61-99F3-8A42-B75E-938B475D3AC8}" dt="2024-10-23T12:57:56.562" v="2442" actId="207"/>
          <ac:spMkLst>
            <pc:docMk/>
            <pc:sldMk cId="1738344516" sldId="2134805933"/>
            <ac:spMk id="11" creationId="{D96786F2-4490-6510-A9F3-D65D8CE2DEDA}"/>
          </ac:spMkLst>
        </pc:spChg>
        <pc:spChg chg="add mod">
          <ac:chgData name="Holger May" userId="ed96bf5a-4522-4628-b69b-e0f6e41c79a6" providerId="ADAL" clId="{CE538C61-99F3-8A42-B75E-938B475D3AC8}" dt="2024-10-23T12:57:56.562" v="2442" actId="207"/>
          <ac:spMkLst>
            <pc:docMk/>
            <pc:sldMk cId="1738344516" sldId="2134805933"/>
            <ac:spMk id="12" creationId="{C190C859-A8BF-762E-0E0F-5571B3776F99}"/>
          </ac:spMkLst>
        </pc:spChg>
        <pc:spChg chg="add mod">
          <ac:chgData name="Holger May" userId="ed96bf5a-4522-4628-b69b-e0f6e41c79a6" providerId="ADAL" clId="{CE538C61-99F3-8A42-B75E-938B475D3AC8}" dt="2024-10-23T12:57:56.562" v="2442" actId="207"/>
          <ac:spMkLst>
            <pc:docMk/>
            <pc:sldMk cId="1738344516" sldId="2134805933"/>
            <ac:spMk id="13" creationId="{E6396DA7-5575-E022-1F17-745BB3A06D05}"/>
          </ac:spMkLst>
        </pc:spChg>
        <pc:spChg chg="add mod">
          <ac:chgData name="Holger May" userId="ed96bf5a-4522-4628-b69b-e0f6e41c79a6" providerId="ADAL" clId="{CE538C61-99F3-8A42-B75E-938B475D3AC8}" dt="2024-10-23T13:10:16.990" v="2970" actId="1036"/>
          <ac:spMkLst>
            <pc:docMk/>
            <pc:sldMk cId="1738344516" sldId="2134805933"/>
            <ac:spMk id="14" creationId="{579AE5D5-CC64-AFE3-3FF1-35E4D8C73CE6}"/>
          </ac:spMkLst>
        </pc:spChg>
        <pc:graphicFrameChg chg="add mod modGraphic">
          <ac:chgData name="Holger May" userId="ed96bf5a-4522-4628-b69b-e0f6e41c79a6" providerId="ADAL" clId="{CE538C61-99F3-8A42-B75E-938B475D3AC8}" dt="2024-10-23T13:10:39.654" v="2973" actId="20577"/>
          <ac:graphicFrameMkLst>
            <pc:docMk/>
            <pc:sldMk cId="1738344516" sldId="2134805933"/>
            <ac:graphicFrameMk id="8" creationId="{92A34898-B0E3-0462-58CE-86453F47E579}"/>
          </ac:graphicFrameMkLst>
        </pc:graphicFrameChg>
      </pc:sldChg>
      <pc:sldChg chg="add del">
        <pc:chgData name="Holger May" userId="ed96bf5a-4522-4628-b69b-e0f6e41c79a6" providerId="ADAL" clId="{CE538C61-99F3-8A42-B75E-938B475D3AC8}" dt="2024-10-22T14:53:59.004" v="553" actId="2696"/>
        <pc:sldMkLst>
          <pc:docMk/>
          <pc:sldMk cId="1482858637" sldId="2134805934"/>
        </pc:sldMkLst>
      </pc:sldChg>
    </pc:docChg>
  </pc:docChgLst>
  <pc:docChgLst>
    <pc:chgData name="Holger May" userId="ed96bf5a-4522-4628-b69b-e0f6e41c79a6" providerId="ADAL" clId="{8DE2504C-7850-B048-9E06-F13420535A55}"/>
    <pc:docChg chg="custSel addSld delSld modSld modSection">
      <pc:chgData name="Holger May" userId="ed96bf5a-4522-4628-b69b-e0f6e41c79a6" providerId="ADAL" clId="{8DE2504C-7850-B048-9E06-F13420535A55}" dt="2024-10-24T12:54:44.051" v="163" actId="20577"/>
      <pc:docMkLst>
        <pc:docMk/>
      </pc:docMkLst>
      <pc:sldChg chg="modSp mod">
        <pc:chgData name="Holger May" userId="ed96bf5a-4522-4628-b69b-e0f6e41c79a6" providerId="ADAL" clId="{8DE2504C-7850-B048-9E06-F13420535A55}" dt="2024-10-24T12:29:31.313" v="19" actId="20577"/>
        <pc:sldMkLst>
          <pc:docMk/>
          <pc:sldMk cId="3654985779" sldId="2134805798"/>
        </pc:sldMkLst>
        <pc:spChg chg="mod">
          <ac:chgData name="Holger May" userId="ed96bf5a-4522-4628-b69b-e0f6e41c79a6" providerId="ADAL" clId="{8DE2504C-7850-B048-9E06-F13420535A55}" dt="2024-10-24T12:29:31.313" v="19" actId="20577"/>
          <ac:spMkLst>
            <pc:docMk/>
            <pc:sldMk cId="3654985779" sldId="2134805798"/>
            <ac:spMk id="12" creationId="{7D289110-57A6-B270-9D39-81BCBA532C0A}"/>
          </ac:spMkLst>
        </pc:spChg>
      </pc:sldChg>
      <pc:sldChg chg="modSp add modNotesTx">
        <pc:chgData name="Holger May" userId="ed96bf5a-4522-4628-b69b-e0f6e41c79a6" providerId="ADAL" clId="{8DE2504C-7850-B048-9E06-F13420535A55}" dt="2024-10-24T12:54:44.051" v="163" actId="20577"/>
        <pc:sldMkLst>
          <pc:docMk/>
          <pc:sldMk cId="915056392" sldId="2134805882"/>
        </pc:sldMkLst>
        <pc:picChg chg="mod">
          <ac:chgData name="Holger May" userId="ed96bf5a-4522-4628-b69b-e0f6e41c79a6" providerId="ADAL" clId="{8DE2504C-7850-B048-9E06-F13420535A55}" dt="2024-10-24T12:54:31.599" v="161" actId="18331"/>
          <ac:picMkLst>
            <pc:docMk/>
            <pc:sldMk cId="915056392" sldId="2134805882"/>
            <ac:picMk id="91" creationId="{C549460C-58B2-EE41-5652-173035D83A95}"/>
          </ac:picMkLst>
        </pc:picChg>
      </pc:sldChg>
      <pc:sldChg chg="add">
        <pc:chgData name="Holger May" userId="ed96bf5a-4522-4628-b69b-e0f6e41c79a6" providerId="ADAL" clId="{8DE2504C-7850-B048-9E06-F13420535A55}" dt="2024-10-24T12:53:33.630" v="123"/>
        <pc:sldMkLst>
          <pc:docMk/>
          <pc:sldMk cId="1134185761" sldId="2134805883"/>
        </pc:sldMkLst>
      </pc:sldChg>
      <pc:sldChg chg="add">
        <pc:chgData name="Holger May" userId="ed96bf5a-4522-4628-b69b-e0f6e41c79a6" providerId="ADAL" clId="{8DE2504C-7850-B048-9E06-F13420535A55}" dt="2024-10-24T12:53:33.630" v="123"/>
        <pc:sldMkLst>
          <pc:docMk/>
          <pc:sldMk cId="2190973154" sldId="2134805884"/>
        </pc:sldMkLst>
      </pc:sldChg>
      <pc:sldChg chg="add">
        <pc:chgData name="Holger May" userId="ed96bf5a-4522-4628-b69b-e0f6e41c79a6" providerId="ADAL" clId="{8DE2504C-7850-B048-9E06-F13420535A55}" dt="2024-10-24T12:53:33.630" v="123"/>
        <pc:sldMkLst>
          <pc:docMk/>
          <pc:sldMk cId="1684542523" sldId="2134805887"/>
        </pc:sldMkLst>
      </pc:sldChg>
      <pc:sldChg chg="del">
        <pc:chgData name="Holger May" userId="ed96bf5a-4522-4628-b69b-e0f6e41c79a6" providerId="ADAL" clId="{8DE2504C-7850-B048-9E06-F13420535A55}" dt="2024-10-24T12:50:07.487" v="38" actId="2696"/>
        <pc:sldMkLst>
          <pc:docMk/>
          <pc:sldMk cId="977238806" sldId="2134805924"/>
        </pc:sldMkLst>
      </pc:sldChg>
      <pc:sldChg chg="modSp mod">
        <pc:chgData name="Holger May" userId="ed96bf5a-4522-4628-b69b-e0f6e41c79a6" providerId="ADAL" clId="{8DE2504C-7850-B048-9E06-F13420535A55}" dt="2024-10-24T12:50:28.674" v="67" actId="1035"/>
        <pc:sldMkLst>
          <pc:docMk/>
          <pc:sldMk cId="3071197972" sldId="2134805927"/>
        </pc:sldMkLst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2" creationId="{E56A90DC-2DE6-B63A-ED6A-1752CF6094C4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4" creationId="{50F77ED4-21EB-D042-EFBC-CCD0321E92C2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6" creationId="{F6B2E69C-28BC-CCC7-BF8F-10CB926F545C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7" creationId="{554BF9E3-AA66-2EAB-E1AF-9FC53BA7DDE8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11" creationId="{3B835DE3-0B80-8B85-6F75-B69FAB9D13F8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12" creationId="{7D289110-57A6-B270-9D39-81BCBA532C0A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53" creationId="{EBF9494D-6F88-4109-B075-3C936AD852B8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54" creationId="{CDF3E3F0-AE7F-499A-BDBE-31F68276F4FF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55" creationId="{7FB0355B-B159-48B2-9B81-C3A2D75ECDBA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56" creationId="{9EFCFC4D-67C4-4D35-8EF7-75F051E9A0F1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77" creationId="{749A27D7-54D1-4589-9629-9BA78C7D0592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85" creationId="{AB9FCFF4-C75C-492D-A4E8-3FBE87CC2DAB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133" creationId="{20A83905-E7A1-440B-87D9-4507D57A34BD}"/>
          </ac:spMkLst>
        </pc:spChg>
        <pc:spChg chg="mod">
          <ac:chgData name="Holger May" userId="ed96bf5a-4522-4628-b69b-e0f6e41c79a6" providerId="ADAL" clId="{8DE2504C-7850-B048-9E06-F13420535A55}" dt="2024-10-24T12:50:28.674" v="67" actId="1035"/>
          <ac:spMkLst>
            <pc:docMk/>
            <pc:sldMk cId="3071197972" sldId="2134805927"/>
            <ac:spMk id="134" creationId="{AA54C1FE-A03E-4D6D-9926-30C6EB48DFFB}"/>
          </ac:spMkLst>
        </pc:spChg>
      </pc:sldChg>
      <pc:sldChg chg="modSp mod">
        <pc:chgData name="Holger May" userId="ed96bf5a-4522-4628-b69b-e0f6e41c79a6" providerId="ADAL" clId="{8DE2504C-7850-B048-9E06-F13420535A55}" dt="2024-10-24T12:52:44.080" v="105" actId="20577"/>
        <pc:sldMkLst>
          <pc:docMk/>
          <pc:sldMk cId="1738344516" sldId="2134805933"/>
        </pc:sldMkLst>
        <pc:spChg chg="mod">
          <ac:chgData name="Holger May" userId="ed96bf5a-4522-4628-b69b-e0f6e41c79a6" providerId="ADAL" clId="{8DE2504C-7850-B048-9E06-F13420535A55}" dt="2024-10-24T12:52:44.080" v="105" actId="20577"/>
          <ac:spMkLst>
            <pc:docMk/>
            <pc:sldMk cId="1738344516" sldId="2134805933"/>
            <ac:spMk id="2" creationId="{F56F0F60-6880-D6DD-D3C5-F47664D17678}"/>
          </ac:spMkLst>
        </pc:spChg>
        <pc:spChg chg="mod">
          <ac:chgData name="Holger May" userId="ed96bf5a-4522-4628-b69b-e0f6e41c79a6" providerId="ADAL" clId="{8DE2504C-7850-B048-9E06-F13420535A55}" dt="2024-10-24T12:52:23.932" v="102" actId="1037"/>
          <ac:spMkLst>
            <pc:docMk/>
            <pc:sldMk cId="1738344516" sldId="2134805933"/>
            <ac:spMk id="9" creationId="{5E8BCF24-F5E4-B9DA-886F-D1BEDF44AB84}"/>
          </ac:spMkLst>
        </pc:spChg>
        <pc:spChg chg="mod">
          <ac:chgData name="Holger May" userId="ed96bf5a-4522-4628-b69b-e0f6e41c79a6" providerId="ADAL" clId="{8DE2504C-7850-B048-9E06-F13420535A55}" dt="2024-10-24T12:52:23.932" v="102" actId="1037"/>
          <ac:spMkLst>
            <pc:docMk/>
            <pc:sldMk cId="1738344516" sldId="2134805933"/>
            <ac:spMk id="10" creationId="{E251D607-76B3-CFAE-80DA-8C2347C2FE98}"/>
          </ac:spMkLst>
        </pc:spChg>
        <pc:spChg chg="mod">
          <ac:chgData name="Holger May" userId="ed96bf5a-4522-4628-b69b-e0f6e41c79a6" providerId="ADAL" clId="{8DE2504C-7850-B048-9E06-F13420535A55}" dt="2024-10-24T12:52:23.932" v="102" actId="1037"/>
          <ac:spMkLst>
            <pc:docMk/>
            <pc:sldMk cId="1738344516" sldId="2134805933"/>
            <ac:spMk id="11" creationId="{D96786F2-4490-6510-A9F3-D65D8CE2DEDA}"/>
          </ac:spMkLst>
        </pc:spChg>
        <pc:spChg chg="mod">
          <ac:chgData name="Holger May" userId="ed96bf5a-4522-4628-b69b-e0f6e41c79a6" providerId="ADAL" clId="{8DE2504C-7850-B048-9E06-F13420535A55}" dt="2024-10-24T12:52:23.932" v="102" actId="1037"/>
          <ac:spMkLst>
            <pc:docMk/>
            <pc:sldMk cId="1738344516" sldId="2134805933"/>
            <ac:spMk id="12" creationId="{C190C859-A8BF-762E-0E0F-5571B3776F99}"/>
          </ac:spMkLst>
        </pc:spChg>
        <pc:spChg chg="mod">
          <ac:chgData name="Holger May" userId="ed96bf5a-4522-4628-b69b-e0f6e41c79a6" providerId="ADAL" clId="{8DE2504C-7850-B048-9E06-F13420535A55}" dt="2024-10-24T12:52:23.932" v="102" actId="1037"/>
          <ac:spMkLst>
            <pc:docMk/>
            <pc:sldMk cId="1738344516" sldId="2134805933"/>
            <ac:spMk id="13" creationId="{E6396DA7-5575-E022-1F17-745BB3A06D05}"/>
          </ac:spMkLst>
        </pc:spChg>
        <pc:graphicFrameChg chg="mod modGraphic">
          <ac:chgData name="Holger May" userId="ed96bf5a-4522-4628-b69b-e0f6e41c79a6" providerId="ADAL" clId="{8DE2504C-7850-B048-9E06-F13420535A55}" dt="2024-10-24T12:52:29.804" v="103" actId="6549"/>
          <ac:graphicFrameMkLst>
            <pc:docMk/>
            <pc:sldMk cId="1738344516" sldId="2134805933"/>
            <ac:graphicFrameMk id="8" creationId="{92A34898-B0E3-0462-58CE-86453F47E579}"/>
          </ac:graphicFrameMkLst>
        </pc:graphicFrameChg>
      </pc:sldChg>
      <pc:sldChg chg="del">
        <pc:chgData name="Holger May" userId="ed96bf5a-4522-4628-b69b-e0f6e41c79a6" providerId="ADAL" clId="{8DE2504C-7850-B048-9E06-F13420535A55}" dt="2024-10-24T12:32:42.770" v="36" actId="2696"/>
        <pc:sldMkLst>
          <pc:docMk/>
          <pc:sldMk cId="3163825969" sldId="2134805934"/>
        </pc:sldMkLst>
      </pc:sldChg>
      <pc:sldChg chg="modSp mod">
        <pc:chgData name="Holger May" userId="ed96bf5a-4522-4628-b69b-e0f6e41c79a6" providerId="ADAL" clId="{8DE2504C-7850-B048-9E06-F13420535A55}" dt="2024-10-24T12:50:16.552" v="49" actId="1038"/>
        <pc:sldMkLst>
          <pc:docMk/>
          <pc:sldMk cId="3236680081" sldId="2134805935"/>
        </pc:sldMkLst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114" creationId="{3793B3A5-5157-4158-94A4-9970FDD30CDB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116" creationId="{68B7F6B0-B573-4BEA-8C0A-4DB322DD0D64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122" creationId="{B13A528D-A0F0-4502-88BD-87B60D229383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144" creationId="{3FDF0578-601A-4AAD-95D0-186336069852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162" creationId="{745665B6-E0CE-4B53-835A-0148E8310368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08" creationId="{A00C82C5-17BA-42A9-8436-ECF2E7B43C00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0" creationId="{9A2DE138-A99F-4454-8DA2-1C3A5BDF6F47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2" creationId="{68A3EB74-E5F3-4E71-840A-3A6E50D9E2E5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3" creationId="{9DEE05D4-5DF8-4DB9-834C-49D597B35FCF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4" creationId="{18A9A483-6741-4CE0-8912-FEE16728B443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5" creationId="{9A89ACB5-20A3-4366-A0CF-EE1782F348BE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6" creationId="{6205233F-5729-45B6-B17A-143B276F93AE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7" creationId="{B7E8F4FB-846F-4458-B231-035C9D79CC3B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19" creationId="{E69EA6B1-C459-45C6-AB99-970F5146519A}"/>
          </ac:spMkLst>
        </pc:spChg>
        <pc:spChg chg="mod">
          <ac:chgData name="Holger May" userId="ed96bf5a-4522-4628-b69b-e0f6e41c79a6" providerId="ADAL" clId="{8DE2504C-7850-B048-9E06-F13420535A55}" dt="2024-10-24T12:50:16.552" v="49" actId="1038"/>
          <ac:spMkLst>
            <pc:docMk/>
            <pc:sldMk cId="3236680081" sldId="2134805935"/>
            <ac:spMk id="220" creationId="{1A8D7D53-E10D-46B2-BBE8-AB7261F51235}"/>
          </ac:spMkLst>
        </pc:spChg>
      </pc:sldChg>
      <pc:sldChg chg="addSp delSp modSp add mod">
        <pc:chgData name="Holger May" userId="ed96bf5a-4522-4628-b69b-e0f6e41c79a6" providerId="ADAL" clId="{8DE2504C-7850-B048-9E06-F13420535A55}" dt="2024-10-24T12:54:05.006" v="160" actId="20577"/>
        <pc:sldMkLst>
          <pc:docMk/>
          <pc:sldMk cId="3941974513" sldId="2134805936"/>
        </pc:sldMkLst>
        <pc:spChg chg="add mod">
          <ac:chgData name="Holger May" userId="ed96bf5a-4522-4628-b69b-e0f6e41c79a6" providerId="ADAL" clId="{8DE2504C-7850-B048-9E06-F13420535A55}" dt="2024-10-24T12:54:05.006" v="160" actId="20577"/>
          <ac:spMkLst>
            <pc:docMk/>
            <pc:sldMk cId="3941974513" sldId="2134805936"/>
            <ac:spMk id="2" creationId="{F11CF242-2981-514F-C233-346C4667C7FB}"/>
          </ac:spMkLst>
        </pc:spChg>
        <pc:spChg chg="del">
          <ac:chgData name="Holger May" userId="ed96bf5a-4522-4628-b69b-e0f6e41c79a6" providerId="ADAL" clId="{8DE2504C-7850-B048-9E06-F13420535A55}" dt="2024-10-24T12:53:15.269" v="107" actId="478"/>
          <ac:spMkLst>
            <pc:docMk/>
            <pc:sldMk cId="3941974513" sldId="2134805936"/>
            <ac:spMk id="10" creationId="{37D6D199-4741-B579-E465-F975192818D9}"/>
          </ac:spMkLst>
        </pc:spChg>
        <pc:spChg chg="del">
          <ac:chgData name="Holger May" userId="ed96bf5a-4522-4628-b69b-e0f6e41c79a6" providerId="ADAL" clId="{8DE2504C-7850-B048-9E06-F13420535A55}" dt="2024-10-24T12:53:15.269" v="107" actId="478"/>
          <ac:spMkLst>
            <pc:docMk/>
            <pc:sldMk cId="3941974513" sldId="2134805936"/>
            <ac:spMk id="16" creationId="{41EB21B2-1F95-7952-A47A-E73AFB72EF0D}"/>
          </ac:spMkLst>
        </pc:spChg>
        <pc:spChg chg="del">
          <ac:chgData name="Holger May" userId="ed96bf5a-4522-4628-b69b-e0f6e41c79a6" providerId="ADAL" clId="{8DE2504C-7850-B048-9E06-F13420535A55}" dt="2024-10-24T12:53:15.269" v="107" actId="478"/>
          <ac:spMkLst>
            <pc:docMk/>
            <pc:sldMk cId="3941974513" sldId="2134805936"/>
            <ac:spMk id="19" creationId="{165AA127-EAC2-6CF8-3012-455A153AA274}"/>
          </ac:spMkLst>
        </pc:spChg>
        <pc:spChg chg="del">
          <ac:chgData name="Holger May" userId="ed96bf5a-4522-4628-b69b-e0f6e41c79a6" providerId="ADAL" clId="{8DE2504C-7850-B048-9E06-F13420535A55}" dt="2024-10-24T12:53:15.269" v="107" actId="478"/>
          <ac:spMkLst>
            <pc:docMk/>
            <pc:sldMk cId="3941974513" sldId="2134805936"/>
            <ac:spMk id="20" creationId="{73AA11A6-075F-E2A7-5389-09C5B042E618}"/>
          </ac:spMkLst>
        </pc:spChg>
        <pc:spChg chg="del">
          <ac:chgData name="Holger May" userId="ed96bf5a-4522-4628-b69b-e0f6e41c79a6" providerId="ADAL" clId="{8DE2504C-7850-B048-9E06-F13420535A55}" dt="2024-10-24T12:53:15.269" v="107" actId="478"/>
          <ac:spMkLst>
            <pc:docMk/>
            <pc:sldMk cId="3941974513" sldId="2134805936"/>
            <ac:spMk id="34" creationId="{131F8287-D953-F7A2-B627-73D16BE37089}"/>
          </ac:spMkLst>
        </pc:spChg>
        <pc:spChg chg="mod">
          <ac:chgData name="Holger May" userId="ed96bf5a-4522-4628-b69b-e0f6e41c79a6" providerId="ADAL" clId="{8DE2504C-7850-B048-9E06-F13420535A55}" dt="2024-10-24T12:53:21.172" v="122" actId="20577"/>
          <ac:spMkLst>
            <pc:docMk/>
            <pc:sldMk cId="3941974513" sldId="2134805936"/>
            <ac:spMk id="35" creationId="{F8E71F92-1671-184E-9F50-CE52BB5B725D}"/>
          </ac:spMkLst>
        </pc:spChg>
        <pc:picChg chg="del">
          <ac:chgData name="Holger May" userId="ed96bf5a-4522-4628-b69b-e0f6e41c79a6" providerId="ADAL" clId="{8DE2504C-7850-B048-9E06-F13420535A55}" dt="2024-10-24T12:53:15.269" v="107" actId="478"/>
          <ac:picMkLst>
            <pc:docMk/>
            <pc:sldMk cId="3941974513" sldId="2134805936"/>
            <ac:picMk id="27" creationId="{005F5D88-73E6-E919-DDBC-BD42B9973683}"/>
          </ac:picMkLst>
        </pc:picChg>
        <pc:cxnChg chg="del">
          <ac:chgData name="Holger May" userId="ed96bf5a-4522-4628-b69b-e0f6e41c79a6" providerId="ADAL" clId="{8DE2504C-7850-B048-9E06-F13420535A55}" dt="2024-10-24T12:53:15.269" v="107" actId="478"/>
          <ac:cxnSpMkLst>
            <pc:docMk/>
            <pc:sldMk cId="3941974513" sldId="2134805936"/>
            <ac:cxnSpMk id="29" creationId="{CAE8FE7A-EA1E-B92B-C679-25CDDCBEA7FE}"/>
          </ac:cxnSpMkLst>
        </pc:cxnChg>
        <pc:cxnChg chg="del">
          <ac:chgData name="Holger May" userId="ed96bf5a-4522-4628-b69b-e0f6e41c79a6" providerId="ADAL" clId="{8DE2504C-7850-B048-9E06-F13420535A55}" dt="2024-10-24T12:53:15.269" v="107" actId="478"/>
          <ac:cxnSpMkLst>
            <pc:docMk/>
            <pc:sldMk cId="3941974513" sldId="2134805936"/>
            <ac:cxnSpMk id="30" creationId="{75559A71-6C39-79B5-0A5D-1E43C6346B69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1" y="16"/>
            <a:ext cx="6363601" cy="1405307"/>
          </a:xfrm>
          <a:prstGeom prst="rect">
            <a:avLst/>
          </a:prstGeom>
        </p:spPr>
        <p:txBody>
          <a:bodyPr vert="horz" lIns="181063" tIns="90531" rIns="181063" bIns="90531" rtlCol="0"/>
          <a:lstStyle>
            <a:lvl1pPr algn="l">
              <a:defRPr sz="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8314523" y="16"/>
            <a:ext cx="6363601" cy="1405307"/>
          </a:xfrm>
          <a:prstGeom prst="rect">
            <a:avLst/>
          </a:prstGeom>
        </p:spPr>
        <p:txBody>
          <a:bodyPr vert="horz" lIns="181063" tIns="90531" rIns="181063" bIns="90531" rtlCol="0"/>
          <a:lstStyle>
            <a:lvl1pPr algn="r">
              <a:defRPr sz="300"/>
            </a:lvl1pPr>
          </a:lstStyle>
          <a:p>
            <a:fld id="{38AB62F6-54F8-411B-BE51-6B10BC2D63A5}" type="datetimeFigureOut">
              <a:rPr lang="de-DE" smtClean="0"/>
              <a:t>06.1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1" y="18620878"/>
            <a:ext cx="6363601" cy="1405307"/>
          </a:xfrm>
          <a:prstGeom prst="rect">
            <a:avLst/>
          </a:prstGeom>
        </p:spPr>
        <p:txBody>
          <a:bodyPr vert="horz" lIns="181063" tIns="90531" rIns="181063" bIns="90531" rtlCol="0" anchor="b"/>
          <a:lstStyle>
            <a:lvl1pPr algn="l">
              <a:defRPr sz="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314523" y="18620878"/>
            <a:ext cx="6363601" cy="1405307"/>
          </a:xfrm>
          <a:prstGeom prst="rect">
            <a:avLst/>
          </a:prstGeom>
        </p:spPr>
        <p:txBody>
          <a:bodyPr vert="horz" lIns="181063" tIns="90531" rIns="181063" bIns="90531" rtlCol="0" anchor="b"/>
          <a:lstStyle>
            <a:lvl1pPr algn="r">
              <a:defRPr sz="300"/>
            </a:lvl1pPr>
          </a:lstStyle>
          <a:p>
            <a:fld id="{DDA31729-4A85-4E6C-A337-02E8DED8FD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81053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4" y="22"/>
            <a:ext cx="6363601" cy="1405082"/>
          </a:xfrm>
          <a:prstGeom prst="rect">
            <a:avLst/>
          </a:prstGeom>
        </p:spPr>
        <p:txBody>
          <a:bodyPr vert="horz" lIns="180978" tIns="90491" rIns="180978" bIns="90491" rtlCol="0"/>
          <a:lstStyle>
            <a:lvl1pPr algn="l">
              <a:defRPr sz="3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8314528" y="22"/>
            <a:ext cx="6363601" cy="1405082"/>
          </a:xfrm>
          <a:prstGeom prst="rect">
            <a:avLst/>
          </a:prstGeom>
        </p:spPr>
        <p:txBody>
          <a:bodyPr vert="horz" lIns="180978" tIns="90491" rIns="180978" bIns="90491" rtlCol="0"/>
          <a:lstStyle>
            <a:lvl1pPr algn="r">
              <a:defRPr sz="300"/>
            </a:lvl1pPr>
          </a:lstStyle>
          <a:p>
            <a:pPr>
              <a:defRPr/>
            </a:pPr>
            <a:fld id="{873B7CB8-8AAE-4077-8CBD-B756BFB84A02}" type="datetimeFigureOut">
              <a:rPr lang="de-DE"/>
              <a:pPr>
                <a:defRPr/>
              </a:pPr>
              <a:t>06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3850" y="2108200"/>
            <a:ext cx="14031913" cy="10523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80978" tIns="90491" rIns="180978" bIns="90491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467498" y="13007400"/>
            <a:ext cx="11746605" cy="12632267"/>
          </a:xfrm>
          <a:prstGeom prst="rect">
            <a:avLst/>
          </a:prstGeom>
        </p:spPr>
        <p:txBody>
          <a:bodyPr vert="horz" lIns="180978" tIns="90491" rIns="180978" bIns="90491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4" y="18620990"/>
            <a:ext cx="6363601" cy="1405082"/>
          </a:xfrm>
          <a:prstGeom prst="rect">
            <a:avLst/>
          </a:prstGeom>
        </p:spPr>
        <p:txBody>
          <a:bodyPr vert="horz" lIns="180978" tIns="90491" rIns="180978" bIns="90491" rtlCol="0" anchor="b"/>
          <a:lstStyle>
            <a:lvl1pPr algn="l">
              <a:defRPr sz="3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314528" y="18620990"/>
            <a:ext cx="6363601" cy="1405082"/>
          </a:xfrm>
          <a:prstGeom prst="rect">
            <a:avLst/>
          </a:prstGeom>
        </p:spPr>
        <p:txBody>
          <a:bodyPr vert="horz" lIns="180978" tIns="90491" rIns="180978" bIns="90491" rtlCol="0" anchor="b"/>
          <a:lstStyle>
            <a:lvl1pPr algn="r">
              <a:defRPr sz="300"/>
            </a:lvl1pPr>
          </a:lstStyle>
          <a:p>
            <a:pPr>
              <a:defRPr/>
            </a:pPr>
            <a:fld id="{CDC19142-5A66-4833-97CA-8E3F2253B20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4492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628" indent="-2908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356" indent="-2327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2895" indent="-2327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439" indent="-2327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5979" indent="-232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522" indent="-232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061" indent="-232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5604" indent="-232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CC2291F-4C54-45DC-A030-9A3A7C210412}" type="slidenum">
              <a:rPr lang="en-GB" altLang="en-US" smtClean="0">
                <a:solidFill>
                  <a:prstClr val="black"/>
                </a:solidFill>
              </a:rPr>
              <a:pPr/>
              <a:t>0</a:t>
            </a:fld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423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25604" name="Foliennummernplatzhalter 3"/>
          <p:cNvSpPr txBox="1">
            <a:spLocks noGrp="1"/>
          </p:cNvSpPr>
          <p:nvPr/>
        </p:nvSpPr>
        <p:spPr bwMode="auto">
          <a:xfrm>
            <a:off x="8062224" y="18573361"/>
            <a:ext cx="6170506" cy="1500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978" tIns="90491" rIns="180978" bIns="90491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90FD47A-B0B5-4D5B-9868-64CD338CBEA3}" type="slidenum">
              <a:rPr lang="de-DE" altLang="de-DE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de-DE" altLang="de-DE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307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33413" y="525463"/>
            <a:ext cx="3505200" cy="2628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5604" name="Foliennummernplatzhalter 3"/>
          <p:cNvSpPr txBox="1">
            <a:spLocks noGrp="1"/>
          </p:cNvSpPr>
          <p:nvPr/>
        </p:nvSpPr>
        <p:spPr bwMode="auto">
          <a:xfrm>
            <a:off x="2701577" y="6655659"/>
            <a:ext cx="2067679" cy="350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347" tIns="32174" rIns="64347" bIns="32174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90FD47A-B0B5-4D5B-9868-64CD338CBEA3}" type="slidenum">
              <a:rPr lang="de-DE" altLang="de-DE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de-DE" altLang="de-DE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381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ML und PDF mit einbin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DC19142-5A66-4833-97CA-8E3F2253B20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7228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25604" name="Foliennummernplatzhalter 3"/>
          <p:cNvSpPr txBox="1">
            <a:spLocks noGrp="1"/>
          </p:cNvSpPr>
          <p:nvPr/>
        </p:nvSpPr>
        <p:spPr bwMode="auto">
          <a:xfrm>
            <a:off x="7714511" y="18014461"/>
            <a:ext cx="5904381" cy="1455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4517" tIns="87260" rIns="174517" bIns="87260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90FD47A-B0B5-4D5B-9868-64CD338CBEA3}" type="slidenum">
              <a:rPr lang="de-DE" altLang="de-DE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de-DE" altLang="de-DE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8654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 dirty="0"/>
              <a:t>FSB IBN Management führt den Gesamtprozess</a:t>
            </a:r>
          </a:p>
        </p:txBody>
      </p:sp>
      <p:sp>
        <p:nvSpPr>
          <p:cNvPr id="25604" name="Foliennummernplatzhalter 3"/>
          <p:cNvSpPr txBox="1">
            <a:spLocks noGrp="1"/>
          </p:cNvSpPr>
          <p:nvPr/>
        </p:nvSpPr>
        <p:spPr bwMode="auto">
          <a:xfrm>
            <a:off x="7714511" y="18014461"/>
            <a:ext cx="5904381" cy="1455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4517" tIns="87260" rIns="174517" bIns="87260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90FD47A-B0B5-4D5B-9868-64CD338CBEA3}" type="slidenum">
              <a:rPr lang="de-DE" altLang="de-DE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de-DE" altLang="de-DE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227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BO Abnahme und Regelbetrieb als nächste Folie.</a:t>
            </a:r>
          </a:p>
        </p:txBody>
      </p:sp>
    </p:spTree>
    <p:extLst>
      <p:ext uri="{BB962C8B-B14F-4D97-AF65-F5344CB8AC3E}">
        <p14:creationId xmlns:p14="http://schemas.microsoft.com/office/powerpoint/2010/main" val="1333176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BO Abnahme und Regelbetrieb als nächste Folie.</a:t>
            </a:r>
          </a:p>
        </p:txBody>
      </p:sp>
    </p:spTree>
    <p:extLst>
      <p:ext uri="{BB962C8B-B14F-4D97-AF65-F5344CB8AC3E}">
        <p14:creationId xmlns:p14="http://schemas.microsoft.com/office/powerpoint/2010/main" val="32863820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BO Abnahme und Regelbetrieb als nächste Folie.</a:t>
            </a:r>
          </a:p>
        </p:txBody>
      </p:sp>
    </p:spTree>
    <p:extLst>
      <p:ext uri="{BB962C8B-B14F-4D97-AF65-F5344CB8AC3E}">
        <p14:creationId xmlns:p14="http://schemas.microsoft.com/office/powerpoint/2010/main" val="558839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31085" y="1850874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423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7: Task Force Organisation / Personal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02315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5: Zusammenfassung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751519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133949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>
            <a:extLst>
              <a:ext uri="{FF2B5EF4-FFF2-40B4-BE49-F238E27FC236}">
                <a16:creationId xmlns:a16="http://schemas.microsoft.com/office/drawing/2014/main" id="{510E1B0E-A0CA-4D1A-B08E-8DF5617C0E9E}"/>
              </a:ext>
            </a:extLst>
          </p:cNvPr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C4683C7C-DC5A-45BA-91FF-1566FFFDAADB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0C7A3F3-41CD-4DE8-B122-9AB7C35F90F9}"/>
              </a:ext>
            </a:extLst>
          </p:cNvPr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C6493802-79C9-487A-8AD5-67FE9BDD031D}"/>
              </a:ext>
            </a:extLst>
          </p:cNvPr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3D65E2E-39BB-41F4-B5BC-A45085894F18}"/>
              </a:ext>
            </a:extLst>
          </p:cNvPr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A9E4A22-3600-4A7C-BA53-5861372E00FB}"/>
              </a:ext>
            </a:extLst>
          </p:cNvPr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468BE0BA-B375-4B16-BE7C-0367ED5DF51C}"/>
              </a:ext>
            </a:extLst>
          </p:cNvPr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8DDB849A-A1B6-4EF2-BE12-CF3C7A28AB37}"/>
              </a:ext>
            </a:extLst>
          </p:cNvPr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7207DB-2E8E-4AE7-AB52-46E4F4FDC79C}"/>
              </a:ext>
            </a:extLst>
          </p:cNvPr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DC944AA2-BBED-4406-AC14-4BA9910DA4F6}"/>
              </a:ext>
            </a:extLst>
          </p:cNvPr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7826279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6"/>
          <p:cNvSpPr>
            <a:spLocks noChangeShapeType="1"/>
          </p:cNvSpPr>
          <p:nvPr/>
        </p:nvSpPr>
        <p:spPr bwMode="auto">
          <a:xfrm>
            <a:off x="8602133" y="0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5" name="Line 75"/>
          <p:cNvSpPr>
            <a:spLocks noChangeShapeType="1"/>
          </p:cNvSpPr>
          <p:nvPr/>
        </p:nvSpPr>
        <p:spPr bwMode="auto">
          <a:xfrm>
            <a:off x="4384604" y="0"/>
            <a:ext cx="0" cy="2747716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6" name="Rectangle 69"/>
          <p:cNvSpPr>
            <a:spLocks noChangeArrowheads="1"/>
          </p:cNvSpPr>
          <p:nvPr/>
        </p:nvSpPr>
        <p:spPr bwMode="auto">
          <a:xfrm>
            <a:off x="0" y="8584071"/>
            <a:ext cx="13004800" cy="11966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3413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2"/>
          <p:cNvSpPr>
            <a:spLocks noChangeArrowheads="1"/>
          </p:cNvSpPr>
          <p:nvPr/>
        </p:nvSpPr>
        <p:spPr bwMode="auto">
          <a:xfrm>
            <a:off x="0" y="2711594"/>
            <a:ext cx="13004800" cy="57343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GB" altLang="en-US" sz="3413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Line 82"/>
          <p:cNvSpPr>
            <a:spLocks noChangeShapeType="1"/>
          </p:cNvSpPr>
          <p:nvPr/>
        </p:nvSpPr>
        <p:spPr bwMode="auto">
          <a:xfrm rot="16200000">
            <a:off x="6502400" y="-3745653"/>
            <a:ext cx="0" cy="130048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12" name="Line 76"/>
          <p:cNvSpPr>
            <a:spLocks noChangeShapeType="1"/>
          </p:cNvSpPr>
          <p:nvPr/>
        </p:nvSpPr>
        <p:spPr bwMode="auto">
          <a:xfrm>
            <a:off x="8613423" y="-22578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13" name="Line 75"/>
          <p:cNvSpPr>
            <a:spLocks noChangeShapeType="1"/>
          </p:cNvSpPr>
          <p:nvPr/>
        </p:nvSpPr>
        <p:spPr bwMode="auto">
          <a:xfrm>
            <a:off x="4395894" y="-22578"/>
            <a:ext cx="0" cy="2747716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15" name="Line 82"/>
          <p:cNvSpPr>
            <a:spLocks noChangeShapeType="1"/>
          </p:cNvSpPr>
          <p:nvPr/>
        </p:nvSpPr>
        <p:spPr bwMode="auto">
          <a:xfrm rot="16200000">
            <a:off x="6513690" y="-3768230"/>
            <a:ext cx="0" cy="130048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pic>
        <p:nvPicPr>
          <p:cNvPr id="16" name="Picture 87" descr="FAIR_farb_RGB_3c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71113" y="8735344"/>
            <a:ext cx="1277902" cy="1006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5716" y="3440853"/>
            <a:ext cx="11469511" cy="2050062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5716" y="5865707"/>
            <a:ext cx="8715022" cy="2083930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0" name="Line 76"/>
          <p:cNvSpPr>
            <a:spLocks noChangeShapeType="1"/>
          </p:cNvSpPr>
          <p:nvPr userDrawn="1"/>
        </p:nvSpPr>
        <p:spPr bwMode="auto">
          <a:xfrm>
            <a:off x="8594005" y="6180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41" name="Line 75"/>
          <p:cNvSpPr>
            <a:spLocks noChangeShapeType="1"/>
          </p:cNvSpPr>
          <p:nvPr userDrawn="1"/>
        </p:nvSpPr>
        <p:spPr bwMode="auto">
          <a:xfrm>
            <a:off x="4384604" y="0"/>
            <a:ext cx="0" cy="2747716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42" name="Line 82"/>
          <p:cNvSpPr>
            <a:spLocks noChangeShapeType="1"/>
          </p:cNvSpPr>
          <p:nvPr userDrawn="1"/>
        </p:nvSpPr>
        <p:spPr bwMode="auto">
          <a:xfrm rot="16200000" flipH="1">
            <a:off x="6498779" y="-3742498"/>
            <a:ext cx="7243" cy="130048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90" name="Line 76"/>
          <p:cNvSpPr>
            <a:spLocks noChangeShapeType="1"/>
          </p:cNvSpPr>
          <p:nvPr userDrawn="1"/>
        </p:nvSpPr>
        <p:spPr bwMode="auto">
          <a:xfrm>
            <a:off x="4134872" y="28676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91" name="Line 76"/>
          <p:cNvSpPr>
            <a:spLocks noChangeShapeType="1"/>
          </p:cNvSpPr>
          <p:nvPr userDrawn="1"/>
        </p:nvSpPr>
        <p:spPr bwMode="auto">
          <a:xfrm>
            <a:off x="8602133" y="0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92" name="Line 75"/>
          <p:cNvSpPr>
            <a:spLocks noChangeShapeType="1"/>
          </p:cNvSpPr>
          <p:nvPr userDrawn="1"/>
        </p:nvSpPr>
        <p:spPr bwMode="auto">
          <a:xfrm>
            <a:off x="4384604" y="0"/>
            <a:ext cx="0" cy="2747716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3413"/>
          </a:p>
        </p:txBody>
      </p:sp>
      <p:sp>
        <p:nvSpPr>
          <p:cNvPr id="93" name="Line 76"/>
          <p:cNvSpPr>
            <a:spLocks noChangeShapeType="1"/>
          </p:cNvSpPr>
          <p:nvPr userDrawn="1"/>
        </p:nvSpPr>
        <p:spPr bwMode="auto">
          <a:xfrm>
            <a:off x="8594005" y="6180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94" name="Line 75"/>
          <p:cNvSpPr>
            <a:spLocks noChangeShapeType="1"/>
          </p:cNvSpPr>
          <p:nvPr userDrawn="1"/>
        </p:nvSpPr>
        <p:spPr bwMode="auto">
          <a:xfrm>
            <a:off x="4384604" y="0"/>
            <a:ext cx="0" cy="2747716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95" name="Line 82"/>
          <p:cNvSpPr>
            <a:spLocks noChangeShapeType="1"/>
          </p:cNvSpPr>
          <p:nvPr userDrawn="1"/>
        </p:nvSpPr>
        <p:spPr bwMode="auto">
          <a:xfrm rot="16200000">
            <a:off x="6502400" y="-3738877"/>
            <a:ext cx="0" cy="130048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sp>
        <p:nvSpPr>
          <p:cNvPr id="97" name="Line 76"/>
          <p:cNvSpPr>
            <a:spLocks noChangeShapeType="1"/>
          </p:cNvSpPr>
          <p:nvPr userDrawn="1"/>
        </p:nvSpPr>
        <p:spPr bwMode="auto">
          <a:xfrm>
            <a:off x="4134872" y="28676"/>
            <a:ext cx="0" cy="27567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3413"/>
          </a:p>
        </p:txBody>
      </p:sp>
      <p:pic>
        <p:nvPicPr>
          <p:cNvPr id="99" name="Grafik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2367" y="-1"/>
            <a:ext cx="4362433" cy="2797387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748" y="8777414"/>
            <a:ext cx="11174145" cy="964898"/>
          </a:xfrm>
          <a:prstGeom prst="rect">
            <a:avLst/>
          </a:prstGeom>
        </p:spPr>
      </p:pic>
      <p:pic>
        <p:nvPicPr>
          <p:cNvPr id="3" name="Grafik 2" descr="Ein Bild, das Gras, draußen, Feld, grasbedeckt enthält.&#10;&#10;Automatisch generierte Beschreibung">
            <a:extLst>
              <a:ext uri="{FF2B5EF4-FFF2-40B4-BE49-F238E27FC236}">
                <a16:creationId xmlns:a16="http://schemas.microsoft.com/office/drawing/2014/main" id="{9FC72192-0D7F-0ABE-CD68-C2B41EE3D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8264" y="-938"/>
            <a:ext cx="4365508" cy="279512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A2D3DBB-FF4A-28E9-4F4B-326471E09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6" y="-13011"/>
            <a:ext cx="4101383" cy="279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0240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31085" y="1850874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6C6E34EC-046D-4225-9463-109CAD7C6EE1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8CC6F25-6B8B-4BD4-9F09-AFD70099D003}"/>
              </a:ext>
            </a:extLst>
          </p:cNvPr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38A3BD30-D576-47C5-A16D-931C75BFDAA0}"/>
              </a:ext>
            </a:extLst>
          </p:cNvPr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9657F12-5791-4991-A015-80C8E7556F92}"/>
              </a:ext>
            </a:extLst>
          </p:cNvPr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7E9CA57-34CF-4472-8FDC-CC71319BFCAE}"/>
              </a:ext>
            </a:extLst>
          </p:cNvPr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6D77AEA9-B725-4F9C-9587-19AC5B3554D5}"/>
              </a:ext>
            </a:extLst>
          </p:cNvPr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E1273E0-ED97-45AF-9B15-8AA29276B194}"/>
              </a:ext>
            </a:extLst>
          </p:cNvPr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A3DBF3-54DF-4FDC-921F-4F4DA8218CB5}"/>
              </a:ext>
            </a:extLst>
          </p:cNvPr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8CBD60A8-7277-485E-83A1-F5DEBF05E5B1}"/>
              </a:ext>
            </a:extLst>
          </p:cNvPr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6957145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7F2478A-88DD-4512-B2C0-5F3AFF85AF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837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7F2478A-88DD-4512-B2C0-5F3AFF85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6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98598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1" y="178651"/>
            <a:ext cx="1187276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1: Brennpunkt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2800" b="1">
                <a:solidFill>
                  <a:schemeClr val="accent5">
                    <a:lumMod val="25000"/>
                  </a:schemeClr>
                </a:solidFill>
                <a:latin typeface="Calibri" panose="020F0502020204030204" pitchFamily="34" charset="0"/>
              </a:rPr>
              <a:t>Komplettierung/Abgleich Risikenlisten/Maßnahmen/Status/ Termine (Dreso)</a:t>
            </a:r>
          </a:p>
          <a:p>
            <a:pPr>
              <a:lnSpc>
                <a:spcPct val="150000"/>
              </a:lnSpc>
            </a:pP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6074860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5142768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3: Task Force Kosten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011811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4: Task Force Planerverträge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2440554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5: Task Force</a:t>
            </a:r>
            <a:r>
              <a:rPr lang="de-DE" altLang="de-DE" sz="2800" b="1" baseline="0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Bauablauf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7582759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12439650" y="9423400"/>
            <a:ext cx="46831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392" tIns="45695" rIns="91392" bIns="45695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6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60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6197600" y="9396413"/>
            <a:ext cx="1998663" cy="120650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8188325" y="9396413"/>
            <a:ext cx="1998663" cy="120650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10185400" y="9396413"/>
            <a:ext cx="1997075" cy="120650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0" y="9278938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8188325" y="9517063"/>
            <a:ext cx="399415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6197600" y="9636125"/>
            <a:ext cx="1998663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1241425"/>
            <a:ext cx="13004800" cy="117475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458788" y="1779588"/>
            <a:ext cx="12020550" cy="712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5" rIns="91392" bIns="45695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913"/>
              </a:spcBef>
            </a:pPr>
            <a:endParaRPr lang="de-DE" altLang="de-DE" sz="2100" b="1">
              <a:solidFill>
                <a:srgbClr val="00599D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09712" y="178651"/>
            <a:ext cx="10462840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sz="2800" b="1">
                <a:solidFill>
                  <a:srgbClr val="00336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P 6: Task Force Genehmigungsverfahren</a:t>
            </a:r>
            <a:endParaRPr lang="de-DE" sz="280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9"/>
          <p:cNvSpPr>
            <a:spLocks/>
          </p:cNvSpPr>
          <p:nvPr userDrawn="1"/>
        </p:nvSpPr>
        <p:spPr bwMode="auto">
          <a:xfrm>
            <a:off x="38100" y="9423400"/>
            <a:ext cx="15071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27934" bIns="0">
            <a:spAutoFit/>
          </a:bodyPr>
          <a:lstStyle>
            <a:lvl1pPr marL="1270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r>
              <a:rPr lang="en-US" altLang="de-DE" sz="160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FAIR</a:t>
            </a:r>
            <a:r>
              <a:rPr lang="en-US" altLang="de-DE" sz="1600" baseline="0">
                <a:solidFill>
                  <a:srgbClr val="00599D"/>
                </a:solidFill>
                <a:latin typeface="Calibri" panose="020F0502020204030204" pitchFamily="34" charset="0"/>
                <a:ea typeface="MS PGothic" pitchFamily="34" charset="-128"/>
              </a:rPr>
              <a:t>/FSB-Team</a:t>
            </a:r>
            <a:endParaRPr lang="en-US" altLang="de-DE" sz="1600">
              <a:solidFill>
                <a:srgbClr val="00599D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812823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14127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0">
            <a:extLst>
              <a:ext uri="{FF2B5EF4-FFF2-40B4-BE49-F238E27FC236}">
                <a16:creationId xmlns:a16="http://schemas.microsoft.com/office/drawing/2014/main" id="{CF998009-0484-4F72-8A9D-6BEFC36AFAE2}"/>
              </a:ext>
            </a:extLst>
          </p:cNvPr>
          <p:cNvPicPr>
            <a:picLocks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325" y="52388"/>
            <a:ext cx="1411288" cy="117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8" r:id="rId2"/>
    <p:sldLayoutId id="2147483656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7" r:id="rId11"/>
    <p:sldLayoutId id="2147483665" r:id="rId12"/>
    <p:sldLayoutId id="2147483651" r:id="rId13"/>
    <p:sldLayoutId id="2147483670" r:id="rId14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+mj-lt"/>
          <a:ea typeface="+mj-ea"/>
          <a:cs typeface="+mj-cs"/>
          <a:sym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8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9pPr>
    </p:titleStyle>
    <p:bodyStyle>
      <a:lvl1pPr marL="342900" indent="-342900" algn="l" rtl="0" eaLnBrk="1" fontAlgn="base" hangingPunct="1">
        <a:spcBef>
          <a:spcPts val="913"/>
        </a:spcBef>
        <a:spcAft>
          <a:spcPct val="0"/>
        </a:spcAft>
        <a:defRPr sz="3400">
          <a:solidFill>
            <a:srgbClr val="00599D"/>
          </a:solidFill>
          <a:latin typeface="+mn-lt"/>
          <a:ea typeface="+mn-ea"/>
          <a:cs typeface="+mn-cs"/>
          <a:sym typeface="Arial" pitchFamily="34" charset="0"/>
        </a:defRPr>
      </a:lvl1pPr>
      <a:lvl2pPr marL="647700" indent="-192088" algn="l" rtl="0" eaLnBrk="1" fontAlgn="base" hangingPunct="1">
        <a:spcBef>
          <a:spcPts val="688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1295400" indent="-381000" algn="l" rtl="0" eaLnBrk="1" fontAlgn="base" hangingPunct="1">
        <a:spcBef>
          <a:spcPts val="6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1955800" indent="-585788" algn="l" rtl="0" eaLnBrk="1" fontAlgn="base" hangingPunct="1">
        <a:spcBef>
          <a:spcPts val="600"/>
        </a:spcBef>
        <a:spcAft>
          <a:spcPct val="0"/>
        </a:spcAft>
        <a:defRPr sz="2100">
          <a:solidFill>
            <a:srgbClr val="990000"/>
          </a:solidFill>
          <a:latin typeface="Arial Italic" charset="0"/>
          <a:ea typeface="+mn-ea"/>
          <a:cs typeface="+mn-cs"/>
          <a:sym typeface="Arial Italic" charset="0"/>
        </a:defRPr>
      </a:lvl4pPr>
      <a:lvl5pPr marL="2603500" indent="-774700" algn="l" rtl="0" eaLnBrk="1" fontAlgn="base" hangingPunct="1">
        <a:spcBef>
          <a:spcPts val="600"/>
        </a:spcBef>
        <a:spcAft>
          <a:spcPct val="0"/>
        </a:spcAft>
        <a:defRPr sz="2100">
          <a:solidFill>
            <a:srgbClr val="0066CC"/>
          </a:solidFill>
          <a:latin typeface="+mn-lt"/>
          <a:ea typeface="+mn-ea"/>
          <a:cs typeface="+mn-cs"/>
          <a:sym typeface="Arial" pitchFamily="34" charset="0"/>
        </a:defRPr>
      </a:lvl5pPr>
      <a:lvl6pPr marL="3060700" algn="l" rtl="0" eaLnBrk="1" fontAlgn="base" hangingPunct="1">
        <a:spcBef>
          <a:spcPts val="600"/>
        </a:spcBef>
        <a:spcAft>
          <a:spcPct val="0"/>
        </a:spcAft>
        <a:defRPr sz="22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6pPr>
      <a:lvl7pPr marL="3517900" algn="l" rtl="0" eaLnBrk="1" fontAlgn="base" hangingPunct="1">
        <a:spcBef>
          <a:spcPts val="600"/>
        </a:spcBef>
        <a:spcAft>
          <a:spcPct val="0"/>
        </a:spcAft>
        <a:defRPr sz="22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7pPr>
      <a:lvl8pPr marL="3975100" algn="l" rtl="0" eaLnBrk="1" fontAlgn="base" hangingPunct="1">
        <a:spcBef>
          <a:spcPts val="600"/>
        </a:spcBef>
        <a:spcAft>
          <a:spcPct val="0"/>
        </a:spcAft>
        <a:defRPr sz="22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8pPr>
      <a:lvl9pPr marL="4432300" algn="l" rtl="0" eaLnBrk="1" fontAlgn="base" hangingPunct="1">
        <a:spcBef>
          <a:spcPts val="600"/>
        </a:spcBef>
        <a:spcAft>
          <a:spcPct val="0"/>
        </a:spcAft>
        <a:defRPr sz="22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slide" Target="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emf"/><Relationship Id="rId4" Type="http://schemas.openxmlformats.org/officeDocument/2006/relationships/hyperlink" Target="IBN%20Ablauf%20B300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6045" y="5389316"/>
            <a:ext cx="11828497" cy="3176693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altLang="en-US" sz="2844" i="1" dirty="0">
              <a:latin typeface="Calibri" panose="020F0502020204030204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en-US" sz="2560" dirty="0">
                <a:latin typeface="Calibri" panose="020F0502020204030204" pitchFamily="34" charset="0"/>
              </a:rPr>
              <a:t>                                                                   </a:t>
            </a:r>
            <a:endParaRPr lang="en-GB" altLang="en-US" sz="2560" i="1" dirty="0">
              <a:latin typeface="Calibri" panose="020F0502020204030204" pitchFamily="34" charset="0"/>
            </a:endParaRPr>
          </a:p>
        </p:txBody>
      </p:sp>
      <p:sp>
        <p:nvSpPr>
          <p:cNvPr id="5" name="Rectangle 33">
            <a:extLst>
              <a:ext uri="{FF2B5EF4-FFF2-40B4-BE49-F238E27FC236}">
                <a16:creationId xmlns:a16="http://schemas.microsoft.com/office/drawing/2014/main" id="{51309237-7880-45A3-860A-A10B26ABF01C}"/>
              </a:ext>
            </a:extLst>
          </p:cNvPr>
          <p:cNvSpPr>
            <a:spLocks/>
          </p:cNvSpPr>
          <p:nvPr/>
        </p:nvSpPr>
        <p:spPr bwMode="auto">
          <a:xfrm>
            <a:off x="744538" y="3148607"/>
            <a:ext cx="11590510" cy="5314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78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endParaRPr lang="en-US" sz="3200" b="1" dirty="0">
              <a:solidFill>
                <a:schemeClr val="bg1"/>
              </a:solidFill>
              <a:latin typeface="+mj-lt"/>
              <a:ea typeface="ヒラギノ角ゴ ProN W3"/>
            </a:endParaRPr>
          </a:p>
          <a:p>
            <a:pPr algn="ctr" eaLnBrk="1" hangingPunct="1">
              <a:lnSpc>
                <a:spcPct val="15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  <a:ea typeface="ヒラギノ角ゴ ProN W3"/>
              </a:rPr>
              <a:t>Technical Building Infrastructure Commissioning</a:t>
            </a:r>
          </a:p>
          <a:p>
            <a:pPr algn="ctr" eaLnBrk="1" hangingPunct="1">
              <a:lnSpc>
                <a:spcPct val="15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  <a:ea typeface="ヒラギノ角ゴ ProN W3"/>
              </a:rPr>
              <a:t>Strategy, Phases, Timeline &amp; Status</a:t>
            </a:r>
          </a:p>
          <a:p>
            <a:pPr algn="ctr" eaLnBrk="1" hangingPunct="1">
              <a:lnSpc>
                <a:spcPct val="150000"/>
              </a:lnSpc>
            </a:pPr>
            <a:r>
              <a:rPr lang="de-DE" altLang="de-DE" sz="3100" b="1" dirty="0">
                <a:solidFill>
                  <a:schemeClr val="bg1"/>
                </a:solidFill>
                <a:latin typeface="+mj-lt"/>
                <a:ea typeface="ヒラギノ角ゴ ProN W3"/>
              </a:rPr>
              <a:t>07.11.2024</a:t>
            </a:r>
            <a:endParaRPr lang="de-DE" altLang="de-DE" sz="3100" b="1" dirty="0">
              <a:solidFill>
                <a:schemeClr val="bg1"/>
              </a:solidFill>
              <a:latin typeface="+mj-lt"/>
            </a:endParaRPr>
          </a:p>
          <a:p>
            <a:pPr algn="ctr" eaLnBrk="1" hangingPunct="1">
              <a:spcBef>
                <a:spcPts val="1000"/>
              </a:spcBef>
            </a:pPr>
            <a:r>
              <a:rPr lang="en-US" altLang="de-DE" b="1" dirty="0">
                <a:solidFill>
                  <a:srgbClr val="FFFFFF"/>
                </a:solidFill>
                <a:latin typeface="+mj-lt"/>
                <a:ea typeface="MS PGothic" pitchFamily="34" charset="-128"/>
                <a:sym typeface="Arial Italic" charset="0"/>
              </a:rPr>
              <a:t>B. Redmer</a:t>
            </a:r>
          </a:p>
          <a:p>
            <a:pPr algn="ctr" eaLnBrk="1" hangingPunct="1">
              <a:spcBef>
                <a:spcPts val="1000"/>
              </a:spcBef>
            </a:pPr>
            <a:r>
              <a:rPr lang="en-US" altLang="de-DE" dirty="0">
                <a:solidFill>
                  <a:srgbClr val="FFFFFF"/>
                </a:solidFill>
                <a:latin typeface="+mj-lt"/>
                <a:ea typeface="MS PGothic"/>
                <a:sym typeface="Arial Italic" charset="0"/>
              </a:rPr>
              <a:t>FAIR Site &amp; Buildings</a:t>
            </a:r>
          </a:p>
          <a:p>
            <a:pPr eaLnBrk="1" hangingPunct="1"/>
            <a:endParaRPr lang="de-DE" altLang="de-DE" sz="31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eaLnBrk="1" hangingPunct="1"/>
            <a:endParaRPr lang="de-DE" altLang="de-DE" sz="31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161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5CC9348-356A-432C-883B-A6A241C14523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2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Strategy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oling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Water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AADB09-447A-4291-BCB9-B2EDF48117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822" y="2128053"/>
            <a:ext cx="7745504" cy="629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71377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5CC9348-356A-432C-883B-A6A241C14523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2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Strategy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oling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Water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(25/45)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683AA0A-0070-4389-B97B-F4EAE9DF0164}"/>
              </a:ext>
            </a:extLst>
          </p:cNvPr>
          <p:cNvSpPr/>
          <p:nvPr/>
        </p:nvSpPr>
        <p:spPr bwMode="auto">
          <a:xfrm>
            <a:off x="2100617" y="2064114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0719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5828D7C-7876-4CE9-8A34-E0284D710718}"/>
              </a:ext>
            </a:extLst>
          </p:cNvPr>
          <p:cNvSpPr/>
          <p:nvPr/>
        </p:nvSpPr>
        <p:spPr bwMode="auto">
          <a:xfrm>
            <a:off x="4482850" y="5657623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314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4242A4C-AEEA-4875-A0EE-FF062017DD45}"/>
              </a:ext>
            </a:extLst>
          </p:cNvPr>
          <p:cNvSpPr/>
          <p:nvPr/>
        </p:nvSpPr>
        <p:spPr bwMode="auto">
          <a:xfrm>
            <a:off x="6899177" y="2058554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720A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9A44FBA-301B-4CF3-986A-5EE155707447}"/>
              </a:ext>
            </a:extLst>
          </p:cNvPr>
          <p:cNvSpPr/>
          <p:nvPr/>
        </p:nvSpPr>
        <p:spPr bwMode="auto">
          <a:xfrm>
            <a:off x="9307123" y="2053337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923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59751-A9D5-48F0-8976-23721B105DD8}"/>
              </a:ext>
            </a:extLst>
          </p:cNvPr>
          <p:cNvSpPr/>
          <p:nvPr/>
        </p:nvSpPr>
        <p:spPr bwMode="auto">
          <a:xfrm>
            <a:off x="6899178" y="2775575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0705A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E9C80D5-BACD-4840-ACEB-A6D3D5D7ED58}"/>
              </a:ext>
            </a:extLst>
          </p:cNvPr>
          <p:cNvSpPr/>
          <p:nvPr/>
        </p:nvSpPr>
        <p:spPr bwMode="auto">
          <a:xfrm>
            <a:off x="6894987" y="4942289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516A</a:t>
            </a:r>
          </a:p>
        </p:txBody>
      </p: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A70C9B80-44D7-4FB0-8BB0-56531416830E}"/>
              </a:ext>
            </a:extLst>
          </p:cNvPr>
          <p:cNvCxnSpPr>
            <a:cxnSpLocks/>
            <a:stCxn id="4" idx="3"/>
            <a:endCxn id="63" idx="1"/>
          </p:cNvCxnSpPr>
          <p:nvPr/>
        </p:nvCxnSpPr>
        <p:spPr bwMode="auto">
          <a:xfrm flipV="1">
            <a:off x="3547678" y="2311217"/>
            <a:ext cx="943554" cy="591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B375E404-92AD-4A15-A3D6-9E7A0A4B79BE}"/>
              </a:ext>
            </a:extLst>
          </p:cNvPr>
          <p:cNvCxnSpPr>
            <a:cxnSpLocks/>
            <a:stCxn id="4" idx="3"/>
            <a:endCxn id="15" idx="1"/>
          </p:cNvCxnSpPr>
          <p:nvPr/>
        </p:nvCxnSpPr>
        <p:spPr bwMode="auto">
          <a:xfrm>
            <a:off x="3547678" y="2317128"/>
            <a:ext cx="3351500" cy="711461"/>
          </a:xfrm>
          <a:prstGeom prst="bentConnector3">
            <a:avLst>
              <a:gd name="adj1" fmla="val 1405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C266313B-0006-4C9A-A9C2-71BF4525EF35}"/>
              </a:ext>
            </a:extLst>
          </p:cNvPr>
          <p:cNvSpPr/>
          <p:nvPr/>
        </p:nvSpPr>
        <p:spPr bwMode="auto">
          <a:xfrm>
            <a:off x="6906564" y="565762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308A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89BE9218-B93F-4E68-8AC0-1B57D2035508}"/>
              </a:ext>
            </a:extLst>
          </p:cNvPr>
          <p:cNvCxnSpPr>
            <a:cxnSpLocks/>
            <a:stCxn id="5" idx="3"/>
            <a:endCxn id="21" idx="1"/>
          </p:cNvCxnSpPr>
          <p:nvPr/>
        </p:nvCxnSpPr>
        <p:spPr bwMode="auto">
          <a:xfrm flipV="1">
            <a:off x="5929911" y="5910636"/>
            <a:ext cx="976653" cy="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3287693-B4A0-40BE-8CFD-B67F5AFFC1AA}"/>
              </a:ext>
            </a:extLst>
          </p:cNvPr>
          <p:cNvSpPr/>
          <p:nvPr/>
        </p:nvSpPr>
        <p:spPr bwMode="auto">
          <a:xfrm>
            <a:off x="6906564" y="7633389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321A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A347511-5827-4DBD-8F17-3834D8F371AE}"/>
              </a:ext>
            </a:extLst>
          </p:cNvPr>
          <p:cNvSpPr/>
          <p:nvPr/>
        </p:nvSpPr>
        <p:spPr bwMode="auto">
          <a:xfrm>
            <a:off x="6906564" y="8291977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406A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417E78C-C331-4DA8-8CC5-85C4127E9979}"/>
              </a:ext>
            </a:extLst>
          </p:cNvPr>
          <p:cNvSpPr/>
          <p:nvPr/>
        </p:nvSpPr>
        <p:spPr bwMode="auto">
          <a:xfrm>
            <a:off x="6906564" y="6316211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410A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646057C3-1C43-45DD-8E7C-619A0455FAE8}"/>
              </a:ext>
            </a:extLst>
          </p:cNvPr>
          <p:cNvSpPr/>
          <p:nvPr/>
        </p:nvSpPr>
        <p:spPr bwMode="auto">
          <a:xfrm>
            <a:off x="9351259" y="7633389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317A</a:t>
            </a:r>
          </a:p>
        </p:txBody>
      </p: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35B3F488-1B6C-4FF2-93FC-3DB3BF574EED}"/>
              </a:ext>
            </a:extLst>
          </p:cNvPr>
          <p:cNvCxnSpPr>
            <a:cxnSpLocks/>
            <a:stCxn id="5" idx="3"/>
            <a:endCxn id="27" idx="1"/>
          </p:cNvCxnSpPr>
          <p:nvPr/>
        </p:nvCxnSpPr>
        <p:spPr bwMode="auto">
          <a:xfrm>
            <a:off x="5929911" y="5910637"/>
            <a:ext cx="976653" cy="197576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2793A0E1-3D96-4FFD-B23F-634426EC109F}"/>
              </a:ext>
            </a:extLst>
          </p:cNvPr>
          <p:cNvSpPr/>
          <p:nvPr/>
        </p:nvSpPr>
        <p:spPr bwMode="auto">
          <a:xfrm>
            <a:off x="6894988" y="422363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G0704A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901687C-CE7A-4CCD-9BF9-0D15DBD59CE0}"/>
              </a:ext>
            </a:extLst>
          </p:cNvPr>
          <p:cNvSpPr/>
          <p:nvPr/>
        </p:nvSpPr>
        <p:spPr bwMode="auto">
          <a:xfrm>
            <a:off x="9307123" y="4220051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G0702A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07DBEF2-DD2F-472B-8BDE-16C28AA01BC9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 bwMode="auto">
          <a:xfrm flipV="1">
            <a:off x="8342049" y="4473065"/>
            <a:ext cx="965074" cy="3581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F9FEC2FA-3171-4698-AC86-0869F3EBEEC8}"/>
              </a:ext>
            </a:extLst>
          </p:cNvPr>
          <p:cNvSpPr/>
          <p:nvPr/>
        </p:nvSpPr>
        <p:spPr bwMode="auto">
          <a:xfrm>
            <a:off x="9307123" y="2775575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617A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0FB751D-1835-40B0-86B3-1CC43964E74E}"/>
              </a:ext>
            </a:extLst>
          </p:cNvPr>
          <p:cNvSpPr/>
          <p:nvPr/>
        </p:nvSpPr>
        <p:spPr bwMode="auto">
          <a:xfrm>
            <a:off x="9307123" y="3497813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619A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D624264-93F7-48F4-88A3-5AE9912F5DC2}"/>
              </a:ext>
            </a:extLst>
          </p:cNvPr>
          <p:cNvSpPr/>
          <p:nvPr/>
        </p:nvSpPr>
        <p:spPr bwMode="auto">
          <a:xfrm>
            <a:off x="6906564" y="6974800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503A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F859127-2434-4814-8C57-E2B7C126463D}"/>
              </a:ext>
            </a:extLst>
          </p:cNvPr>
          <p:cNvSpPr txBox="1"/>
          <p:nvPr/>
        </p:nvSpPr>
        <p:spPr>
          <a:xfrm>
            <a:off x="4673640" y="1717135"/>
            <a:ext cx="10695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1/2025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2E54FE5C-09FB-423B-A9F1-6B621F9BD67F}"/>
              </a:ext>
            </a:extLst>
          </p:cNvPr>
          <p:cNvSpPr/>
          <p:nvPr/>
        </p:nvSpPr>
        <p:spPr bwMode="auto">
          <a:xfrm>
            <a:off x="4491232" y="2058203"/>
            <a:ext cx="1447061" cy="506028"/>
          </a:xfrm>
          <a:prstGeom prst="rect">
            <a:avLst/>
          </a:prstGeom>
          <a:solidFill>
            <a:srgbClr val="5151DC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sym typeface="Arial" charset="0"/>
              </a:rPr>
              <a:t>K0519A (P1)</a:t>
            </a:r>
          </a:p>
        </p:txBody>
      </p: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82CE48BD-E1DE-44BB-B990-6AC339A41E9F}"/>
              </a:ext>
            </a:extLst>
          </p:cNvPr>
          <p:cNvCxnSpPr>
            <a:cxnSpLocks/>
            <a:stCxn id="63" idx="3"/>
            <a:endCxn id="12" idx="1"/>
          </p:cNvCxnSpPr>
          <p:nvPr/>
        </p:nvCxnSpPr>
        <p:spPr bwMode="auto">
          <a:xfrm>
            <a:off x="5938293" y="2311217"/>
            <a:ext cx="960884" cy="35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D206794E-E041-4073-821A-7D8BC976DAC3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 bwMode="auto">
          <a:xfrm flipV="1">
            <a:off x="8346238" y="2306351"/>
            <a:ext cx="960885" cy="5217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Verbinder: gewinkelt 92">
            <a:extLst>
              <a:ext uri="{FF2B5EF4-FFF2-40B4-BE49-F238E27FC236}">
                <a16:creationId xmlns:a16="http://schemas.microsoft.com/office/drawing/2014/main" id="{0039D6A8-9214-4005-8781-10A864561AC5}"/>
              </a:ext>
            </a:extLst>
          </p:cNvPr>
          <p:cNvCxnSpPr>
            <a:cxnSpLocks/>
            <a:stCxn id="134" idx="3"/>
            <a:endCxn id="16" idx="1"/>
          </p:cNvCxnSpPr>
          <p:nvPr/>
        </p:nvCxnSpPr>
        <p:spPr bwMode="auto">
          <a:xfrm flipV="1">
            <a:off x="3547678" y="5195303"/>
            <a:ext cx="3347309" cy="721950"/>
          </a:xfrm>
          <a:prstGeom prst="bentConnector3">
            <a:avLst>
              <a:gd name="adj1" fmla="val 14991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09E6BD22-1954-4EEE-BD37-85011CDA1F1F}"/>
              </a:ext>
            </a:extLst>
          </p:cNvPr>
          <p:cNvCxnSpPr>
            <a:cxnSpLocks/>
            <a:stCxn id="15" idx="3"/>
            <a:endCxn id="38" idx="1"/>
          </p:cNvCxnSpPr>
          <p:nvPr/>
        </p:nvCxnSpPr>
        <p:spPr bwMode="auto">
          <a:xfrm>
            <a:off x="8346239" y="3028589"/>
            <a:ext cx="960884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Verbinder: gewinkelt 101">
            <a:extLst>
              <a:ext uri="{FF2B5EF4-FFF2-40B4-BE49-F238E27FC236}">
                <a16:creationId xmlns:a16="http://schemas.microsoft.com/office/drawing/2014/main" id="{1ACF5C99-634D-4C9C-AEF5-3FC92FD64B81}"/>
              </a:ext>
            </a:extLst>
          </p:cNvPr>
          <p:cNvCxnSpPr>
            <a:cxnSpLocks/>
            <a:stCxn id="4" idx="3"/>
            <a:endCxn id="34" idx="1"/>
          </p:cNvCxnSpPr>
          <p:nvPr/>
        </p:nvCxnSpPr>
        <p:spPr bwMode="auto">
          <a:xfrm>
            <a:off x="3547678" y="2317128"/>
            <a:ext cx="3347310" cy="2159518"/>
          </a:xfrm>
          <a:prstGeom prst="bentConnector3">
            <a:avLst>
              <a:gd name="adj1" fmla="val 14327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Verbinder: gewinkelt 119">
            <a:extLst>
              <a:ext uri="{FF2B5EF4-FFF2-40B4-BE49-F238E27FC236}">
                <a16:creationId xmlns:a16="http://schemas.microsoft.com/office/drawing/2014/main" id="{A9E5583D-0C46-41F6-AC92-F55AD62E9462}"/>
              </a:ext>
            </a:extLst>
          </p:cNvPr>
          <p:cNvCxnSpPr>
            <a:cxnSpLocks/>
            <a:stCxn id="15" idx="3"/>
            <a:endCxn id="39" idx="1"/>
          </p:cNvCxnSpPr>
          <p:nvPr/>
        </p:nvCxnSpPr>
        <p:spPr bwMode="auto">
          <a:xfrm>
            <a:off x="8346239" y="3028589"/>
            <a:ext cx="960884" cy="722238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C1445A39-449C-4183-BD8D-D9B998A13B5C}"/>
              </a:ext>
            </a:extLst>
          </p:cNvPr>
          <p:cNvSpPr/>
          <p:nvPr/>
        </p:nvSpPr>
        <p:spPr bwMode="auto">
          <a:xfrm>
            <a:off x="2100617" y="5664239"/>
            <a:ext cx="1447061" cy="506028"/>
          </a:xfrm>
          <a:prstGeom prst="rect">
            <a:avLst/>
          </a:prstGeom>
          <a:solidFill>
            <a:srgbClr val="5151DC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519A </a:t>
            </a:r>
            <a:b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</a:b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H)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D3AF1783-56F7-42AA-BA4A-E8A30A6B28D9}"/>
              </a:ext>
            </a:extLst>
          </p:cNvPr>
          <p:cNvSpPr/>
          <p:nvPr/>
        </p:nvSpPr>
        <p:spPr bwMode="auto">
          <a:xfrm>
            <a:off x="2100617" y="8291977"/>
            <a:ext cx="1447061" cy="506028"/>
          </a:xfrm>
          <a:prstGeom prst="rect">
            <a:avLst/>
          </a:prstGeom>
          <a:solidFill>
            <a:srgbClr val="5151DC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sym typeface="Arial" charset="0"/>
              </a:rPr>
              <a:t>K0519A </a:t>
            </a:r>
            <a:b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sym typeface="Arial" charset="0"/>
              </a:rPr>
            </a:br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sym typeface="Arial" charset="0"/>
              </a:rPr>
              <a:t>(G)</a:t>
            </a:r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D67D8D55-C5C7-4CA6-83C8-B4CBBBD7B17B}"/>
              </a:ext>
            </a:extLst>
          </p:cNvPr>
          <p:cNvCxnSpPr>
            <a:cxnSpLocks/>
            <a:stCxn id="134" idx="3"/>
            <a:endCxn id="5" idx="1"/>
          </p:cNvCxnSpPr>
          <p:nvPr/>
        </p:nvCxnSpPr>
        <p:spPr bwMode="auto">
          <a:xfrm flipV="1">
            <a:off x="3547678" y="5910637"/>
            <a:ext cx="935172" cy="661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Gerader Verbinder 138">
            <a:extLst>
              <a:ext uri="{FF2B5EF4-FFF2-40B4-BE49-F238E27FC236}">
                <a16:creationId xmlns:a16="http://schemas.microsoft.com/office/drawing/2014/main" id="{ACA2FE42-9117-4C29-A1B8-77EE75387C02}"/>
              </a:ext>
            </a:extLst>
          </p:cNvPr>
          <p:cNvCxnSpPr>
            <a:cxnSpLocks/>
            <a:endCxn id="135" idx="0"/>
          </p:cNvCxnSpPr>
          <p:nvPr/>
        </p:nvCxnSpPr>
        <p:spPr bwMode="auto">
          <a:xfrm>
            <a:off x="2812569" y="6170267"/>
            <a:ext cx="11579" cy="212171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Gerader Verbinder 141">
            <a:extLst>
              <a:ext uri="{FF2B5EF4-FFF2-40B4-BE49-F238E27FC236}">
                <a16:creationId xmlns:a16="http://schemas.microsoft.com/office/drawing/2014/main" id="{AC0BA38B-B31F-4DE3-8353-D18DFCF4DD6F}"/>
              </a:ext>
            </a:extLst>
          </p:cNvPr>
          <p:cNvCxnSpPr>
            <a:cxnSpLocks/>
            <a:endCxn id="134" idx="0"/>
          </p:cNvCxnSpPr>
          <p:nvPr/>
        </p:nvCxnSpPr>
        <p:spPr bwMode="auto">
          <a:xfrm>
            <a:off x="2824148" y="2570142"/>
            <a:ext cx="0" cy="3094097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B87EAFE-6E54-43DD-B1CF-B3EB54CA8F17}"/>
              </a:ext>
            </a:extLst>
          </p:cNvPr>
          <p:cNvCxnSpPr>
            <a:cxnSpLocks/>
            <a:stCxn id="135" idx="3"/>
            <a:endCxn id="28" idx="1"/>
          </p:cNvCxnSpPr>
          <p:nvPr/>
        </p:nvCxnSpPr>
        <p:spPr bwMode="auto">
          <a:xfrm>
            <a:off x="3547678" y="8544991"/>
            <a:ext cx="3358886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Gerader Verbinder 158">
            <a:extLst>
              <a:ext uri="{FF2B5EF4-FFF2-40B4-BE49-F238E27FC236}">
                <a16:creationId xmlns:a16="http://schemas.microsoft.com/office/drawing/2014/main" id="{35D6EAE2-31D0-4128-9A2B-AF166E3949FE}"/>
              </a:ext>
            </a:extLst>
          </p:cNvPr>
          <p:cNvCxnSpPr>
            <a:cxnSpLocks/>
            <a:stCxn id="27" idx="3"/>
            <a:endCxn id="30" idx="1"/>
          </p:cNvCxnSpPr>
          <p:nvPr/>
        </p:nvCxnSpPr>
        <p:spPr bwMode="auto">
          <a:xfrm>
            <a:off x="8353625" y="7886403"/>
            <a:ext cx="997634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7" name="Textfeld 166">
            <a:extLst>
              <a:ext uri="{FF2B5EF4-FFF2-40B4-BE49-F238E27FC236}">
                <a16:creationId xmlns:a16="http://schemas.microsoft.com/office/drawing/2014/main" id="{70208956-D0DC-45B6-A667-934344759816}"/>
              </a:ext>
            </a:extLst>
          </p:cNvPr>
          <p:cNvSpPr txBox="1"/>
          <p:nvPr/>
        </p:nvSpPr>
        <p:spPr>
          <a:xfrm>
            <a:off x="2824147" y="5298379"/>
            <a:ext cx="10695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4/2025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C3563AB8-52E9-4762-BE16-9AA98199B309}"/>
              </a:ext>
            </a:extLst>
          </p:cNvPr>
          <p:cNvSpPr txBox="1"/>
          <p:nvPr/>
        </p:nvSpPr>
        <p:spPr>
          <a:xfrm>
            <a:off x="2782698" y="7952651"/>
            <a:ext cx="10695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4/2025</a:t>
            </a: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C23B61E0-F866-4F01-AAEB-96419F621531}"/>
              </a:ext>
            </a:extLst>
          </p:cNvPr>
          <p:cNvCxnSpPr>
            <a:cxnSpLocks/>
            <a:stCxn id="4" idx="0"/>
            <a:endCxn id="13" idx="0"/>
          </p:cNvCxnSpPr>
          <p:nvPr/>
        </p:nvCxnSpPr>
        <p:spPr bwMode="auto">
          <a:xfrm rot="5400000" flipH="1" flipV="1">
            <a:off x="6422013" y="-1544527"/>
            <a:ext cx="10777" cy="7206506"/>
          </a:xfrm>
          <a:prstGeom prst="bentConnector3">
            <a:avLst>
              <a:gd name="adj1" fmla="val 3948167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BB484E8C-BDD5-4CB5-A9B0-4F7D3E8AB48C}"/>
              </a:ext>
            </a:extLst>
          </p:cNvPr>
          <p:cNvCxnSpPr>
            <a:cxnSpLocks/>
            <a:stCxn id="5" idx="3"/>
            <a:endCxn id="29" idx="1"/>
          </p:cNvCxnSpPr>
          <p:nvPr/>
        </p:nvCxnSpPr>
        <p:spPr bwMode="auto">
          <a:xfrm>
            <a:off x="5929911" y="5910637"/>
            <a:ext cx="976653" cy="658588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B0413561-F07C-4C8D-9034-64153A43E69B}"/>
              </a:ext>
            </a:extLst>
          </p:cNvPr>
          <p:cNvCxnSpPr>
            <a:cxnSpLocks/>
            <a:stCxn id="5" idx="3"/>
            <a:endCxn id="43" idx="1"/>
          </p:cNvCxnSpPr>
          <p:nvPr/>
        </p:nvCxnSpPr>
        <p:spPr bwMode="auto">
          <a:xfrm>
            <a:off x="5929911" y="5910637"/>
            <a:ext cx="976653" cy="131717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5151D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A7EE888-C45B-4E52-8E21-896DA32E37DA}"/>
              </a:ext>
            </a:extLst>
          </p:cNvPr>
          <p:cNvSpPr txBox="1"/>
          <p:nvPr/>
        </p:nvSpPr>
        <p:spPr>
          <a:xfrm>
            <a:off x="2850635" y="1717135"/>
            <a:ext cx="10695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1/2025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B4D1B46-D809-4D34-ADB0-0D85F21C76A6}"/>
              </a:ext>
            </a:extLst>
          </p:cNvPr>
          <p:cNvSpPr txBox="1"/>
          <p:nvPr/>
        </p:nvSpPr>
        <p:spPr>
          <a:xfrm>
            <a:off x="7064558" y="1708979"/>
            <a:ext cx="10695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1/2025</a:t>
            </a:r>
          </a:p>
        </p:txBody>
      </p:sp>
    </p:spTree>
    <p:extLst>
      <p:ext uri="{BB962C8B-B14F-4D97-AF65-F5344CB8AC3E}">
        <p14:creationId xmlns:p14="http://schemas.microsoft.com/office/powerpoint/2010/main" val="49589750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F68C3E51-7D5D-449E-AE76-6E3820A3B8F5}"/>
              </a:ext>
            </a:extLst>
          </p:cNvPr>
          <p:cNvSpPr/>
          <p:nvPr/>
        </p:nvSpPr>
        <p:spPr bwMode="auto">
          <a:xfrm>
            <a:off x="309712" y="3443857"/>
            <a:ext cx="12445180" cy="939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Utility</a:t>
            </a:r>
          </a:p>
        </p:txBody>
      </p:sp>
      <p:graphicFrame>
        <p:nvGraphicFramePr>
          <p:cNvPr id="64" name="Objekt 6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4" name="Objekt 6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58750" cy="158750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/>
          </a:p>
        </p:txBody>
      </p:sp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EE6CBC97-FC44-4C0D-9FD4-13A15BE9BBDD}"/>
              </a:ext>
            </a:extLst>
          </p:cNvPr>
          <p:cNvGraphicFramePr>
            <a:graphicFrameLocks noGrp="1"/>
          </p:cNvGraphicFramePr>
          <p:nvPr/>
        </p:nvGraphicFramePr>
        <p:xfrm>
          <a:off x="309712" y="4442117"/>
          <a:ext cx="12445180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4518">
                  <a:extLst>
                    <a:ext uri="{9D8B030D-6E8A-4147-A177-3AD203B41FA5}">
                      <a16:colId xmlns:a16="http://schemas.microsoft.com/office/drawing/2014/main" val="1211628938"/>
                    </a:ext>
                  </a:extLst>
                </a:gridCol>
                <a:gridCol w="3733554">
                  <a:extLst>
                    <a:ext uri="{9D8B030D-6E8A-4147-A177-3AD203B41FA5}">
                      <a16:colId xmlns:a16="http://schemas.microsoft.com/office/drawing/2014/main" val="4160889360"/>
                    </a:ext>
                  </a:extLst>
                </a:gridCol>
                <a:gridCol w="3733554">
                  <a:extLst>
                    <a:ext uri="{9D8B030D-6E8A-4147-A177-3AD203B41FA5}">
                      <a16:colId xmlns:a16="http://schemas.microsoft.com/office/drawing/2014/main" val="3066523541"/>
                    </a:ext>
                  </a:extLst>
                </a:gridCol>
                <a:gridCol w="3733554">
                  <a:extLst>
                    <a:ext uri="{9D8B030D-6E8A-4147-A177-3AD203B41FA5}">
                      <a16:colId xmlns:a16="http://schemas.microsoft.com/office/drawing/2014/main" val="37973325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24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25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27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9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018800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3302FED9-96F0-445B-B5AA-EA4F075E60DB}"/>
              </a:ext>
            </a:extLst>
          </p:cNvPr>
          <p:cNvSpPr/>
          <p:nvPr/>
        </p:nvSpPr>
        <p:spPr bwMode="auto">
          <a:xfrm>
            <a:off x="309712" y="5064337"/>
            <a:ext cx="12445180" cy="939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ryo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E6CFD0F-B1A2-43E0-BA59-9E4D9FEEC87C}"/>
              </a:ext>
            </a:extLst>
          </p:cNvPr>
          <p:cNvSpPr/>
          <p:nvPr/>
        </p:nvSpPr>
        <p:spPr bwMode="auto">
          <a:xfrm>
            <a:off x="309712" y="2428368"/>
            <a:ext cx="12445180" cy="939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Pow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185646A-3847-43CB-B6A6-F6E84D1AA548}"/>
              </a:ext>
            </a:extLst>
          </p:cNvPr>
          <p:cNvSpPr/>
          <p:nvPr/>
        </p:nvSpPr>
        <p:spPr bwMode="auto">
          <a:xfrm>
            <a:off x="309712" y="6058871"/>
            <a:ext cx="12445180" cy="939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EB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970D09B-CC54-461F-9C5F-116E48FA786C}"/>
              </a:ext>
            </a:extLst>
          </p:cNvPr>
          <p:cNvSpPr/>
          <p:nvPr/>
        </p:nvSpPr>
        <p:spPr bwMode="auto">
          <a:xfrm>
            <a:off x="309712" y="7043977"/>
            <a:ext cx="12445180" cy="939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SIS100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AF8429-2068-43C5-B86D-FAE133C43599}"/>
              </a:ext>
            </a:extLst>
          </p:cNvPr>
          <p:cNvCxnSpPr>
            <a:cxnSpLocks/>
          </p:cNvCxnSpPr>
          <p:nvPr/>
        </p:nvCxnSpPr>
        <p:spPr bwMode="auto">
          <a:xfrm>
            <a:off x="1455938" y="2639502"/>
            <a:ext cx="0" cy="1812043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D74045C9-1565-40C1-A00E-FBC6A35221C4}"/>
              </a:ext>
            </a:extLst>
          </p:cNvPr>
          <p:cNvCxnSpPr>
            <a:cxnSpLocks/>
          </p:cNvCxnSpPr>
          <p:nvPr/>
        </p:nvCxnSpPr>
        <p:spPr bwMode="auto">
          <a:xfrm flipV="1">
            <a:off x="1455938" y="4991087"/>
            <a:ext cx="0" cy="782546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Textfeld 60">
            <a:extLst>
              <a:ext uri="{FF2B5EF4-FFF2-40B4-BE49-F238E27FC236}">
                <a16:creationId xmlns:a16="http://schemas.microsoft.com/office/drawing/2014/main" id="{2A7E960D-F2CA-4D2B-AF0C-3B99E89EABA0}"/>
              </a:ext>
            </a:extLst>
          </p:cNvPr>
          <p:cNvSpPr txBox="1"/>
          <p:nvPr/>
        </p:nvSpPr>
        <p:spPr>
          <a:xfrm>
            <a:off x="1535340" y="2442939"/>
            <a:ext cx="22397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Provisional</a:t>
            </a:r>
            <a:r>
              <a:rPr lang="de-DE" sz="1200" dirty="0"/>
              <a:t> link </a:t>
            </a:r>
            <a:r>
              <a:rPr lang="de-DE" sz="1200" dirty="0" err="1"/>
              <a:t>from</a:t>
            </a:r>
            <a:r>
              <a:rPr lang="de-DE" sz="1200" dirty="0"/>
              <a:t> </a:t>
            </a:r>
            <a:r>
              <a:rPr lang="de-DE" sz="1200" dirty="0" err="1"/>
              <a:t>transformer</a:t>
            </a:r>
            <a:r>
              <a:rPr lang="de-DE" sz="1200" dirty="0"/>
              <a:t> </a:t>
            </a:r>
            <a:r>
              <a:rPr lang="de-DE" sz="1200" dirty="0" err="1"/>
              <a:t>substation</a:t>
            </a:r>
            <a:r>
              <a:rPr lang="de-DE" sz="1200" dirty="0"/>
              <a:t> </a:t>
            </a:r>
            <a:r>
              <a:rPr lang="de-DE" sz="1200" dirty="0" err="1"/>
              <a:t>south</a:t>
            </a:r>
            <a:br>
              <a:rPr lang="de-DE" sz="1200" dirty="0"/>
            </a:br>
            <a:r>
              <a:rPr lang="de-DE" sz="1200" dirty="0" err="1"/>
              <a:t>to</a:t>
            </a:r>
            <a:r>
              <a:rPr lang="de-DE" sz="1200" dirty="0"/>
              <a:t> H0719A </a:t>
            </a:r>
            <a:br>
              <a:rPr lang="de-DE" sz="1200" dirty="0"/>
            </a:br>
            <a:r>
              <a:rPr lang="de-DE" sz="1200" dirty="0"/>
              <a:t>(AV)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8A987D14-2608-45EB-81D0-CEAF730DF6F7}"/>
              </a:ext>
            </a:extLst>
          </p:cNvPr>
          <p:cNvSpPr txBox="1"/>
          <p:nvPr/>
        </p:nvSpPr>
        <p:spPr>
          <a:xfrm>
            <a:off x="1484315" y="5542801"/>
            <a:ext cx="2039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Provisional</a:t>
            </a:r>
            <a:r>
              <a:rPr lang="de-DE" sz="1200" dirty="0"/>
              <a:t> power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K0720A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1EEA2DF-CCD5-4772-B294-B18CC981922F}"/>
              </a:ext>
            </a:extLst>
          </p:cNvPr>
          <p:cNvSpPr/>
          <p:nvPr/>
        </p:nvSpPr>
        <p:spPr bwMode="auto">
          <a:xfrm>
            <a:off x="309712" y="8038505"/>
            <a:ext cx="12445180" cy="9383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S-FRS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54956F3-9CA4-4167-A6FA-322A61CCD6E0}"/>
              </a:ext>
            </a:extLst>
          </p:cNvPr>
          <p:cNvSpPr txBox="1"/>
          <p:nvPr/>
        </p:nvSpPr>
        <p:spPr>
          <a:xfrm>
            <a:off x="2395166" y="3443291"/>
            <a:ext cx="1991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Cooling </a:t>
            </a:r>
            <a:r>
              <a:rPr lang="de-DE" sz="1200" dirty="0" err="1"/>
              <a:t>water</a:t>
            </a:r>
            <a:r>
              <a:rPr lang="de-DE" sz="1200" dirty="0"/>
              <a:t>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Cryogenic</a:t>
            </a:r>
            <a:r>
              <a:rPr lang="de-DE" sz="1200" dirty="0"/>
              <a:t> plant </a:t>
            </a:r>
            <a:r>
              <a:rPr lang="de-DE" sz="1200" dirty="0" err="1"/>
              <a:t>testing</a:t>
            </a:r>
            <a:r>
              <a:rPr lang="de-DE" sz="1200" dirty="0"/>
              <a:t> and </a:t>
            </a:r>
            <a:r>
              <a:rPr lang="de-DE" sz="1200" dirty="0" err="1"/>
              <a:t>commissioing</a:t>
            </a:r>
            <a:endParaRPr lang="de-DE" sz="1200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1CCEE7AD-E2CB-40D3-8B3B-D520ECA4308F}"/>
              </a:ext>
            </a:extLst>
          </p:cNvPr>
          <p:cNvSpPr txBox="1"/>
          <p:nvPr/>
        </p:nvSpPr>
        <p:spPr>
          <a:xfrm>
            <a:off x="4439420" y="2440589"/>
            <a:ext cx="15447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Permament</a:t>
            </a:r>
            <a:r>
              <a:rPr lang="de-DE" sz="1200" dirty="0"/>
              <a:t> link </a:t>
            </a:r>
            <a:r>
              <a:rPr lang="de-DE" sz="1200" dirty="0" err="1"/>
              <a:t>transformer</a:t>
            </a:r>
            <a:r>
              <a:rPr lang="de-DE" sz="1200" dirty="0"/>
              <a:t> sub-station </a:t>
            </a:r>
            <a:r>
              <a:rPr lang="de-DE" sz="1200" dirty="0" err="1"/>
              <a:t>north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H0719A </a:t>
            </a:r>
          </a:p>
          <a:p>
            <a:r>
              <a:rPr lang="de-DE" sz="1200" dirty="0"/>
              <a:t>(PP)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F3B8B075-E822-4376-8CD2-52D448EA9316}"/>
              </a:ext>
            </a:extLst>
          </p:cNvPr>
          <p:cNvSpPr txBox="1"/>
          <p:nvPr/>
        </p:nvSpPr>
        <p:spPr>
          <a:xfrm>
            <a:off x="5853686" y="2434969"/>
            <a:ext cx="19675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Permanent link </a:t>
            </a:r>
            <a:r>
              <a:rPr lang="de-DE" sz="1200" dirty="0" err="1"/>
              <a:t>transformer</a:t>
            </a:r>
            <a:r>
              <a:rPr lang="de-DE" sz="1200" dirty="0"/>
              <a:t> </a:t>
            </a:r>
            <a:r>
              <a:rPr lang="de-DE" sz="1200" dirty="0" err="1"/>
              <a:t>substation</a:t>
            </a:r>
            <a:r>
              <a:rPr lang="de-DE" sz="1200" dirty="0"/>
              <a:t> </a:t>
            </a:r>
            <a:r>
              <a:rPr lang="de-DE" sz="1200" dirty="0" err="1"/>
              <a:t>south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H0719A and K0314A </a:t>
            </a:r>
          </a:p>
          <a:p>
            <a:r>
              <a:rPr lang="de-DE" sz="1200" dirty="0"/>
              <a:t>(AV)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A74808F8-2347-4A0B-ACF0-A0AA3EDA8A5F}"/>
              </a:ext>
            </a:extLst>
          </p:cNvPr>
          <p:cNvCxnSpPr>
            <a:cxnSpLocks/>
          </p:cNvCxnSpPr>
          <p:nvPr/>
        </p:nvCxnSpPr>
        <p:spPr bwMode="auto">
          <a:xfrm flipV="1">
            <a:off x="4921683" y="4991087"/>
            <a:ext cx="0" cy="1279118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3245A329-4E16-4765-8EEC-907E468C7E07}"/>
              </a:ext>
            </a:extLst>
          </p:cNvPr>
          <p:cNvSpPr txBox="1"/>
          <p:nvPr/>
        </p:nvSpPr>
        <p:spPr>
          <a:xfrm>
            <a:off x="1774481" y="6066597"/>
            <a:ext cx="31472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Power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HEBT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r>
              <a:rPr lang="de-DE" sz="1200" dirty="0"/>
              <a:t> in G0702A, H0705A, K0617A</a:t>
            </a:r>
          </a:p>
        </p:txBody>
      </p: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1B7DEDC8-CEE1-4F98-A875-C9B2063EB261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921438" y="4993850"/>
            <a:ext cx="732" cy="2279468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6" name="Textfeld 85">
            <a:extLst>
              <a:ext uri="{FF2B5EF4-FFF2-40B4-BE49-F238E27FC236}">
                <a16:creationId xmlns:a16="http://schemas.microsoft.com/office/drawing/2014/main" id="{4DD57799-6248-4A5C-B1A3-B3310778A6F4}"/>
              </a:ext>
            </a:extLst>
          </p:cNvPr>
          <p:cNvSpPr txBox="1"/>
          <p:nvPr/>
        </p:nvSpPr>
        <p:spPr>
          <a:xfrm>
            <a:off x="3034687" y="7057039"/>
            <a:ext cx="18869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Power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SIS100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endParaRPr lang="de-DE" sz="1200" dirty="0"/>
          </a:p>
        </p:txBody>
      </p: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5DD94FCE-4ECB-4DFE-BAA4-579A2CFF2A9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138412" y="4998975"/>
            <a:ext cx="31384" cy="3234246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3" name="Textfeld 92">
            <a:extLst>
              <a:ext uri="{FF2B5EF4-FFF2-40B4-BE49-F238E27FC236}">
                <a16:creationId xmlns:a16="http://schemas.microsoft.com/office/drawing/2014/main" id="{6F46373D-1038-4A3E-9AFD-FC61265D05B2}"/>
              </a:ext>
            </a:extLst>
          </p:cNvPr>
          <p:cNvSpPr txBox="1"/>
          <p:nvPr/>
        </p:nvSpPr>
        <p:spPr>
          <a:xfrm>
            <a:off x="3259248" y="8046125"/>
            <a:ext cx="2879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Power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S-FRS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r>
              <a:rPr lang="de-DE" sz="1200" dirty="0"/>
              <a:t> in L0516A</a:t>
            </a: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097E7BF1-808F-4FFF-94C7-A23CB50087E0}"/>
              </a:ext>
            </a:extLst>
          </p:cNvPr>
          <p:cNvCxnSpPr>
            <a:cxnSpLocks/>
          </p:cNvCxnSpPr>
          <p:nvPr/>
        </p:nvCxnSpPr>
        <p:spPr bwMode="auto">
          <a:xfrm>
            <a:off x="4422558" y="2639502"/>
            <a:ext cx="0" cy="1812227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63D48523-5F0B-4F84-A810-0EECE9A50FB5}"/>
              </a:ext>
            </a:extLst>
          </p:cNvPr>
          <p:cNvCxnSpPr>
            <a:cxnSpLocks/>
          </p:cNvCxnSpPr>
          <p:nvPr/>
        </p:nvCxnSpPr>
        <p:spPr bwMode="auto">
          <a:xfrm>
            <a:off x="5801313" y="2637786"/>
            <a:ext cx="0" cy="1813759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9D99E8A-D593-43C4-A9C3-8FCFF7F8C096}"/>
              </a:ext>
            </a:extLst>
          </p:cNvPr>
          <p:cNvCxnSpPr>
            <a:cxnSpLocks/>
          </p:cNvCxnSpPr>
          <p:nvPr/>
        </p:nvCxnSpPr>
        <p:spPr bwMode="auto">
          <a:xfrm>
            <a:off x="2329090" y="3674123"/>
            <a:ext cx="0" cy="777422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ED436BB0-2C75-4A09-A711-9C5288E0BF8C}"/>
              </a:ext>
            </a:extLst>
          </p:cNvPr>
          <p:cNvCxnSpPr>
            <a:cxnSpLocks/>
          </p:cNvCxnSpPr>
          <p:nvPr/>
        </p:nvCxnSpPr>
        <p:spPr bwMode="auto">
          <a:xfrm flipV="1">
            <a:off x="2485745" y="4998975"/>
            <a:ext cx="0" cy="325386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0" name="Textfeld 109">
            <a:extLst>
              <a:ext uri="{FF2B5EF4-FFF2-40B4-BE49-F238E27FC236}">
                <a16:creationId xmlns:a16="http://schemas.microsoft.com/office/drawing/2014/main" id="{8C2C7FAB-C393-40EB-A179-D8B4D96BFA59}"/>
              </a:ext>
            </a:extLst>
          </p:cNvPr>
          <p:cNvSpPr txBox="1"/>
          <p:nvPr/>
        </p:nvSpPr>
        <p:spPr>
          <a:xfrm>
            <a:off x="2546544" y="5018030"/>
            <a:ext cx="2333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Cooling </a:t>
            </a:r>
            <a:r>
              <a:rPr lang="de-DE" sz="1200" dirty="0" err="1"/>
              <a:t>water</a:t>
            </a:r>
            <a:r>
              <a:rPr lang="de-DE" sz="1200" dirty="0"/>
              <a:t> and </a:t>
            </a:r>
            <a:r>
              <a:rPr lang="de-DE" sz="1200" dirty="0" err="1"/>
              <a:t>instrument</a:t>
            </a:r>
            <a:r>
              <a:rPr lang="de-DE" sz="1200" dirty="0"/>
              <a:t> </a:t>
            </a:r>
            <a:r>
              <a:rPr lang="de-DE" sz="1200" dirty="0" err="1"/>
              <a:t>air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Cryogenic</a:t>
            </a:r>
            <a:r>
              <a:rPr lang="de-DE" sz="1200" dirty="0"/>
              <a:t> plant</a:t>
            </a:r>
          </a:p>
        </p:txBody>
      </p: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B0930B90-9E37-4F1F-AF41-8278922A3871}"/>
              </a:ext>
            </a:extLst>
          </p:cNvPr>
          <p:cNvCxnSpPr>
            <a:cxnSpLocks/>
          </p:cNvCxnSpPr>
          <p:nvPr/>
        </p:nvCxnSpPr>
        <p:spPr bwMode="auto">
          <a:xfrm flipV="1">
            <a:off x="7137536" y="5008402"/>
            <a:ext cx="0" cy="3666504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2" name="Textfeld 111">
            <a:extLst>
              <a:ext uri="{FF2B5EF4-FFF2-40B4-BE49-F238E27FC236}">
                <a16:creationId xmlns:a16="http://schemas.microsoft.com/office/drawing/2014/main" id="{D4095115-84C4-46EA-AAEB-B5CA16CC4B7B}"/>
              </a:ext>
            </a:extLst>
          </p:cNvPr>
          <p:cNvSpPr txBox="1"/>
          <p:nvPr/>
        </p:nvSpPr>
        <p:spPr>
          <a:xfrm>
            <a:off x="4242102" y="8507790"/>
            <a:ext cx="2879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Utility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S-FRS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r>
              <a:rPr lang="de-DE" sz="1200" dirty="0"/>
              <a:t> in L0516A</a:t>
            </a: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C09E4ECF-FED3-46C0-9147-9775430E462E}"/>
              </a:ext>
            </a:extLst>
          </p:cNvPr>
          <p:cNvCxnSpPr>
            <a:cxnSpLocks/>
          </p:cNvCxnSpPr>
          <p:nvPr/>
        </p:nvCxnSpPr>
        <p:spPr bwMode="auto">
          <a:xfrm flipV="1">
            <a:off x="5280897" y="5016126"/>
            <a:ext cx="0" cy="2729797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CDEE5800-00F2-4BCB-BABB-FA6DD9186238}"/>
              </a:ext>
            </a:extLst>
          </p:cNvPr>
          <p:cNvCxnSpPr>
            <a:cxnSpLocks/>
          </p:cNvCxnSpPr>
          <p:nvPr/>
        </p:nvCxnSpPr>
        <p:spPr bwMode="auto">
          <a:xfrm flipV="1">
            <a:off x="5280897" y="4997272"/>
            <a:ext cx="732" cy="1756141"/>
          </a:xfrm>
          <a:prstGeom prst="line">
            <a:avLst/>
          </a:prstGeom>
          <a:ln>
            <a:headEnd type="oval" w="lg" len="lg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9" name="Textfeld 118">
            <a:extLst>
              <a:ext uri="{FF2B5EF4-FFF2-40B4-BE49-F238E27FC236}">
                <a16:creationId xmlns:a16="http://schemas.microsoft.com/office/drawing/2014/main" id="{35B9ADAF-4A4C-4B4B-85F2-BF125D027D7E}"/>
              </a:ext>
            </a:extLst>
          </p:cNvPr>
          <p:cNvSpPr txBox="1"/>
          <p:nvPr/>
        </p:nvSpPr>
        <p:spPr>
          <a:xfrm>
            <a:off x="3183962" y="7515091"/>
            <a:ext cx="1991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Utility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SIS100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endParaRPr lang="de-DE" sz="1200" dirty="0"/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F6A94D4D-D7C0-451B-A0C7-5E9EBC22CC86}"/>
              </a:ext>
            </a:extLst>
          </p:cNvPr>
          <p:cNvSpPr txBox="1"/>
          <p:nvPr/>
        </p:nvSpPr>
        <p:spPr>
          <a:xfrm>
            <a:off x="1991762" y="6522581"/>
            <a:ext cx="3255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/>
              <a:t>Utility </a:t>
            </a:r>
            <a:r>
              <a:rPr lang="de-DE" sz="1200" dirty="0" err="1"/>
              <a:t>suppl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HEBT </a:t>
            </a:r>
            <a:r>
              <a:rPr lang="de-DE" sz="1200" dirty="0" err="1"/>
              <a:t>component</a:t>
            </a:r>
            <a:r>
              <a:rPr lang="de-DE" sz="1200" dirty="0"/>
              <a:t> </a:t>
            </a:r>
            <a:r>
              <a:rPr lang="de-DE" sz="1200" dirty="0" err="1"/>
              <a:t>testing</a:t>
            </a:r>
            <a:r>
              <a:rPr lang="de-DE" sz="1200" dirty="0"/>
              <a:t> in G0702A, H0705A, K0617A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2B8D4C6C-2C10-416D-BDD1-AC5F1DA04FAA}"/>
              </a:ext>
            </a:extLst>
          </p:cNvPr>
          <p:cNvSpPr/>
          <p:nvPr/>
        </p:nvSpPr>
        <p:spPr bwMode="auto">
          <a:xfrm>
            <a:off x="309712" y="1809944"/>
            <a:ext cx="12445180" cy="490968"/>
          </a:xfrm>
          <a:prstGeom prst="rect">
            <a:avLst/>
          </a:prstGeom>
          <a:gradFill>
            <a:gsLst>
              <a:gs pos="63000">
                <a:srgbClr val="00B050"/>
              </a:gs>
              <a:gs pos="39000">
                <a:srgbClr val="4572C4"/>
              </a:gs>
              <a:gs pos="81000">
                <a:srgbClr val="C98539"/>
              </a:gs>
              <a:gs pos="100000">
                <a:srgbClr val="C98539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nstruction / </a:t>
            </a:r>
            <a:r>
              <a:rPr kumimoji="0" lang="de-DE" sz="2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mmissioning</a:t>
            </a:r>
            <a:r>
              <a:rPr kumimoji="0" lang="de-DE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                         HBO                      </a:t>
            </a:r>
            <a:r>
              <a:rPr lang="de-DE" b="1" dirty="0" err="1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Operations</a:t>
            </a:r>
            <a:endParaRPr kumimoji="0" lang="de-DE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7CAB08F-CCEA-462B-BE32-9F261D37804A}"/>
              </a:ext>
            </a:extLst>
          </p:cNvPr>
          <p:cNvSpPr>
            <a:spLocks/>
          </p:cNvSpPr>
          <p:nvPr/>
        </p:nvSpPr>
        <p:spPr bwMode="auto">
          <a:xfrm>
            <a:off x="488950" y="211259"/>
            <a:ext cx="1245738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3 Schedule and Status</a:t>
            </a: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3.1 Interface Milestone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Overview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A445445B-566C-5AF4-AF8C-421D23B9A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087867"/>
              </p:ext>
            </p:extLst>
          </p:nvPr>
        </p:nvGraphicFramePr>
        <p:xfrm>
          <a:off x="328337" y="4826953"/>
          <a:ext cx="1242655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504">
                  <a:extLst>
                    <a:ext uri="{9D8B030D-6E8A-4147-A177-3AD203B41FA5}">
                      <a16:colId xmlns:a16="http://schemas.microsoft.com/office/drawing/2014/main" val="586435759"/>
                    </a:ext>
                  </a:extLst>
                </a:gridCol>
                <a:gridCol w="938463">
                  <a:extLst>
                    <a:ext uri="{9D8B030D-6E8A-4147-A177-3AD203B41FA5}">
                      <a16:colId xmlns:a16="http://schemas.microsoft.com/office/drawing/2014/main" val="2097282266"/>
                    </a:ext>
                  </a:extLst>
                </a:gridCol>
                <a:gridCol w="936458">
                  <a:extLst>
                    <a:ext uri="{9D8B030D-6E8A-4147-A177-3AD203B41FA5}">
                      <a16:colId xmlns:a16="http://schemas.microsoft.com/office/drawing/2014/main" val="2794370638"/>
                    </a:ext>
                  </a:extLst>
                </a:gridCol>
                <a:gridCol w="936458">
                  <a:extLst>
                    <a:ext uri="{9D8B030D-6E8A-4147-A177-3AD203B41FA5}">
                      <a16:colId xmlns:a16="http://schemas.microsoft.com/office/drawing/2014/main" val="1997154105"/>
                    </a:ext>
                  </a:extLst>
                </a:gridCol>
                <a:gridCol w="936458">
                  <a:extLst>
                    <a:ext uri="{9D8B030D-6E8A-4147-A177-3AD203B41FA5}">
                      <a16:colId xmlns:a16="http://schemas.microsoft.com/office/drawing/2014/main" val="3821060974"/>
                    </a:ext>
                  </a:extLst>
                </a:gridCol>
                <a:gridCol w="936458">
                  <a:extLst>
                    <a:ext uri="{9D8B030D-6E8A-4147-A177-3AD203B41FA5}">
                      <a16:colId xmlns:a16="http://schemas.microsoft.com/office/drawing/2014/main" val="3635076306"/>
                    </a:ext>
                  </a:extLst>
                </a:gridCol>
                <a:gridCol w="932447">
                  <a:extLst>
                    <a:ext uri="{9D8B030D-6E8A-4147-A177-3AD203B41FA5}">
                      <a16:colId xmlns:a16="http://schemas.microsoft.com/office/drawing/2014/main" val="380128071"/>
                    </a:ext>
                  </a:extLst>
                </a:gridCol>
                <a:gridCol w="932447">
                  <a:extLst>
                    <a:ext uri="{9D8B030D-6E8A-4147-A177-3AD203B41FA5}">
                      <a16:colId xmlns:a16="http://schemas.microsoft.com/office/drawing/2014/main" val="3726040706"/>
                    </a:ext>
                  </a:extLst>
                </a:gridCol>
                <a:gridCol w="932447">
                  <a:extLst>
                    <a:ext uri="{9D8B030D-6E8A-4147-A177-3AD203B41FA5}">
                      <a16:colId xmlns:a16="http://schemas.microsoft.com/office/drawing/2014/main" val="316202324"/>
                    </a:ext>
                  </a:extLst>
                </a:gridCol>
                <a:gridCol w="932447">
                  <a:extLst>
                    <a:ext uri="{9D8B030D-6E8A-4147-A177-3AD203B41FA5}">
                      <a16:colId xmlns:a16="http://schemas.microsoft.com/office/drawing/2014/main" val="2249872028"/>
                    </a:ext>
                  </a:extLst>
                </a:gridCol>
                <a:gridCol w="930492">
                  <a:extLst>
                    <a:ext uri="{9D8B030D-6E8A-4147-A177-3AD203B41FA5}">
                      <a16:colId xmlns:a16="http://schemas.microsoft.com/office/drawing/2014/main" val="3407908254"/>
                    </a:ext>
                  </a:extLst>
                </a:gridCol>
                <a:gridCol w="930492">
                  <a:extLst>
                    <a:ext uri="{9D8B030D-6E8A-4147-A177-3AD203B41FA5}">
                      <a16:colId xmlns:a16="http://schemas.microsoft.com/office/drawing/2014/main" val="4095265022"/>
                    </a:ext>
                  </a:extLst>
                </a:gridCol>
                <a:gridCol w="930492">
                  <a:extLst>
                    <a:ext uri="{9D8B030D-6E8A-4147-A177-3AD203B41FA5}">
                      <a16:colId xmlns:a16="http://schemas.microsoft.com/office/drawing/2014/main" val="4182745809"/>
                    </a:ext>
                  </a:extLst>
                </a:gridCol>
                <a:gridCol w="930492">
                  <a:extLst>
                    <a:ext uri="{9D8B030D-6E8A-4147-A177-3AD203B41FA5}">
                      <a16:colId xmlns:a16="http://schemas.microsoft.com/office/drawing/2014/main" val="2728735964"/>
                    </a:ext>
                  </a:extLst>
                </a:gridCol>
              </a:tblGrid>
              <a:tr h="205293">
                <a:tc>
                  <a:txBody>
                    <a:bodyPr/>
                    <a:lstStyle/>
                    <a:p>
                      <a:endParaRPr lang="de-DE" sz="500" dirty="0"/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V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V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V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II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V</a:t>
                      </a:r>
                    </a:p>
                  </a:txBody>
                  <a:tcPr>
                    <a:solidFill>
                      <a:srgbClr val="0059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697264"/>
                  </a:ext>
                </a:extLst>
              </a:tr>
            </a:tbl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AA7AE25-BD80-4416-AD17-58E61F1C0C93}"/>
              </a:ext>
            </a:extLst>
          </p:cNvPr>
          <p:cNvGrpSpPr/>
          <p:nvPr/>
        </p:nvGrpSpPr>
        <p:grpSpPr>
          <a:xfrm>
            <a:off x="9723449" y="5145751"/>
            <a:ext cx="2579178" cy="3666504"/>
            <a:chOff x="10773299" y="5183755"/>
            <a:chExt cx="1775992" cy="2456333"/>
          </a:xfrm>
        </p:grpSpPr>
        <p:sp>
          <p:nvSpPr>
            <p:cNvPr id="42" name="G004A">
              <a:extLst>
                <a:ext uri="{FF2B5EF4-FFF2-40B4-BE49-F238E27FC236}">
                  <a16:creationId xmlns:a16="http://schemas.microsoft.com/office/drawing/2014/main" id="{FF37802E-F528-4ACA-A5CB-7E87565F4A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40095" y="6285312"/>
              <a:ext cx="335583" cy="146079"/>
            </a:xfrm>
            <a:custGeom>
              <a:avLst/>
              <a:gdLst>
                <a:gd name="connsiteX0" fmla="*/ 53340 w 1386840"/>
                <a:gd name="connsiteY0" fmla="*/ 556260 h 556260"/>
                <a:gd name="connsiteX1" fmla="*/ 914400 w 1386840"/>
                <a:gd name="connsiteY1" fmla="*/ 358140 h 556260"/>
                <a:gd name="connsiteX2" fmla="*/ 883920 w 1386840"/>
                <a:gd name="connsiteY2" fmla="*/ 274320 h 556260"/>
                <a:gd name="connsiteX3" fmla="*/ 1386840 w 1386840"/>
                <a:gd name="connsiteY3" fmla="*/ 167640 h 556260"/>
                <a:gd name="connsiteX4" fmla="*/ 1333500 w 1386840"/>
                <a:gd name="connsiteY4" fmla="*/ 0 h 556260"/>
                <a:gd name="connsiteX5" fmla="*/ 0 w 1386840"/>
                <a:gd name="connsiteY5" fmla="*/ 304800 h 556260"/>
                <a:gd name="connsiteX6" fmla="*/ 53340 w 1386840"/>
                <a:gd name="connsiteY6" fmla="*/ 556260 h 556260"/>
                <a:gd name="connsiteX0" fmla="*/ 53340 w 1386840"/>
                <a:gd name="connsiteY0" fmla="*/ 556260 h 585245"/>
                <a:gd name="connsiteX1" fmla="*/ 943678 w 1386840"/>
                <a:gd name="connsiteY1" fmla="*/ 585245 h 585245"/>
                <a:gd name="connsiteX2" fmla="*/ 883920 w 1386840"/>
                <a:gd name="connsiteY2" fmla="*/ 274320 h 585245"/>
                <a:gd name="connsiteX3" fmla="*/ 1386840 w 1386840"/>
                <a:gd name="connsiteY3" fmla="*/ 167640 h 585245"/>
                <a:gd name="connsiteX4" fmla="*/ 1333500 w 1386840"/>
                <a:gd name="connsiteY4" fmla="*/ 0 h 585245"/>
                <a:gd name="connsiteX5" fmla="*/ 0 w 1386840"/>
                <a:gd name="connsiteY5" fmla="*/ 304800 h 585245"/>
                <a:gd name="connsiteX6" fmla="*/ 53340 w 1386840"/>
                <a:gd name="connsiteY6" fmla="*/ 556260 h 585245"/>
                <a:gd name="connsiteX0" fmla="*/ 53340 w 1386840"/>
                <a:gd name="connsiteY0" fmla="*/ 556260 h 585245"/>
                <a:gd name="connsiteX1" fmla="*/ 943678 w 1386840"/>
                <a:gd name="connsiteY1" fmla="*/ 585245 h 585245"/>
                <a:gd name="connsiteX2" fmla="*/ 909015 w 1386840"/>
                <a:gd name="connsiteY2" fmla="*/ 260961 h 585245"/>
                <a:gd name="connsiteX3" fmla="*/ 1386840 w 1386840"/>
                <a:gd name="connsiteY3" fmla="*/ 167640 h 585245"/>
                <a:gd name="connsiteX4" fmla="*/ 1333500 w 1386840"/>
                <a:gd name="connsiteY4" fmla="*/ 0 h 585245"/>
                <a:gd name="connsiteX5" fmla="*/ 0 w 1386840"/>
                <a:gd name="connsiteY5" fmla="*/ 304800 h 585245"/>
                <a:gd name="connsiteX6" fmla="*/ 53340 w 1386840"/>
                <a:gd name="connsiteY6" fmla="*/ 556260 h 585245"/>
                <a:gd name="connsiteX0" fmla="*/ 53340 w 1386840"/>
                <a:gd name="connsiteY0" fmla="*/ 569936 h 598921"/>
                <a:gd name="connsiteX1" fmla="*/ 943678 w 1386840"/>
                <a:gd name="connsiteY1" fmla="*/ 598921 h 598921"/>
                <a:gd name="connsiteX2" fmla="*/ 909015 w 1386840"/>
                <a:gd name="connsiteY2" fmla="*/ 274637 h 598921"/>
                <a:gd name="connsiteX3" fmla="*/ 1386840 w 1386840"/>
                <a:gd name="connsiteY3" fmla="*/ 181316 h 598921"/>
                <a:gd name="connsiteX4" fmla="*/ 1333500 w 1386840"/>
                <a:gd name="connsiteY4" fmla="*/ 0 h 598921"/>
                <a:gd name="connsiteX5" fmla="*/ 0 w 1386840"/>
                <a:gd name="connsiteY5" fmla="*/ 318476 h 598921"/>
                <a:gd name="connsiteX6" fmla="*/ 53340 w 1386840"/>
                <a:gd name="connsiteY6" fmla="*/ 569936 h 598921"/>
                <a:gd name="connsiteX0" fmla="*/ 53340 w 1377239"/>
                <a:gd name="connsiteY0" fmla="*/ 569936 h 598921"/>
                <a:gd name="connsiteX1" fmla="*/ 943678 w 1377239"/>
                <a:gd name="connsiteY1" fmla="*/ 598921 h 598921"/>
                <a:gd name="connsiteX2" fmla="*/ 909015 w 1377239"/>
                <a:gd name="connsiteY2" fmla="*/ 274637 h 598921"/>
                <a:gd name="connsiteX3" fmla="*/ 1377239 w 1377239"/>
                <a:gd name="connsiteY3" fmla="*/ 177897 h 598921"/>
                <a:gd name="connsiteX4" fmla="*/ 1333500 w 1377239"/>
                <a:gd name="connsiteY4" fmla="*/ 0 h 598921"/>
                <a:gd name="connsiteX5" fmla="*/ 0 w 1377239"/>
                <a:gd name="connsiteY5" fmla="*/ 318476 h 598921"/>
                <a:gd name="connsiteX6" fmla="*/ 53340 w 137723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54717 w 1323899"/>
                <a:gd name="connsiteY5" fmla="*/ 157783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3373 w 1323899"/>
                <a:gd name="connsiteY5" fmla="*/ 166898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274115 w 1323899"/>
                <a:gd name="connsiteY6" fmla="*/ 362498 h 598921"/>
                <a:gd name="connsiteX7" fmla="*/ 0 w 1323899"/>
                <a:gd name="connsiteY7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0 w 1323899"/>
                <a:gd name="connsiteY7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220233 w 1323899"/>
                <a:gd name="connsiteY7" fmla="*/ 447582 h 598921"/>
                <a:gd name="connsiteX8" fmla="*/ 0 w 1323899"/>
                <a:gd name="connsiteY8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38737 w 1323899"/>
                <a:gd name="connsiteY7" fmla="*/ 389846 h 598921"/>
                <a:gd name="connsiteX8" fmla="*/ 0 w 1323899"/>
                <a:gd name="connsiteY8" fmla="*/ 569936 h 598921"/>
                <a:gd name="connsiteX0" fmla="*/ 0 w 1323899"/>
                <a:gd name="connsiteY0" fmla="*/ 569936 h 598921"/>
                <a:gd name="connsiteX1" fmla="*/ 330833 w 1323899"/>
                <a:gd name="connsiteY1" fmla="*/ 584324 h 598921"/>
                <a:gd name="connsiteX2" fmla="*/ 890338 w 1323899"/>
                <a:gd name="connsiteY2" fmla="*/ 598921 h 598921"/>
                <a:gd name="connsiteX3" fmla="*/ 855675 w 1323899"/>
                <a:gd name="connsiteY3" fmla="*/ 274637 h 598921"/>
                <a:gd name="connsiteX4" fmla="*/ 1323899 w 1323899"/>
                <a:gd name="connsiteY4" fmla="*/ 177897 h 598921"/>
                <a:gd name="connsiteX5" fmla="*/ 1280160 w 1323899"/>
                <a:gd name="connsiteY5" fmla="*/ 0 h 598921"/>
                <a:gd name="connsiteX6" fmla="*/ 549045 w 1323899"/>
                <a:gd name="connsiteY6" fmla="*/ 169937 h 598921"/>
                <a:gd name="connsiteX7" fmla="*/ 560539 w 1323899"/>
                <a:gd name="connsiteY7" fmla="*/ 274375 h 598921"/>
                <a:gd name="connsiteX8" fmla="*/ 38737 w 1323899"/>
                <a:gd name="connsiteY8" fmla="*/ 389846 h 598921"/>
                <a:gd name="connsiteX9" fmla="*/ 0 w 1323899"/>
                <a:gd name="connsiteY9" fmla="*/ 569936 h 598921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79327 w 1347551"/>
                <a:gd name="connsiteY3" fmla="*/ 274637 h 821344"/>
                <a:gd name="connsiteX4" fmla="*/ 1347551 w 1347551"/>
                <a:gd name="connsiteY4" fmla="*/ 177897 h 821344"/>
                <a:gd name="connsiteX5" fmla="*/ 1303812 w 1347551"/>
                <a:gd name="connsiteY5" fmla="*/ 0 h 821344"/>
                <a:gd name="connsiteX6" fmla="*/ 572697 w 1347551"/>
                <a:gd name="connsiteY6" fmla="*/ 169937 h 821344"/>
                <a:gd name="connsiteX7" fmla="*/ 584191 w 1347551"/>
                <a:gd name="connsiteY7" fmla="*/ 274375 h 821344"/>
                <a:gd name="connsiteX8" fmla="*/ 62389 w 1347551"/>
                <a:gd name="connsiteY8" fmla="*/ 389846 h 821344"/>
                <a:gd name="connsiteX9" fmla="*/ 23652 w 1347551"/>
                <a:gd name="connsiteY9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90467 w 1347551"/>
                <a:gd name="connsiteY3" fmla="*/ 417196 h 821344"/>
                <a:gd name="connsiteX4" fmla="*/ 879327 w 1347551"/>
                <a:gd name="connsiteY4" fmla="*/ 274637 h 821344"/>
                <a:gd name="connsiteX5" fmla="*/ 1347551 w 1347551"/>
                <a:gd name="connsiteY5" fmla="*/ 177897 h 821344"/>
                <a:gd name="connsiteX6" fmla="*/ 1303812 w 1347551"/>
                <a:gd name="connsiteY6" fmla="*/ 0 h 821344"/>
                <a:gd name="connsiteX7" fmla="*/ 572697 w 1347551"/>
                <a:gd name="connsiteY7" fmla="*/ 169937 h 821344"/>
                <a:gd name="connsiteX8" fmla="*/ 584191 w 1347551"/>
                <a:gd name="connsiteY8" fmla="*/ 274375 h 821344"/>
                <a:gd name="connsiteX9" fmla="*/ 62389 w 1347551"/>
                <a:gd name="connsiteY9" fmla="*/ 389846 h 821344"/>
                <a:gd name="connsiteX10" fmla="*/ 23652 w 1347551"/>
                <a:gd name="connsiteY10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918827 w 1347551"/>
                <a:gd name="connsiteY3" fmla="*/ 477970 h 821344"/>
                <a:gd name="connsiteX4" fmla="*/ 879327 w 1347551"/>
                <a:gd name="connsiteY4" fmla="*/ 274637 h 821344"/>
                <a:gd name="connsiteX5" fmla="*/ 1347551 w 1347551"/>
                <a:gd name="connsiteY5" fmla="*/ 177897 h 821344"/>
                <a:gd name="connsiteX6" fmla="*/ 1303812 w 1347551"/>
                <a:gd name="connsiteY6" fmla="*/ 0 h 821344"/>
                <a:gd name="connsiteX7" fmla="*/ 572697 w 1347551"/>
                <a:gd name="connsiteY7" fmla="*/ 169937 h 821344"/>
                <a:gd name="connsiteX8" fmla="*/ 584191 w 1347551"/>
                <a:gd name="connsiteY8" fmla="*/ 274375 h 821344"/>
                <a:gd name="connsiteX9" fmla="*/ 62389 w 1347551"/>
                <a:gd name="connsiteY9" fmla="*/ 389846 h 821344"/>
                <a:gd name="connsiteX10" fmla="*/ 23652 w 1347551"/>
                <a:gd name="connsiteY10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913154 w 1347551"/>
                <a:gd name="connsiteY3" fmla="*/ 556976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572697 w 1347551"/>
                <a:gd name="connsiteY8" fmla="*/ 169937 h 821344"/>
                <a:gd name="connsiteX9" fmla="*/ 584191 w 1347551"/>
                <a:gd name="connsiteY9" fmla="*/ 274375 h 821344"/>
                <a:gd name="connsiteX10" fmla="*/ 62389 w 1347551"/>
                <a:gd name="connsiteY10" fmla="*/ 389846 h 821344"/>
                <a:gd name="connsiteX11" fmla="*/ 23652 w 1347551"/>
                <a:gd name="connsiteY11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572697 w 1347551"/>
                <a:gd name="connsiteY8" fmla="*/ 169937 h 821344"/>
                <a:gd name="connsiteX9" fmla="*/ 584191 w 1347551"/>
                <a:gd name="connsiteY9" fmla="*/ 274375 h 821344"/>
                <a:gd name="connsiteX10" fmla="*/ 62389 w 1347551"/>
                <a:gd name="connsiteY10" fmla="*/ 389846 h 821344"/>
                <a:gd name="connsiteX11" fmla="*/ 23652 w 1347551"/>
                <a:gd name="connsiteY11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572697 w 1347551"/>
                <a:gd name="connsiteY9" fmla="*/ 169937 h 821344"/>
                <a:gd name="connsiteX10" fmla="*/ 584191 w 1347551"/>
                <a:gd name="connsiteY10" fmla="*/ 274375 h 821344"/>
                <a:gd name="connsiteX11" fmla="*/ 62389 w 1347551"/>
                <a:gd name="connsiteY11" fmla="*/ 389846 h 821344"/>
                <a:gd name="connsiteX12" fmla="*/ 23652 w 1347551"/>
                <a:gd name="connsiteY12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009574 w 1347551"/>
                <a:gd name="connsiteY9" fmla="*/ 73820 h 821344"/>
                <a:gd name="connsiteX10" fmla="*/ 572697 w 1347551"/>
                <a:gd name="connsiteY10" fmla="*/ 169937 h 821344"/>
                <a:gd name="connsiteX11" fmla="*/ 584191 w 1347551"/>
                <a:gd name="connsiteY11" fmla="*/ 274375 h 821344"/>
                <a:gd name="connsiteX12" fmla="*/ 62389 w 1347551"/>
                <a:gd name="connsiteY12" fmla="*/ 389846 h 821344"/>
                <a:gd name="connsiteX13" fmla="*/ 23652 w 1347551"/>
                <a:gd name="connsiteY13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995395 w 1347551"/>
                <a:gd name="connsiteY9" fmla="*/ 67744 h 821344"/>
                <a:gd name="connsiteX10" fmla="*/ 572697 w 1347551"/>
                <a:gd name="connsiteY10" fmla="*/ 169937 h 821344"/>
                <a:gd name="connsiteX11" fmla="*/ 584191 w 1347551"/>
                <a:gd name="connsiteY11" fmla="*/ 274375 h 821344"/>
                <a:gd name="connsiteX12" fmla="*/ 62389 w 1347551"/>
                <a:gd name="connsiteY12" fmla="*/ 389846 h 821344"/>
                <a:gd name="connsiteX13" fmla="*/ 23652 w 1347551"/>
                <a:gd name="connsiteY13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00323 w 1347551"/>
                <a:gd name="connsiteY9" fmla="*/ 52550 h 821344"/>
                <a:gd name="connsiteX10" fmla="*/ 995395 w 1347551"/>
                <a:gd name="connsiteY10" fmla="*/ 67744 h 821344"/>
                <a:gd name="connsiteX11" fmla="*/ 572697 w 1347551"/>
                <a:gd name="connsiteY11" fmla="*/ 169937 h 821344"/>
                <a:gd name="connsiteX12" fmla="*/ 584191 w 1347551"/>
                <a:gd name="connsiteY12" fmla="*/ 274375 h 821344"/>
                <a:gd name="connsiteX13" fmla="*/ 62389 w 1347551"/>
                <a:gd name="connsiteY13" fmla="*/ 389846 h 821344"/>
                <a:gd name="connsiteX14" fmla="*/ 23652 w 1347551"/>
                <a:gd name="connsiteY14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995395 w 1347551"/>
                <a:gd name="connsiteY10" fmla="*/ 67744 h 821344"/>
                <a:gd name="connsiteX11" fmla="*/ 572697 w 1347551"/>
                <a:gd name="connsiteY11" fmla="*/ 169937 h 821344"/>
                <a:gd name="connsiteX12" fmla="*/ 584191 w 1347551"/>
                <a:gd name="connsiteY12" fmla="*/ 274375 h 821344"/>
                <a:gd name="connsiteX13" fmla="*/ 62389 w 1347551"/>
                <a:gd name="connsiteY13" fmla="*/ 389846 h 821344"/>
                <a:gd name="connsiteX14" fmla="*/ 23652 w 1347551"/>
                <a:gd name="connsiteY14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69128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23652 w 1347551"/>
                <a:gd name="connsiteY15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01067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23652 w 1347551"/>
                <a:gd name="connsiteY15" fmla="*/ 569936 h 821344"/>
                <a:gd name="connsiteX0" fmla="*/ 17980 w 1347551"/>
                <a:gd name="connsiteY0" fmla="*/ 399769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01067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17980 w 1347551"/>
                <a:gd name="connsiteY15" fmla="*/ 399769 h 821344"/>
                <a:gd name="connsiteX0" fmla="*/ 17980 w 1347551"/>
                <a:gd name="connsiteY0" fmla="*/ 399769 h 821344"/>
                <a:gd name="connsiteX1" fmla="*/ 5671 w 1347551"/>
                <a:gd name="connsiteY1" fmla="*/ 511395 h 821344"/>
                <a:gd name="connsiteX2" fmla="*/ 0 w 1347551"/>
                <a:gd name="connsiteY2" fmla="*/ 821344 h 821344"/>
                <a:gd name="connsiteX3" fmla="*/ 913990 w 1347551"/>
                <a:gd name="connsiteY3" fmla="*/ 598921 h 821344"/>
                <a:gd name="connsiteX4" fmla="*/ 887632 w 1347551"/>
                <a:gd name="connsiteY4" fmla="*/ 471892 h 821344"/>
                <a:gd name="connsiteX5" fmla="*/ 918827 w 1347551"/>
                <a:gd name="connsiteY5" fmla="*/ 477970 h 821344"/>
                <a:gd name="connsiteX6" fmla="*/ 879327 w 1347551"/>
                <a:gd name="connsiteY6" fmla="*/ 274637 h 821344"/>
                <a:gd name="connsiteX7" fmla="*/ 1347551 w 1347551"/>
                <a:gd name="connsiteY7" fmla="*/ 177897 h 821344"/>
                <a:gd name="connsiteX8" fmla="*/ 1303812 w 1347551"/>
                <a:gd name="connsiteY8" fmla="*/ 0 h 821344"/>
                <a:gd name="connsiteX9" fmla="*/ 1162712 w 1347551"/>
                <a:gd name="connsiteY9" fmla="*/ 34317 h 821344"/>
                <a:gd name="connsiteX10" fmla="*/ 1151368 w 1347551"/>
                <a:gd name="connsiteY10" fmla="*/ 10009 h 821344"/>
                <a:gd name="connsiteX11" fmla="*/ 1001067 w 1347551"/>
                <a:gd name="connsiteY11" fmla="*/ 34317 h 821344"/>
                <a:gd name="connsiteX12" fmla="*/ 995395 w 1347551"/>
                <a:gd name="connsiteY12" fmla="*/ 67744 h 821344"/>
                <a:gd name="connsiteX13" fmla="*/ 572697 w 1347551"/>
                <a:gd name="connsiteY13" fmla="*/ 169937 h 821344"/>
                <a:gd name="connsiteX14" fmla="*/ 584191 w 1347551"/>
                <a:gd name="connsiteY14" fmla="*/ 274375 h 821344"/>
                <a:gd name="connsiteX15" fmla="*/ 62389 w 1347551"/>
                <a:gd name="connsiteY15" fmla="*/ 389846 h 821344"/>
                <a:gd name="connsiteX16" fmla="*/ 17980 w 1347551"/>
                <a:gd name="connsiteY16" fmla="*/ 399769 h 821344"/>
                <a:gd name="connsiteX0" fmla="*/ 97385 w 1426956"/>
                <a:gd name="connsiteY0" fmla="*/ 399769 h 821344"/>
                <a:gd name="connsiteX1" fmla="*/ 0 w 1426956"/>
                <a:gd name="connsiteY1" fmla="*/ 429349 h 821344"/>
                <a:gd name="connsiteX2" fmla="*/ 79405 w 1426956"/>
                <a:gd name="connsiteY2" fmla="*/ 821344 h 821344"/>
                <a:gd name="connsiteX3" fmla="*/ 993395 w 1426956"/>
                <a:gd name="connsiteY3" fmla="*/ 598921 h 821344"/>
                <a:gd name="connsiteX4" fmla="*/ 967037 w 1426956"/>
                <a:gd name="connsiteY4" fmla="*/ 471892 h 821344"/>
                <a:gd name="connsiteX5" fmla="*/ 998232 w 1426956"/>
                <a:gd name="connsiteY5" fmla="*/ 477970 h 821344"/>
                <a:gd name="connsiteX6" fmla="*/ 958732 w 1426956"/>
                <a:gd name="connsiteY6" fmla="*/ 274637 h 821344"/>
                <a:gd name="connsiteX7" fmla="*/ 1426956 w 1426956"/>
                <a:gd name="connsiteY7" fmla="*/ 177897 h 821344"/>
                <a:gd name="connsiteX8" fmla="*/ 1383217 w 1426956"/>
                <a:gd name="connsiteY8" fmla="*/ 0 h 821344"/>
                <a:gd name="connsiteX9" fmla="*/ 1242117 w 1426956"/>
                <a:gd name="connsiteY9" fmla="*/ 34317 h 821344"/>
                <a:gd name="connsiteX10" fmla="*/ 1230773 w 1426956"/>
                <a:gd name="connsiteY10" fmla="*/ 10009 h 821344"/>
                <a:gd name="connsiteX11" fmla="*/ 1080472 w 1426956"/>
                <a:gd name="connsiteY11" fmla="*/ 34317 h 821344"/>
                <a:gd name="connsiteX12" fmla="*/ 1074800 w 1426956"/>
                <a:gd name="connsiteY12" fmla="*/ 67744 h 821344"/>
                <a:gd name="connsiteX13" fmla="*/ 652102 w 1426956"/>
                <a:gd name="connsiteY13" fmla="*/ 169937 h 821344"/>
                <a:gd name="connsiteX14" fmla="*/ 663596 w 1426956"/>
                <a:gd name="connsiteY14" fmla="*/ 274375 h 821344"/>
                <a:gd name="connsiteX15" fmla="*/ 141794 w 1426956"/>
                <a:gd name="connsiteY15" fmla="*/ 389846 h 821344"/>
                <a:gd name="connsiteX16" fmla="*/ 97385 w 1426956"/>
                <a:gd name="connsiteY16" fmla="*/ 399769 h 821344"/>
                <a:gd name="connsiteX0" fmla="*/ 97385 w 1426956"/>
                <a:gd name="connsiteY0" fmla="*/ 399769 h 821344"/>
                <a:gd name="connsiteX1" fmla="*/ 0 w 1426956"/>
                <a:gd name="connsiteY1" fmla="*/ 429349 h 821344"/>
                <a:gd name="connsiteX2" fmla="*/ 48211 w 1426956"/>
                <a:gd name="connsiteY2" fmla="*/ 672447 h 821344"/>
                <a:gd name="connsiteX3" fmla="*/ 79405 w 1426956"/>
                <a:gd name="connsiteY3" fmla="*/ 821344 h 821344"/>
                <a:gd name="connsiteX4" fmla="*/ 993395 w 1426956"/>
                <a:gd name="connsiteY4" fmla="*/ 598921 h 821344"/>
                <a:gd name="connsiteX5" fmla="*/ 967037 w 1426956"/>
                <a:gd name="connsiteY5" fmla="*/ 471892 h 821344"/>
                <a:gd name="connsiteX6" fmla="*/ 998232 w 1426956"/>
                <a:gd name="connsiteY6" fmla="*/ 477970 h 821344"/>
                <a:gd name="connsiteX7" fmla="*/ 958732 w 1426956"/>
                <a:gd name="connsiteY7" fmla="*/ 274637 h 821344"/>
                <a:gd name="connsiteX8" fmla="*/ 1426956 w 1426956"/>
                <a:gd name="connsiteY8" fmla="*/ 177897 h 821344"/>
                <a:gd name="connsiteX9" fmla="*/ 1383217 w 1426956"/>
                <a:gd name="connsiteY9" fmla="*/ 0 h 821344"/>
                <a:gd name="connsiteX10" fmla="*/ 1242117 w 1426956"/>
                <a:gd name="connsiteY10" fmla="*/ 34317 h 821344"/>
                <a:gd name="connsiteX11" fmla="*/ 1230773 w 1426956"/>
                <a:gd name="connsiteY11" fmla="*/ 10009 h 821344"/>
                <a:gd name="connsiteX12" fmla="*/ 1080472 w 1426956"/>
                <a:gd name="connsiteY12" fmla="*/ 34317 h 821344"/>
                <a:gd name="connsiteX13" fmla="*/ 1074800 w 1426956"/>
                <a:gd name="connsiteY13" fmla="*/ 67744 h 821344"/>
                <a:gd name="connsiteX14" fmla="*/ 652102 w 1426956"/>
                <a:gd name="connsiteY14" fmla="*/ 169937 h 821344"/>
                <a:gd name="connsiteX15" fmla="*/ 663596 w 1426956"/>
                <a:gd name="connsiteY15" fmla="*/ 274375 h 821344"/>
                <a:gd name="connsiteX16" fmla="*/ 141794 w 1426956"/>
                <a:gd name="connsiteY16" fmla="*/ 389846 h 821344"/>
                <a:gd name="connsiteX17" fmla="*/ 97385 w 1426956"/>
                <a:gd name="connsiteY17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286423 w 1633974"/>
                <a:gd name="connsiteY3" fmla="*/ 821344 h 821344"/>
                <a:gd name="connsiteX4" fmla="*/ 1200413 w 1633974"/>
                <a:gd name="connsiteY4" fmla="*/ 598921 h 821344"/>
                <a:gd name="connsiteX5" fmla="*/ 1174055 w 1633974"/>
                <a:gd name="connsiteY5" fmla="*/ 471892 h 821344"/>
                <a:gd name="connsiteX6" fmla="*/ 1205250 w 1633974"/>
                <a:gd name="connsiteY6" fmla="*/ 477970 h 821344"/>
                <a:gd name="connsiteX7" fmla="*/ 1165750 w 1633974"/>
                <a:gd name="connsiteY7" fmla="*/ 274637 h 821344"/>
                <a:gd name="connsiteX8" fmla="*/ 1633974 w 1633974"/>
                <a:gd name="connsiteY8" fmla="*/ 177897 h 821344"/>
                <a:gd name="connsiteX9" fmla="*/ 1590235 w 1633974"/>
                <a:gd name="connsiteY9" fmla="*/ 0 h 821344"/>
                <a:gd name="connsiteX10" fmla="*/ 1449135 w 1633974"/>
                <a:gd name="connsiteY10" fmla="*/ 34317 h 821344"/>
                <a:gd name="connsiteX11" fmla="*/ 1437791 w 1633974"/>
                <a:gd name="connsiteY11" fmla="*/ 10009 h 821344"/>
                <a:gd name="connsiteX12" fmla="*/ 1287490 w 1633974"/>
                <a:gd name="connsiteY12" fmla="*/ 34317 h 821344"/>
                <a:gd name="connsiteX13" fmla="*/ 1281818 w 1633974"/>
                <a:gd name="connsiteY13" fmla="*/ 67744 h 821344"/>
                <a:gd name="connsiteX14" fmla="*/ 859120 w 1633974"/>
                <a:gd name="connsiteY14" fmla="*/ 169937 h 821344"/>
                <a:gd name="connsiteX15" fmla="*/ 870614 w 1633974"/>
                <a:gd name="connsiteY15" fmla="*/ 274375 h 821344"/>
                <a:gd name="connsiteX16" fmla="*/ 348812 w 1633974"/>
                <a:gd name="connsiteY16" fmla="*/ 389846 h 821344"/>
                <a:gd name="connsiteX17" fmla="*/ 304403 w 1633974"/>
                <a:gd name="connsiteY17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144630 w 1633974"/>
                <a:gd name="connsiteY3" fmla="*/ 763608 h 821344"/>
                <a:gd name="connsiteX4" fmla="*/ 286423 w 1633974"/>
                <a:gd name="connsiteY4" fmla="*/ 821344 h 821344"/>
                <a:gd name="connsiteX5" fmla="*/ 1200413 w 1633974"/>
                <a:gd name="connsiteY5" fmla="*/ 598921 h 821344"/>
                <a:gd name="connsiteX6" fmla="*/ 1174055 w 1633974"/>
                <a:gd name="connsiteY6" fmla="*/ 471892 h 821344"/>
                <a:gd name="connsiteX7" fmla="*/ 1205250 w 1633974"/>
                <a:gd name="connsiteY7" fmla="*/ 477970 h 821344"/>
                <a:gd name="connsiteX8" fmla="*/ 1165750 w 1633974"/>
                <a:gd name="connsiteY8" fmla="*/ 274637 h 821344"/>
                <a:gd name="connsiteX9" fmla="*/ 1633974 w 1633974"/>
                <a:gd name="connsiteY9" fmla="*/ 177897 h 821344"/>
                <a:gd name="connsiteX10" fmla="*/ 1590235 w 1633974"/>
                <a:gd name="connsiteY10" fmla="*/ 0 h 821344"/>
                <a:gd name="connsiteX11" fmla="*/ 1449135 w 1633974"/>
                <a:gd name="connsiteY11" fmla="*/ 34317 h 821344"/>
                <a:gd name="connsiteX12" fmla="*/ 1437791 w 1633974"/>
                <a:gd name="connsiteY12" fmla="*/ 10009 h 821344"/>
                <a:gd name="connsiteX13" fmla="*/ 1287490 w 1633974"/>
                <a:gd name="connsiteY13" fmla="*/ 34317 h 821344"/>
                <a:gd name="connsiteX14" fmla="*/ 1281818 w 1633974"/>
                <a:gd name="connsiteY14" fmla="*/ 67744 h 821344"/>
                <a:gd name="connsiteX15" fmla="*/ 859120 w 1633974"/>
                <a:gd name="connsiteY15" fmla="*/ 169937 h 821344"/>
                <a:gd name="connsiteX16" fmla="*/ 870614 w 1633974"/>
                <a:gd name="connsiteY16" fmla="*/ 274375 h 821344"/>
                <a:gd name="connsiteX17" fmla="*/ 348812 w 1633974"/>
                <a:gd name="connsiteY17" fmla="*/ 389846 h 821344"/>
                <a:gd name="connsiteX18" fmla="*/ 304403 w 1633974"/>
                <a:gd name="connsiteY18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286423 w 1633974"/>
                <a:gd name="connsiteY4" fmla="*/ 821344 h 821344"/>
                <a:gd name="connsiteX5" fmla="*/ 1200413 w 1633974"/>
                <a:gd name="connsiteY5" fmla="*/ 598921 h 821344"/>
                <a:gd name="connsiteX6" fmla="*/ 1174055 w 1633974"/>
                <a:gd name="connsiteY6" fmla="*/ 471892 h 821344"/>
                <a:gd name="connsiteX7" fmla="*/ 1205250 w 1633974"/>
                <a:gd name="connsiteY7" fmla="*/ 477970 h 821344"/>
                <a:gd name="connsiteX8" fmla="*/ 1165750 w 1633974"/>
                <a:gd name="connsiteY8" fmla="*/ 274637 h 821344"/>
                <a:gd name="connsiteX9" fmla="*/ 1633974 w 1633974"/>
                <a:gd name="connsiteY9" fmla="*/ 177897 h 821344"/>
                <a:gd name="connsiteX10" fmla="*/ 1590235 w 1633974"/>
                <a:gd name="connsiteY10" fmla="*/ 0 h 821344"/>
                <a:gd name="connsiteX11" fmla="*/ 1449135 w 1633974"/>
                <a:gd name="connsiteY11" fmla="*/ 34317 h 821344"/>
                <a:gd name="connsiteX12" fmla="*/ 1437791 w 1633974"/>
                <a:gd name="connsiteY12" fmla="*/ 10009 h 821344"/>
                <a:gd name="connsiteX13" fmla="*/ 1287490 w 1633974"/>
                <a:gd name="connsiteY13" fmla="*/ 34317 h 821344"/>
                <a:gd name="connsiteX14" fmla="*/ 1281818 w 1633974"/>
                <a:gd name="connsiteY14" fmla="*/ 67744 h 821344"/>
                <a:gd name="connsiteX15" fmla="*/ 859120 w 1633974"/>
                <a:gd name="connsiteY15" fmla="*/ 169937 h 821344"/>
                <a:gd name="connsiteX16" fmla="*/ 870614 w 1633974"/>
                <a:gd name="connsiteY16" fmla="*/ 274375 h 821344"/>
                <a:gd name="connsiteX17" fmla="*/ 348812 w 1633974"/>
                <a:gd name="connsiteY17" fmla="*/ 389846 h 821344"/>
                <a:gd name="connsiteX18" fmla="*/ 304403 w 1633974"/>
                <a:gd name="connsiteY18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184332 w 1633974"/>
                <a:gd name="connsiteY4" fmla="*/ 800073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212691 w 1633974"/>
                <a:gd name="connsiteY4" fmla="*/ 584324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32542 w 1633974"/>
                <a:gd name="connsiteY5" fmla="*/ 663331 h 821344"/>
                <a:gd name="connsiteX6" fmla="*/ 286423 w 1633974"/>
                <a:gd name="connsiteY6" fmla="*/ 821344 h 821344"/>
                <a:gd name="connsiteX7" fmla="*/ 1200413 w 1633974"/>
                <a:gd name="connsiteY7" fmla="*/ 598921 h 821344"/>
                <a:gd name="connsiteX8" fmla="*/ 1174055 w 1633974"/>
                <a:gd name="connsiteY8" fmla="*/ 471892 h 821344"/>
                <a:gd name="connsiteX9" fmla="*/ 1205250 w 1633974"/>
                <a:gd name="connsiteY9" fmla="*/ 477970 h 821344"/>
                <a:gd name="connsiteX10" fmla="*/ 1165750 w 1633974"/>
                <a:gd name="connsiteY10" fmla="*/ 274637 h 821344"/>
                <a:gd name="connsiteX11" fmla="*/ 1633974 w 1633974"/>
                <a:gd name="connsiteY11" fmla="*/ 177897 h 821344"/>
                <a:gd name="connsiteX12" fmla="*/ 1590235 w 1633974"/>
                <a:gd name="connsiteY12" fmla="*/ 0 h 821344"/>
                <a:gd name="connsiteX13" fmla="*/ 1449135 w 1633974"/>
                <a:gd name="connsiteY13" fmla="*/ 34317 h 821344"/>
                <a:gd name="connsiteX14" fmla="*/ 1437791 w 1633974"/>
                <a:gd name="connsiteY14" fmla="*/ 10009 h 821344"/>
                <a:gd name="connsiteX15" fmla="*/ 1287490 w 1633974"/>
                <a:gd name="connsiteY15" fmla="*/ 34317 h 821344"/>
                <a:gd name="connsiteX16" fmla="*/ 1281818 w 1633974"/>
                <a:gd name="connsiteY16" fmla="*/ 67744 h 821344"/>
                <a:gd name="connsiteX17" fmla="*/ 859120 w 1633974"/>
                <a:gd name="connsiteY17" fmla="*/ 169937 h 821344"/>
                <a:gd name="connsiteX18" fmla="*/ 870614 w 1633974"/>
                <a:gd name="connsiteY18" fmla="*/ 274375 h 821344"/>
                <a:gd name="connsiteX19" fmla="*/ 348812 w 1633974"/>
                <a:gd name="connsiteY19" fmla="*/ 389846 h 821344"/>
                <a:gd name="connsiteX20" fmla="*/ 304403 w 1633974"/>
                <a:gd name="connsiteY20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86423 w 1633974"/>
                <a:gd name="connsiteY6" fmla="*/ 821344 h 821344"/>
                <a:gd name="connsiteX7" fmla="*/ 1200413 w 1633974"/>
                <a:gd name="connsiteY7" fmla="*/ 598921 h 821344"/>
                <a:gd name="connsiteX8" fmla="*/ 1174055 w 1633974"/>
                <a:gd name="connsiteY8" fmla="*/ 471892 h 821344"/>
                <a:gd name="connsiteX9" fmla="*/ 1205250 w 1633974"/>
                <a:gd name="connsiteY9" fmla="*/ 477970 h 821344"/>
                <a:gd name="connsiteX10" fmla="*/ 1165750 w 1633974"/>
                <a:gd name="connsiteY10" fmla="*/ 274637 h 821344"/>
                <a:gd name="connsiteX11" fmla="*/ 1633974 w 1633974"/>
                <a:gd name="connsiteY11" fmla="*/ 177897 h 821344"/>
                <a:gd name="connsiteX12" fmla="*/ 1590235 w 1633974"/>
                <a:gd name="connsiteY12" fmla="*/ 0 h 821344"/>
                <a:gd name="connsiteX13" fmla="*/ 1449135 w 1633974"/>
                <a:gd name="connsiteY13" fmla="*/ 34317 h 821344"/>
                <a:gd name="connsiteX14" fmla="*/ 1437791 w 1633974"/>
                <a:gd name="connsiteY14" fmla="*/ 10009 h 821344"/>
                <a:gd name="connsiteX15" fmla="*/ 1287490 w 1633974"/>
                <a:gd name="connsiteY15" fmla="*/ 34317 h 821344"/>
                <a:gd name="connsiteX16" fmla="*/ 1281818 w 1633974"/>
                <a:gd name="connsiteY16" fmla="*/ 67744 h 821344"/>
                <a:gd name="connsiteX17" fmla="*/ 859120 w 1633974"/>
                <a:gd name="connsiteY17" fmla="*/ 169937 h 821344"/>
                <a:gd name="connsiteX18" fmla="*/ 870614 w 1633974"/>
                <a:gd name="connsiteY18" fmla="*/ 274375 h 821344"/>
                <a:gd name="connsiteX19" fmla="*/ 348812 w 1633974"/>
                <a:gd name="connsiteY19" fmla="*/ 389846 h 821344"/>
                <a:gd name="connsiteX20" fmla="*/ 304403 w 1633974"/>
                <a:gd name="connsiteY20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7916 w 1633974"/>
                <a:gd name="connsiteY6" fmla="*/ 733221 h 821344"/>
                <a:gd name="connsiteX7" fmla="*/ 286423 w 1633974"/>
                <a:gd name="connsiteY7" fmla="*/ 821344 h 821344"/>
                <a:gd name="connsiteX8" fmla="*/ 1200413 w 1633974"/>
                <a:gd name="connsiteY8" fmla="*/ 598921 h 821344"/>
                <a:gd name="connsiteX9" fmla="*/ 1174055 w 1633974"/>
                <a:gd name="connsiteY9" fmla="*/ 471892 h 821344"/>
                <a:gd name="connsiteX10" fmla="*/ 1205250 w 1633974"/>
                <a:gd name="connsiteY10" fmla="*/ 477970 h 821344"/>
                <a:gd name="connsiteX11" fmla="*/ 1165750 w 1633974"/>
                <a:gd name="connsiteY11" fmla="*/ 274637 h 821344"/>
                <a:gd name="connsiteX12" fmla="*/ 1633974 w 1633974"/>
                <a:gd name="connsiteY12" fmla="*/ 177897 h 821344"/>
                <a:gd name="connsiteX13" fmla="*/ 1590235 w 1633974"/>
                <a:gd name="connsiteY13" fmla="*/ 0 h 821344"/>
                <a:gd name="connsiteX14" fmla="*/ 1449135 w 1633974"/>
                <a:gd name="connsiteY14" fmla="*/ 34317 h 821344"/>
                <a:gd name="connsiteX15" fmla="*/ 1437791 w 1633974"/>
                <a:gd name="connsiteY15" fmla="*/ 10009 h 821344"/>
                <a:gd name="connsiteX16" fmla="*/ 1287490 w 1633974"/>
                <a:gd name="connsiteY16" fmla="*/ 34317 h 821344"/>
                <a:gd name="connsiteX17" fmla="*/ 1281818 w 1633974"/>
                <a:gd name="connsiteY17" fmla="*/ 67744 h 821344"/>
                <a:gd name="connsiteX18" fmla="*/ 859120 w 1633974"/>
                <a:gd name="connsiteY18" fmla="*/ 169937 h 821344"/>
                <a:gd name="connsiteX19" fmla="*/ 870614 w 1633974"/>
                <a:gd name="connsiteY19" fmla="*/ 274375 h 821344"/>
                <a:gd name="connsiteX20" fmla="*/ 348812 w 1633974"/>
                <a:gd name="connsiteY20" fmla="*/ 389846 h 821344"/>
                <a:gd name="connsiteX21" fmla="*/ 304403 w 1633974"/>
                <a:gd name="connsiteY21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86423 w 1633974"/>
                <a:gd name="connsiteY7" fmla="*/ 821344 h 821344"/>
                <a:gd name="connsiteX8" fmla="*/ 1200413 w 1633974"/>
                <a:gd name="connsiteY8" fmla="*/ 598921 h 821344"/>
                <a:gd name="connsiteX9" fmla="*/ 1174055 w 1633974"/>
                <a:gd name="connsiteY9" fmla="*/ 471892 h 821344"/>
                <a:gd name="connsiteX10" fmla="*/ 1205250 w 1633974"/>
                <a:gd name="connsiteY10" fmla="*/ 477970 h 821344"/>
                <a:gd name="connsiteX11" fmla="*/ 1165750 w 1633974"/>
                <a:gd name="connsiteY11" fmla="*/ 274637 h 821344"/>
                <a:gd name="connsiteX12" fmla="*/ 1633974 w 1633974"/>
                <a:gd name="connsiteY12" fmla="*/ 177897 h 821344"/>
                <a:gd name="connsiteX13" fmla="*/ 1590235 w 1633974"/>
                <a:gd name="connsiteY13" fmla="*/ 0 h 821344"/>
                <a:gd name="connsiteX14" fmla="*/ 1449135 w 1633974"/>
                <a:gd name="connsiteY14" fmla="*/ 34317 h 821344"/>
                <a:gd name="connsiteX15" fmla="*/ 1437791 w 1633974"/>
                <a:gd name="connsiteY15" fmla="*/ 10009 h 821344"/>
                <a:gd name="connsiteX16" fmla="*/ 1287490 w 1633974"/>
                <a:gd name="connsiteY16" fmla="*/ 34317 h 821344"/>
                <a:gd name="connsiteX17" fmla="*/ 1281818 w 1633974"/>
                <a:gd name="connsiteY17" fmla="*/ 67744 h 821344"/>
                <a:gd name="connsiteX18" fmla="*/ 859120 w 1633974"/>
                <a:gd name="connsiteY18" fmla="*/ 169937 h 821344"/>
                <a:gd name="connsiteX19" fmla="*/ 870614 w 1633974"/>
                <a:gd name="connsiteY19" fmla="*/ 274375 h 821344"/>
                <a:gd name="connsiteX20" fmla="*/ 348812 w 1633974"/>
                <a:gd name="connsiteY20" fmla="*/ 389846 h 821344"/>
                <a:gd name="connsiteX21" fmla="*/ 304403 w 1633974"/>
                <a:gd name="connsiteY21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82017 w 1633974"/>
                <a:gd name="connsiteY7" fmla="*/ 752841 h 821344"/>
                <a:gd name="connsiteX8" fmla="*/ 286423 w 1633974"/>
                <a:gd name="connsiteY8" fmla="*/ 821344 h 821344"/>
                <a:gd name="connsiteX9" fmla="*/ 1200413 w 1633974"/>
                <a:gd name="connsiteY9" fmla="*/ 598921 h 821344"/>
                <a:gd name="connsiteX10" fmla="*/ 1174055 w 1633974"/>
                <a:gd name="connsiteY10" fmla="*/ 471892 h 821344"/>
                <a:gd name="connsiteX11" fmla="*/ 1205250 w 1633974"/>
                <a:gd name="connsiteY11" fmla="*/ 477970 h 821344"/>
                <a:gd name="connsiteX12" fmla="*/ 1165750 w 1633974"/>
                <a:gd name="connsiteY12" fmla="*/ 274637 h 821344"/>
                <a:gd name="connsiteX13" fmla="*/ 1633974 w 1633974"/>
                <a:gd name="connsiteY13" fmla="*/ 177897 h 821344"/>
                <a:gd name="connsiteX14" fmla="*/ 1590235 w 1633974"/>
                <a:gd name="connsiteY14" fmla="*/ 0 h 821344"/>
                <a:gd name="connsiteX15" fmla="*/ 1449135 w 1633974"/>
                <a:gd name="connsiteY15" fmla="*/ 34317 h 821344"/>
                <a:gd name="connsiteX16" fmla="*/ 1437791 w 1633974"/>
                <a:gd name="connsiteY16" fmla="*/ 10009 h 821344"/>
                <a:gd name="connsiteX17" fmla="*/ 1287490 w 1633974"/>
                <a:gd name="connsiteY17" fmla="*/ 34317 h 821344"/>
                <a:gd name="connsiteX18" fmla="*/ 1281818 w 1633974"/>
                <a:gd name="connsiteY18" fmla="*/ 67744 h 821344"/>
                <a:gd name="connsiteX19" fmla="*/ 859120 w 1633974"/>
                <a:gd name="connsiteY19" fmla="*/ 169937 h 821344"/>
                <a:gd name="connsiteX20" fmla="*/ 870614 w 1633974"/>
                <a:gd name="connsiteY20" fmla="*/ 274375 h 821344"/>
                <a:gd name="connsiteX21" fmla="*/ 348812 w 1633974"/>
                <a:gd name="connsiteY21" fmla="*/ 389846 h 821344"/>
                <a:gd name="connsiteX22" fmla="*/ 304403 w 1633974"/>
                <a:gd name="connsiteY22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70830 w 1633974"/>
                <a:gd name="connsiteY7" fmla="*/ 721725 h 821344"/>
                <a:gd name="connsiteX8" fmla="*/ 286423 w 1633974"/>
                <a:gd name="connsiteY8" fmla="*/ 821344 h 821344"/>
                <a:gd name="connsiteX9" fmla="*/ 1200413 w 1633974"/>
                <a:gd name="connsiteY9" fmla="*/ 598921 h 821344"/>
                <a:gd name="connsiteX10" fmla="*/ 1174055 w 1633974"/>
                <a:gd name="connsiteY10" fmla="*/ 471892 h 821344"/>
                <a:gd name="connsiteX11" fmla="*/ 1205250 w 1633974"/>
                <a:gd name="connsiteY11" fmla="*/ 477970 h 821344"/>
                <a:gd name="connsiteX12" fmla="*/ 1165750 w 1633974"/>
                <a:gd name="connsiteY12" fmla="*/ 274637 h 821344"/>
                <a:gd name="connsiteX13" fmla="*/ 1633974 w 1633974"/>
                <a:gd name="connsiteY13" fmla="*/ 177897 h 821344"/>
                <a:gd name="connsiteX14" fmla="*/ 1590235 w 1633974"/>
                <a:gd name="connsiteY14" fmla="*/ 0 h 821344"/>
                <a:gd name="connsiteX15" fmla="*/ 1449135 w 1633974"/>
                <a:gd name="connsiteY15" fmla="*/ 34317 h 821344"/>
                <a:gd name="connsiteX16" fmla="*/ 1437791 w 1633974"/>
                <a:gd name="connsiteY16" fmla="*/ 10009 h 821344"/>
                <a:gd name="connsiteX17" fmla="*/ 1287490 w 1633974"/>
                <a:gd name="connsiteY17" fmla="*/ 34317 h 821344"/>
                <a:gd name="connsiteX18" fmla="*/ 1281818 w 1633974"/>
                <a:gd name="connsiteY18" fmla="*/ 67744 h 821344"/>
                <a:gd name="connsiteX19" fmla="*/ 859120 w 1633974"/>
                <a:gd name="connsiteY19" fmla="*/ 169937 h 821344"/>
                <a:gd name="connsiteX20" fmla="*/ 870614 w 1633974"/>
                <a:gd name="connsiteY20" fmla="*/ 274375 h 821344"/>
                <a:gd name="connsiteX21" fmla="*/ 348812 w 1633974"/>
                <a:gd name="connsiteY21" fmla="*/ 389846 h 821344"/>
                <a:gd name="connsiteX22" fmla="*/ 304403 w 1633974"/>
                <a:gd name="connsiteY22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43288 w 1633974"/>
                <a:gd name="connsiteY2" fmla="*/ 518279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86423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86423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8530 w 1633974"/>
                <a:gd name="connsiteY11" fmla="*/ 474285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8530 w 1633974"/>
                <a:gd name="connsiteY11" fmla="*/ 474285 h 821344"/>
                <a:gd name="connsiteX12" fmla="*/ 1205250 w 1633974"/>
                <a:gd name="connsiteY12" fmla="*/ 47079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29 w 1633974"/>
                <a:gd name="connsiteY8" fmla="*/ 673855 h 821344"/>
                <a:gd name="connsiteX9" fmla="*/ 270830 w 1633974"/>
                <a:gd name="connsiteY9" fmla="*/ 721725 h 821344"/>
                <a:gd name="connsiteX10" fmla="*/ 277472 w 1633974"/>
                <a:gd name="connsiteY10" fmla="*/ 821344 h 821344"/>
                <a:gd name="connsiteX11" fmla="*/ 1202650 w 1633974"/>
                <a:gd name="connsiteY11" fmla="*/ 610888 h 821344"/>
                <a:gd name="connsiteX12" fmla="*/ 1178530 w 1633974"/>
                <a:gd name="connsiteY12" fmla="*/ 474285 h 821344"/>
                <a:gd name="connsiteX13" fmla="*/ 1205250 w 1633974"/>
                <a:gd name="connsiteY13" fmla="*/ 470790 h 821344"/>
                <a:gd name="connsiteX14" fmla="*/ 1165750 w 1633974"/>
                <a:gd name="connsiteY14" fmla="*/ 274637 h 821344"/>
                <a:gd name="connsiteX15" fmla="*/ 1633974 w 1633974"/>
                <a:gd name="connsiteY15" fmla="*/ 177897 h 821344"/>
                <a:gd name="connsiteX16" fmla="*/ 1590235 w 1633974"/>
                <a:gd name="connsiteY16" fmla="*/ 0 h 821344"/>
                <a:gd name="connsiteX17" fmla="*/ 1449135 w 1633974"/>
                <a:gd name="connsiteY17" fmla="*/ 34317 h 821344"/>
                <a:gd name="connsiteX18" fmla="*/ 1437791 w 1633974"/>
                <a:gd name="connsiteY18" fmla="*/ 10009 h 821344"/>
                <a:gd name="connsiteX19" fmla="*/ 1287490 w 1633974"/>
                <a:gd name="connsiteY19" fmla="*/ 34317 h 821344"/>
                <a:gd name="connsiteX20" fmla="*/ 1281818 w 1633974"/>
                <a:gd name="connsiteY20" fmla="*/ 67744 h 821344"/>
                <a:gd name="connsiteX21" fmla="*/ 859120 w 1633974"/>
                <a:gd name="connsiteY21" fmla="*/ 169937 h 821344"/>
                <a:gd name="connsiteX22" fmla="*/ 870614 w 1633974"/>
                <a:gd name="connsiteY22" fmla="*/ 274375 h 821344"/>
                <a:gd name="connsiteX23" fmla="*/ 348812 w 1633974"/>
                <a:gd name="connsiteY23" fmla="*/ 389846 h 821344"/>
                <a:gd name="connsiteX24" fmla="*/ 304403 w 1633974"/>
                <a:gd name="connsiteY24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77472 w 1633974"/>
                <a:gd name="connsiteY10" fmla="*/ 821344 h 821344"/>
                <a:gd name="connsiteX11" fmla="*/ 1202650 w 1633974"/>
                <a:gd name="connsiteY11" fmla="*/ 610888 h 821344"/>
                <a:gd name="connsiteX12" fmla="*/ 1178530 w 1633974"/>
                <a:gd name="connsiteY12" fmla="*/ 474285 h 821344"/>
                <a:gd name="connsiteX13" fmla="*/ 1205250 w 1633974"/>
                <a:gd name="connsiteY13" fmla="*/ 470790 h 821344"/>
                <a:gd name="connsiteX14" fmla="*/ 1165750 w 1633974"/>
                <a:gd name="connsiteY14" fmla="*/ 274637 h 821344"/>
                <a:gd name="connsiteX15" fmla="*/ 1633974 w 1633974"/>
                <a:gd name="connsiteY15" fmla="*/ 177897 h 821344"/>
                <a:gd name="connsiteX16" fmla="*/ 1590235 w 1633974"/>
                <a:gd name="connsiteY16" fmla="*/ 0 h 821344"/>
                <a:gd name="connsiteX17" fmla="*/ 1449135 w 1633974"/>
                <a:gd name="connsiteY17" fmla="*/ 34317 h 821344"/>
                <a:gd name="connsiteX18" fmla="*/ 1437791 w 1633974"/>
                <a:gd name="connsiteY18" fmla="*/ 10009 h 821344"/>
                <a:gd name="connsiteX19" fmla="*/ 1287490 w 1633974"/>
                <a:gd name="connsiteY19" fmla="*/ 34317 h 821344"/>
                <a:gd name="connsiteX20" fmla="*/ 1281818 w 1633974"/>
                <a:gd name="connsiteY20" fmla="*/ 67744 h 821344"/>
                <a:gd name="connsiteX21" fmla="*/ 859120 w 1633974"/>
                <a:gd name="connsiteY21" fmla="*/ 169937 h 821344"/>
                <a:gd name="connsiteX22" fmla="*/ 870614 w 1633974"/>
                <a:gd name="connsiteY22" fmla="*/ 274375 h 821344"/>
                <a:gd name="connsiteX23" fmla="*/ 348812 w 1633974"/>
                <a:gd name="connsiteY23" fmla="*/ 389846 h 821344"/>
                <a:gd name="connsiteX24" fmla="*/ 304403 w 1633974"/>
                <a:gd name="connsiteY24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75304 w 1633974"/>
                <a:gd name="connsiteY10" fmla="*/ 767202 h 821344"/>
                <a:gd name="connsiteX11" fmla="*/ 277472 w 1633974"/>
                <a:gd name="connsiteY11" fmla="*/ 821344 h 821344"/>
                <a:gd name="connsiteX12" fmla="*/ 1202650 w 1633974"/>
                <a:gd name="connsiteY12" fmla="*/ 610888 h 821344"/>
                <a:gd name="connsiteX13" fmla="*/ 1178530 w 1633974"/>
                <a:gd name="connsiteY13" fmla="*/ 474285 h 821344"/>
                <a:gd name="connsiteX14" fmla="*/ 1205250 w 1633974"/>
                <a:gd name="connsiteY14" fmla="*/ 470790 h 821344"/>
                <a:gd name="connsiteX15" fmla="*/ 1165750 w 1633974"/>
                <a:gd name="connsiteY15" fmla="*/ 274637 h 821344"/>
                <a:gd name="connsiteX16" fmla="*/ 1633974 w 1633974"/>
                <a:gd name="connsiteY16" fmla="*/ 177897 h 821344"/>
                <a:gd name="connsiteX17" fmla="*/ 1590235 w 1633974"/>
                <a:gd name="connsiteY17" fmla="*/ 0 h 821344"/>
                <a:gd name="connsiteX18" fmla="*/ 1449135 w 1633974"/>
                <a:gd name="connsiteY18" fmla="*/ 34317 h 821344"/>
                <a:gd name="connsiteX19" fmla="*/ 1437791 w 1633974"/>
                <a:gd name="connsiteY19" fmla="*/ 10009 h 821344"/>
                <a:gd name="connsiteX20" fmla="*/ 1287490 w 1633974"/>
                <a:gd name="connsiteY20" fmla="*/ 34317 h 821344"/>
                <a:gd name="connsiteX21" fmla="*/ 1281818 w 1633974"/>
                <a:gd name="connsiteY21" fmla="*/ 67744 h 821344"/>
                <a:gd name="connsiteX22" fmla="*/ 859120 w 1633974"/>
                <a:gd name="connsiteY22" fmla="*/ 169937 h 821344"/>
                <a:gd name="connsiteX23" fmla="*/ 870614 w 1633974"/>
                <a:gd name="connsiteY23" fmla="*/ 274375 h 821344"/>
                <a:gd name="connsiteX24" fmla="*/ 348812 w 1633974"/>
                <a:gd name="connsiteY24" fmla="*/ 389846 h 821344"/>
                <a:gd name="connsiteX25" fmla="*/ 304403 w 1633974"/>
                <a:gd name="connsiteY25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57403 w 1633974"/>
                <a:gd name="connsiteY10" fmla="*/ 748054 h 821344"/>
                <a:gd name="connsiteX11" fmla="*/ 277472 w 1633974"/>
                <a:gd name="connsiteY11" fmla="*/ 821344 h 821344"/>
                <a:gd name="connsiteX12" fmla="*/ 1202650 w 1633974"/>
                <a:gd name="connsiteY12" fmla="*/ 610888 h 821344"/>
                <a:gd name="connsiteX13" fmla="*/ 1178530 w 1633974"/>
                <a:gd name="connsiteY13" fmla="*/ 474285 h 821344"/>
                <a:gd name="connsiteX14" fmla="*/ 1205250 w 1633974"/>
                <a:gd name="connsiteY14" fmla="*/ 470790 h 821344"/>
                <a:gd name="connsiteX15" fmla="*/ 1165750 w 1633974"/>
                <a:gd name="connsiteY15" fmla="*/ 274637 h 821344"/>
                <a:gd name="connsiteX16" fmla="*/ 1633974 w 1633974"/>
                <a:gd name="connsiteY16" fmla="*/ 177897 h 821344"/>
                <a:gd name="connsiteX17" fmla="*/ 1590235 w 1633974"/>
                <a:gd name="connsiteY17" fmla="*/ 0 h 821344"/>
                <a:gd name="connsiteX18" fmla="*/ 1449135 w 1633974"/>
                <a:gd name="connsiteY18" fmla="*/ 34317 h 821344"/>
                <a:gd name="connsiteX19" fmla="*/ 1437791 w 1633974"/>
                <a:gd name="connsiteY19" fmla="*/ 10009 h 821344"/>
                <a:gd name="connsiteX20" fmla="*/ 1287490 w 1633974"/>
                <a:gd name="connsiteY20" fmla="*/ 34317 h 821344"/>
                <a:gd name="connsiteX21" fmla="*/ 1281818 w 1633974"/>
                <a:gd name="connsiteY21" fmla="*/ 67744 h 821344"/>
                <a:gd name="connsiteX22" fmla="*/ 859120 w 1633974"/>
                <a:gd name="connsiteY22" fmla="*/ 169937 h 821344"/>
                <a:gd name="connsiteX23" fmla="*/ 870614 w 1633974"/>
                <a:gd name="connsiteY23" fmla="*/ 274375 h 821344"/>
                <a:gd name="connsiteX24" fmla="*/ 348812 w 1633974"/>
                <a:gd name="connsiteY24" fmla="*/ 389846 h 821344"/>
                <a:gd name="connsiteX25" fmla="*/ 304403 w 1633974"/>
                <a:gd name="connsiteY25" fmla="*/ 399769 h 821344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87490 w 1633974"/>
                <a:gd name="connsiteY20" fmla="*/ 34317 h 826130"/>
                <a:gd name="connsiteX21" fmla="*/ 1281818 w 1633974"/>
                <a:gd name="connsiteY21" fmla="*/ 67744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87490 w 1633974"/>
                <a:gd name="connsiteY20" fmla="*/ 34317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27419 w 1633974"/>
                <a:gd name="connsiteY25" fmla="*/ 397665 h 826130"/>
                <a:gd name="connsiteX26" fmla="*/ 304403 w 1633974"/>
                <a:gd name="connsiteY26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299700 w 1633974"/>
                <a:gd name="connsiteY25" fmla="*/ 373108 h 826130"/>
                <a:gd name="connsiteX26" fmla="*/ 304403 w 1633974"/>
                <a:gd name="connsiteY26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29729 w 1633974"/>
                <a:gd name="connsiteY25" fmla="*/ 380475 h 826130"/>
                <a:gd name="connsiteX26" fmla="*/ 299700 w 1633974"/>
                <a:gd name="connsiteY26" fmla="*/ 373108 h 826130"/>
                <a:gd name="connsiteX27" fmla="*/ 304403 w 1633974"/>
                <a:gd name="connsiteY27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52828 w 1633974"/>
                <a:gd name="connsiteY25" fmla="*/ 363285 h 826130"/>
                <a:gd name="connsiteX26" fmla="*/ 299700 w 1633974"/>
                <a:gd name="connsiteY26" fmla="*/ 373108 h 826130"/>
                <a:gd name="connsiteX27" fmla="*/ 304403 w 1633974"/>
                <a:gd name="connsiteY27" fmla="*/ 399769 h 826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33974" h="826130">
                  <a:moveTo>
                    <a:pt x="304403" y="399769"/>
                  </a:moveTo>
                  <a:lnTo>
                    <a:pt x="207018" y="429349"/>
                  </a:lnTo>
                  <a:lnTo>
                    <a:pt x="154475" y="465621"/>
                  </a:lnTo>
                  <a:lnTo>
                    <a:pt x="0" y="714990"/>
                  </a:lnTo>
                  <a:lnTo>
                    <a:pt x="90749" y="778801"/>
                  </a:lnTo>
                  <a:lnTo>
                    <a:pt x="212691" y="584324"/>
                  </a:lnTo>
                  <a:lnTo>
                    <a:pt x="258065" y="569130"/>
                  </a:lnTo>
                  <a:lnTo>
                    <a:pt x="272245" y="639022"/>
                  </a:lnTo>
                  <a:cubicBezTo>
                    <a:pt x="274372" y="656476"/>
                    <a:pt x="255402" y="628956"/>
                    <a:pt x="255166" y="642740"/>
                  </a:cubicBezTo>
                  <a:cubicBezTo>
                    <a:pt x="254930" y="656524"/>
                    <a:pt x="267474" y="700981"/>
                    <a:pt x="270830" y="721725"/>
                  </a:cubicBezTo>
                  <a:lnTo>
                    <a:pt x="257403" y="748054"/>
                  </a:lnTo>
                  <a:cubicBezTo>
                    <a:pt x="258126" y="766101"/>
                    <a:pt x="265562" y="808083"/>
                    <a:pt x="266285" y="826130"/>
                  </a:cubicBezTo>
                  <a:lnTo>
                    <a:pt x="1202650" y="610888"/>
                  </a:lnTo>
                  <a:cubicBezTo>
                    <a:pt x="1202371" y="596906"/>
                    <a:pt x="1178809" y="488267"/>
                    <a:pt x="1178530" y="474285"/>
                  </a:cubicBezTo>
                  <a:lnTo>
                    <a:pt x="1205250" y="470790"/>
                  </a:lnTo>
                  <a:lnTo>
                    <a:pt x="1165750" y="274637"/>
                  </a:lnTo>
                  <a:lnTo>
                    <a:pt x="1633974" y="177897"/>
                  </a:lnTo>
                  <a:lnTo>
                    <a:pt x="1599185" y="0"/>
                  </a:lnTo>
                  <a:lnTo>
                    <a:pt x="1437947" y="31923"/>
                  </a:lnTo>
                  <a:lnTo>
                    <a:pt x="1442266" y="5222"/>
                  </a:lnTo>
                  <a:lnTo>
                    <a:pt x="1278539" y="43891"/>
                  </a:lnTo>
                  <a:cubicBezTo>
                    <a:pt x="1278886" y="55831"/>
                    <a:pt x="1288183" y="58197"/>
                    <a:pt x="1288530" y="70137"/>
                  </a:cubicBezTo>
                  <a:lnTo>
                    <a:pt x="854645" y="162757"/>
                  </a:lnTo>
                  <a:lnTo>
                    <a:pt x="877327" y="269587"/>
                  </a:lnTo>
                  <a:lnTo>
                    <a:pt x="348812" y="389846"/>
                  </a:lnTo>
                  <a:lnTo>
                    <a:pt x="352828" y="363285"/>
                  </a:lnTo>
                  <a:lnTo>
                    <a:pt x="299700" y="373108"/>
                  </a:lnTo>
                  <a:lnTo>
                    <a:pt x="304403" y="399769"/>
                  </a:lnTo>
                  <a:close/>
                </a:path>
              </a:pathLst>
            </a:cu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T101">
              <a:extLst>
                <a:ext uri="{FF2B5EF4-FFF2-40B4-BE49-F238E27FC236}">
                  <a16:creationId xmlns:a16="http://schemas.microsoft.com/office/drawing/2014/main" id="{7DA38895-408D-4DC1-86D9-D15ED54B67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34930" y="6368158"/>
              <a:ext cx="356632" cy="100496"/>
            </a:xfrm>
            <a:custGeom>
              <a:avLst/>
              <a:gdLst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09600 w 1767840"/>
                <a:gd name="connsiteY4" fmla="*/ 464820 h 464820"/>
                <a:gd name="connsiteX5" fmla="*/ 281940 w 1767840"/>
                <a:gd name="connsiteY5" fmla="*/ 449580 h 464820"/>
                <a:gd name="connsiteX6" fmla="*/ 45720 w 1767840"/>
                <a:gd name="connsiteY6" fmla="*/ 327660 h 464820"/>
                <a:gd name="connsiteX7" fmla="*/ 7620 w 1767840"/>
                <a:gd name="connsiteY7" fmla="*/ 289560 h 464820"/>
                <a:gd name="connsiteX8" fmla="*/ 0 w 1767840"/>
                <a:gd name="connsiteY8" fmla="*/ 0 h 464820"/>
                <a:gd name="connsiteX9" fmla="*/ 83820 w 1767840"/>
                <a:gd name="connsiteY9" fmla="*/ 144780 h 464820"/>
                <a:gd name="connsiteX10" fmla="*/ 220980 w 1767840"/>
                <a:gd name="connsiteY10" fmla="*/ 251460 h 464820"/>
                <a:gd name="connsiteX11" fmla="*/ 388620 w 1767840"/>
                <a:gd name="connsiteY11" fmla="*/ 312420 h 464820"/>
                <a:gd name="connsiteX12" fmla="*/ 594360 w 1767840"/>
                <a:gd name="connsiteY12" fmla="*/ 327660 h 464820"/>
                <a:gd name="connsiteX13" fmla="*/ 1714500 w 1767840"/>
                <a:gd name="connsiteY13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281940 w 1767840"/>
                <a:gd name="connsiteY6" fmla="*/ 449580 h 464820"/>
                <a:gd name="connsiteX7" fmla="*/ 45720 w 1767840"/>
                <a:gd name="connsiteY7" fmla="*/ 327660 h 464820"/>
                <a:gd name="connsiteX8" fmla="*/ 7620 w 1767840"/>
                <a:gd name="connsiteY8" fmla="*/ 289560 h 464820"/>
                <a:gd name="connsiteX9" fmla="*/ 0 w 1767840"/>
                <a:gd name="connsiteY9" fmla="*/ 0 h 464820"/>
                <a:gd name="connsiteX10" fmla="*/ 83820 w 1767840"/>
                <a:gd name="connsiteY10" fmla="*/ 144780 h 464820"/>
                <a:gd name="connsiteX11" fmla="*/ 220980 w 1767840"/>
                <a:gd name="connsiteY11" fmla="*/ 251460 h 464820"/>
                <a:gd name="connsiteX12" fmla="*/ 388620 w 1767840"/>
                <a:gd name="connsiteY12" fmla="*/ 312420 h 464820"/>
                <a:gd name="connsiteX13" fmla="*/ 594360 w 1767840"/>
                <a:gd name="connsiteY13" fmla="*/ 327660 h 464820"/>
                <a:gd name="connsiteX14" fmla="*/ 1714500 w 1767840"/>
                <a:gd name="connsiteY14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487680 w 1767840"/>
                <a:gd name="connsiteY6" fmla="*/ 45720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175260 w 1767840"/>
                <a:gd name="connsiteY8" fmla="*/ 39624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312420 w 1767840"/>
                <a:gd name="connsiteY7" fmla="*/ 449580 h 464820"/>
                <a:gd name="connsiteX8" fmla="*/ 175260 w 1767840"/>
                <a:gd name="connsiteY8" fmla="*/ 39624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312420 w 1767840"/>
                <a:gd name="connsiteY7" fmla="*/ 449580 h 464820"/>
                <a:gd name="connsiteX8" fmla="*/ 152400 w 1767840"/>
                <a:gd name="connsiteY8" fmla="*/ 37338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94360 w 1767840"/>
                <a:gd name="connsiteY16" fmla="*/ 327660 h 464820"/>
                <a:gd name="connsiteX17" fmla="*/ 1714500 w 1767840"/>
                <a:gd name="connsiteY17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9436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18160 w 1767840"/>
                <a:gd name="connsiteY16" fmla="*/ 33528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9080 w 1767840"/>
                <a:gd name="connsiteY14" fmla="*/ 25146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21360 w 1767840"/>
                <a:gd name="connsiteY0" fmla="*/ 5245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9080 w 1767840"/>
                <a:gd name="connsiteY14" fmla="*/ 25146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21360 w 1767840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371600 w 1756407"/>
                <a:gd name="connsiteY3" fmla="*/ 281940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6214 w 1756407"/>
                <a:gd name="connsiteY2" fmla="*/ 377826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6214 w 1756407"/>
                <a:gd name="connsiteY2" fmla="*/ 377826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5608 w 1756407"/>
                <a:gd name="connsiteY4" fmla="*/ 430275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80482 w 1756407"/>
                <a:gd name="connsiteY5" fmla="*/ 457581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32792 w 1767839"/>
                <a:gd name="connsiteY0" fmla="*/ 161040 h 573410"/>
                <a:gd name="connsiteX1" fmla="*/ 1767839 w 1767839"/>
                <a:gd name="connsiteY1" fmla="*/ 323982 h 573410"/>
                <a:gd name="connsiteX2" fmla="*/ 1705360 w 1767839"/>
                <a:gd name="connsiteY2" fmla="*/ 484003 h 573410"/>
                <a:gd name="connsiteX3" fmla="*/ 1355594 w 1767839"/>
                <a:gd name="connsiteY3" fmla="*/ 400184 h 573410"/>
                <a:gd name="connsiteX4" fmla="*/ 719326 w 1767839"/>
                <a:gd name="connsiteY4" fmla="*/ 529212 h 573410"/>
                <a:gd name="connsiteX5" fmla="*/ 691914 w 1767839"/>
                <a:gd name="connsiteY5" fmla="*/ 566171 h 573410"/>
                <a:gd name="connsiteX6" fmla="*/ 461012 w 1767839"/>
                <a:gd name="connsiteY6" fmla="*/ 573410 h 573410"/>
                <a:gd name="connsiteX7" fmla="*/ 293372 w 1767839"/>
                <a:gd name="connsiteY7" fmla="*/ 535310 h 573410"/>
                <a:gd name="connsiteX8" fmla="*/ 163832 w 1767839"/>
                <a:gd name="connsiteY8" fmla="*/ 481970 h 573410"/>
                <a:gd name="connsiteX9" fmla="*/ 87632 w 1767839"/>
                <a:gd name="connsiteY9" fmla="*/ 436250 h 573410"/>
                <a:gd name="connsiteX10" fmla="*/ 19052 w 1767839"/>
                <a:gd name="connsiteY10" fmla="*/ 398150 h 573410"/>
                <a:gd name="connsiteX11" fmla="*/ 0 w 1767839"/>
                <a:gd name="connsiteY11" fmla="*/ 0 h 573410"/>
                <a:gd name="connsiteX12" fmla="*/ 72392 w 1767839"/>
                <a:gd name="connsiteY12" fmla="*/ 207650 h 573410"/>
                <a:gd name="connsiteX13" fmla="*/ 163832 w 1767839"/>
                <a:gd name="connsiteY13" fmla="*/ 299090 h 573410"/>
                <a:gd name="connsiteX14" fmla="*/ 270512 w 1767839"/>
                <a:gd name="connsiteY14" fmla="*/ 360050 h 573410"/>
                <a:gd name="connsiteX15" fmla="*/ 400052 w 1767839"/>
                <a:gd name="connsiteY15" fmla="*/ 421010 h 573410"/>
                <a:gd name="connsiteX16" fmla="*/ 552452 w 1767839"/>
                <a:gd name="connsiteY16" fmla="*/ 436250 h 573410"/>
                <a:gd name="connsiteX17" fmla="*/ 720092 w 1767839"/>
                <a:gd name="connsiteY17" fmla="*/ 405770 h 573410"/>
                <a:gd name="connsiteX18" fmla="*/ 1732792 w 1767839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558550 w 1773937"/>
                <a:gd name="connsiteY16" fmla="*/ 436250 h 573410"/>
                <a:gd name="connsiteX17" fmla="*/ 726190 w 1773937"/>
                <a:gd name="connsiteY17" fmla="*/ 405770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558550 w 1773937"/>
                <a:gd name="connsiteY16" fmla="*/ 436250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276610 w 1773937"/>
                <a:gd name="connsiteY13" fmla="*/ 360050 h 573410"/>
                <a:gd name="connsiteX14" fmla="*/ 413010 w 1773937"/>
                <a:gd name="connsiteY14" fmla="*/ 389640 h 573410"/>
                <a:gd name="connsiteX15" fmla="*/ 606566 w 1773937"/>
                <a:gd name="connsiteY15" fmla="*/ 385575 h 573410"/>
                <a:gd name="connsiteX16" fmla="*/ 806217 w 1773937"/>
                <a:gd name="connsiteY16" fmla="*/ 347855 h 573410"/>
                <a:gd name="connsiteX17" fmla="*/ 1738890 w 1773937"/>
                <a:gd name="connsiteY17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413010 w 1773937"/>
                <a:gd name="connsiteY13" fmla="*/ 389640 h 573410"/>
                <a:gd name="connsiteX14" fmla="*/ 606566 w 1773937"/>
                <a:gd name="connsiteY14" fmla="*/ 385575 h 573410"/>
                <a:gd name="connsiteX15" fmla="*/ 806217 w 1773937"/>
                <a:gd name="connsiteY15" fmla="*/ 347855 h 573410"/>
                <a:gd name="connsiteX16" fmla="*/ 1738890 w 1773937"/>
                <a:gd name="connsiteY16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0 w 1773937"/>
                <a:gd name="connsiteY9" fmla="*/ 383671 h 573410"/>
                <a:gd name="connsiteX10" fmla="*/ 6098 w 1773937"/>
                <a:gd name="connsiteY10" fmla="*/ 0 h 573410"/>
                <a:gd name="connsiteX11" fmla="*/ 44194 w 1773937"/>
                <a:gd name="connsiteY11" fmla="*/ 123190 h 573410"/>
                <a:gd name="connsiteX12" fmla="*/ 606566 w 1773937"/>
                <a:gd name="connsiteY12" fmla="*/ 385575 h 573410"/>
                <a:gd name="connsiteX13" fmla="*/ 806217 w 1773937"/>
                <a:gd name="connsiteY13" fmla="*/ 347855 h 573410"/>
                <a:gd name="connsiteX14" fmla="*/ 1738890 w 1773937"/>
                <a:gd name="connsiteY14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169930 w 1773937"/>
                <a:gd name="connsiteY7" fmla="*/ 481970 h 573410"/>
                <a:gd name="connsiteX8" fmla="*/ 0 w 1773937"/>
                <a:gd name="connsiteY8" fmla="*/ 383671 h 573410"/>
                <a:gd name="connsiteX9" fmla="*/ 6098 w 1773937"/>
                <a:gd name="connsiteY9" fmla="*/ 0 h 573410"/>
                <a:gd name="connsiteX10" fmla="*/ 44194 w 1773937"/>
                <a:gd name="connsiteY10" fmla="*/ 123190 h 573410"/>
                <a:gd name="connsiteX11" fmla="*/ 606566 w 1773937"/>
                <a:gd name="connsiteY11" fmla="*/ 385575 h 573410"/>
                <a:gd name="connsiteX12" fmla="*/ 806217 w 1773937"/>
                <a:gd name="connsiteY12" fmla="*/ 347855 h 573410"/>
                <a:gd name="connsiteX13" fmla="*/ 1738890 w 1773937"/>
                <a:gd name="connsiteY13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53157 w 1773937"/>
                <a:gd name="connsiteY0" fmla="*/ 155667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53157 w 1773937"/>
                <a:gd name="connsiteY12" fmla="*/ 155667 h 573410"/>
                <a:gd name="connsiteX0" fmla="*/ 1753157 w 1788204"/>
                <a:gd name="connsiteY0" fmla="*/ 155667 h 573410"/>
                <a:gd name="connsiteX1" fmla="*/ 1788204 w 1788204"/>
                <a:gd name="connsiteY1" fmla="*/ 318608 h 573410"/>
                <a:gd name="connsiteX2" fmla="*/ 1711458 w 1788204"/>
                <a:gd name="connsiteY2" fmla="*/ 484003 h 573410"/>
                <a:gd name="connsiteX3" fmla="*/ 1361692 w 1788204"/>
                <a:gd name="connsiteY3" fmla="*/ 400184 h 573410"/>
                <a:gd name="connsiteX4" fmla="*/ 725424 w 1788204"/>
                <a:gd name="connsiteY4" fmla="*/ 529212 h 573410"/>
                <a:gd name="connsiteX5" fmla="*/ 700298 w 1788204"/>
                <a:gd name="connsiteY5" fmla="*/ 566171 h 573410"/>
                <a:gd name="connsiteX6" fmla="*/ 467110 w 1788204"/>
                <a:gd name="connsiteY6" fmla="*/ 573410 h 573410"/>
                <a:gd name="connsiteX7" fmla="*/ 0 w 1788204"/>
                <a:gd name="connsiteY7" fmla="*/ 383671 h 573410"/>
                <a:gd name="connsiteX8" fmla="*/ 6098 w 1788204"/>
                <a:gd name="connsiteY8" fmla="*/ 0 h 573410"/>
                <a:gd name="connsiteX9" fmla="*/ 44194 w 1788204"/>
                <a:gd name="connsiteY9" fmla="*/ 123190 h 573410"/>
                <a:gd name="connsiteX10" fmla="*/ 606566 w 1788204"/>
                <a:gd name="connsiteY10" fmla="*/ 385575 h 573410"/>
                <a:gd name="connsiteX11" fmla="*/ 806217 w 1788204"/>
                <a:gd name="connsiteY11" fmla="*/ 347855 h 573410"/>
                <a:gd name="connsiteX12" fmla="*/ 1753157 w 1788204"/>
                <a:gd name="connsiteY12" fmla="*/ 155667 h 573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8204" h="573410">
                  <a:moveTo>
                    <a:pt x="1753157" y="155667"/>
                  </a:moveTo>
                  <a:lnTo>
                    <a:pt x="1788204" y="318608"/>
                  </a:lnTo>
                  <a:lnTo>
                    <a:pt x="1711458" y="484003"/>
                  </a:lnTo>
                  <a:cubicBezTo>
                    <a:pt x="1658891" y="452846"/>
                    <a:pt x="1556021" y="399971"/>
                    <a:pt x="1361692" y="400184"/>
                  </a:cubicBezTo>
                  <a:lnTo>
                    <a:pt x="725424" y="529212"/>
                  </a:lnTo>
                  <a:cubicBezTo>
                    <a:pt x="701805" y="565663"/>
                    <a:pt x="719344" y="536960"/>
                    <a:pt x="700298" y="566171"/>
                  </a:cubicBezTo>
                  <a:lnTo>
                    <a:pt x="467110" y="573410"/>
                  </a:lnTo>
                  <a:cubicBezTo>
                    <a:pt x="325125" y="565666"/>
                    <a:pt x="199147" y="565161"/>
                    <a:pt x="0" y="383671"/>
                  </a:cubicBezTo>
                  <a:cubicBezTo>
                    <a:pt x="2033" y="255781"/>
                    <a:pt x="4065" y="127890"/>
                    <a:pt x="6098" y="0"/>
                  </a:cubicBezTo>
                  <a:lnTo>
                    <a:pt x="44194" y="123190"/>
                  </a:lnTo>
                  <a:cubicBezTo>
                    <a:pt x="109974" y="209170"/>
                    <a:pt x="148021" y="432591"/>
                    <a:pt x="606566" y="385575"/>
                  </a:cubicBezTo>
                  <a:lnTo>
                    <a:pt x="806217" y="347855"/>
                  </a:lnTo>
                  <a:lnTo>
                    <a:pt x="1753157" y="155667"/>
                  </a:lnTo>
                  <a:close/>
                </a:path>
              </a:pathLst>
            </a:cu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Text_T110N_BA1">
              <a:extLst>
                <a:ext uri="{FF2B5EF4-FFF2-40B4-BE49-F238E27FC236}">
                  <a16:creationId xmlns:a16="http://schemas.microsoft.com/office/drawing/2014/main" id="{ADECD323-A289-40DE-92A1-43FE8CEE9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20542" y="5784803"/>
              <a:ext cx="9117" cy="8699"/>
            </a:xfrm>
            <a:prstGeom prst="ellipse">
              <a:avLst/>
            </a:prstGeom>
            <a:solidFill>
              <a:schemeClr val="accent3">
                <a:lumMod val="8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T110N_BA5">
              <a:extLst>
                <a:ext uri="{FF2B5EF4-FFF2-40B4-BE49-F238E27FC236}">
                  <a16:creationId xmlns:a16="http://schemas.microsoft.com/office/drawing/2014/main" id="{0B279878-7B70-475F-9219-251030202B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84321" y="5248264"/>
              <a:ext cx="366382" cy="496354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965378 w 5818958"/>
                <a:gd name="connsiteY31" fmla="*/ 4596953 h 6198437"/>
                <a:gd name="connsiteX32" fmla="*/ 5245427 w 5818958"/>
                <a:gd name="connsiteY32" fmla="*/ 3352779 h 6198437"/>
                <a:gd name="connsiteX33" fmla="*/ 4926611 w 5818958"/>
                <a:gd name="connsiteY33" fmla="*/ 2049487 h 6198437"/>
                <a:gd name="connsiteX34" fmla="*/ 4109358 w 5818958"/>
                <a:gd name="connsiteY34" fmla="*/ 1163055 h 6198437"/>
                <a:gd name="connsiteX35" fmla="*/ 2815092 w 5818958"/>
                <a:gd name="connsiteY35" fmla="*/ 761302 h 6198437"/>
                <a:gd name="connsiteX36" fmla="*/ 1816872 w 5818958"/>
                <a:gd name="connsiteY36" fmla="*/ 1081342 h 6198437"/>
                <a:gd name="connsiteX37" fmla="*/ 807952 w 5818958"/>
                <a:gd name="connsiteY37" fmla="*/ 2111591 h 6198437"/>
                <a:gd name="connsiteX38" fmla="*/ 543881 w 5818958"/>
                <a:gd name="connsiteY38" fmla="*/ 3288247 h 6198437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483668 w 5818958"/>
                <a:gd name="connsiteY29" fmla="*/ 4824545 h 4865439"/>
                <a:gd name="connsiteX30" fmla="*/ 4965378 w 5818958"/>
                <a:gd name="connsiteY30" fmla="*/ 4596953 h 4865439"/>
                <a:gd name="connsiteX31" fmla="*/ 5245427 w 5818958"/>
                <a:gd name="connsiteY31" fmla="*/ 3352779 h 4865439"/>
                <a:gd name="connsiteX32" fmla="*/ 4926611 w 5818958"/>
                <a:gd name="connsiteY32" fmla="*/ 2049487 h 4865439"/>
                <a:gd name="connsiteX33" fmla="*/ 4109358 w 5818958"/>
                <a:gd name="connsiteY33" fmla="*/ 1163055 h 4865439"/>
                <a:gd name="connsiteX34" fmla="*/ 2815092 w 5818958"/>
                <a:gd name="connsiteY34" fmla="*/ 761302 h 4865439"/>
                <a:gd name="connsiteX35" fmla="*/ 1816872 w 5818958"/>
                <a:gd name="connsiteY35" fmla="*/ 1081342 h 4865439"/>
                <a:gd name="connsiteX36" fmla="*/ 807952 w 5818958"/>
                <a:gd name="connsiteY36" fmla="*/ 2111591 h 4865439"/>
                <a:gd name="connsiteX37" fmla="*/ 543881 w 5818958"/>
                <a:gd name="connsiteY37" fmla="*/ 3288247 h 4865439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483668 w 5818958"/>
                <a:gd name="connsiteY29" fmla="*/ 4824545 h 4865439"/>
                <a:gd name="connsiteX30" fmla="*/ 5245427 w 5818958"/>
                <a:gd name="connsiteY30" fmla="*/ 3352779 h 4865439"/>
                <a:gd name="connsiteX31" fmla="*/ 4926611 w 5818958"/>
                <a:gd name="connsiteY31" fmla="*/ 2049487 h 4865439"/>
                <a:gd name="connsiteX32" fmla="*/ 4109358 w 5818958"/>
                <a:gd name="connsiteY32" fmla="*/ 1163055 h 4865439"/>
                <a:gd name="connsiteX33" fmla="*/ 2815092 w 5818958"/>
                <a:gd name="connsiteY33" fmla="*/ 761302 h 4865439"/>
                <a:gd name="connsiteX34" fmla="*/ 1816872 w 5818958"/>
                <a:gd name="connsiteY34" fmla="*/ 1081342 h 4865439"/>
                <a:gd name="connsiteX35" fmla="*/ 807952 w 5818958"/>
                <a:gd name="connsiteY35" fmla="*/ 2111591 h 4865439"/>
                <a:gd name="connsiteX36" fmla="*/ 543881 w 5818958"/>
                <a:gd name="connsiteY36" fmla="*/ 3288247 h 4865439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245427 w 5818958"/>
                <a:gd name="connsiteY29" fmla="*/ 3352779 h 4865439"/>
                <a:gd name="connsiteX30" fmla="*/ 4926611 w 5818958"/>
                <a:gd name="connsiteY30" fmla="*/ 2049487 h 4865439"/>
                <a:gd name="connsiteX31" fmla="*/ 4109358 w 5818958"/>
                <a:gd name="connsiteY31" fmla="*/ 1163055 h 4865439"/>
                <a:gd name="connsiteX32" fmla="*/ 2815092 w 5818958"/>
                <a:gd name="connsiteY32" fmla="*/ 761302 h 4865439"/>
                <a:gd name="connsiteX33" fmla="*/ 1816872 w 5818958"/>
                <a:gd name="connsiteY33" fmla="*/ 1081342 h 4865439"/>
                <a:gd name="connsiteX34" fmla="*/ 807952 w 5818958"/>
                <a:gd name="connsiteY34" fmla="*/ 2111591 h 4865439"/>
                <a:gd name="connsiteX35" fmla="*/ 543881 w 5818958"/>
                <a:gd name="connsiteY35" fmla="*/ 3288247 h 4865439"/>
                <a:gd name="connsiteX0" fmla="*/ 543881 w 5818958"/>
                <a:gd name="connsiteY0" fmla="*/ 3288247 h 4428964"/>
                <a:gd name="connsiteX1" fmla="*/ 0 w 5818958"/>
                <a:gd name="connsiteY1" fmla="*/ 3193505 h 4428964"/>
                <a:gd name="connsiteX2" fmla="*/ 185633 w 5818958"/>
                <a:gd name="connsiteY2" fmla="*/ 2374266 h 4428964"/>
                <a:gd name="connsiteX3" fmla="*/ 152902 w 5818958"/>
                <a:gd name="connsiteY3" fmla="*/ 2331944 h 4428964"/>
                <a:gd name="connsiteX4" fmla="*/ 225159 w 5818958"/>
                <a:gd name="connsiteY4" fmla="*/ 2067448 h 4428964"/>
                <a:gd name="connsiteX5" fmla="*/ 260875 w 5818958"/>
                <a:gd name="connsiteY5" fmla="*/ 2050403 h 4428964"/>
                <a:gd name="connsiteX6" fmla="*/ 1268232 w 5818958"/>
                <a:gd name="connsiteY6" fmla="*/ 647002 h 4428964"/>
                <a:gd name="connsiteX7" fmla="*/ 1481148 w 5818958"/>
                <a:gd name="connsiteY7" fmla="*/ 547251 h 4428964"/>
                <a:gd name="connsiteX8" fmla="*/ 1461087 w 5818958"/>
                <a:gd name="connsiteY8" fmla="*/ 432260 h 4428964"/>
                <a:gd name="connsiteX9" fmla="*/ 1656852 w 5818958"/>
                <a:gd name="connsiteY9" fmla="*/ 380302 h 4428964"/>
                <a:gd name="connsiteX10" fmla="*/ 1674225 w 5818958"/>
                <a:gd name="connsiteY10" fmla="*/ 481442 h 4428964"/>
                <a:gd name="connsiteX11" fmla="*/ 1801300 w 5818958"/>
                <a:gd name="connsiteY11" fmla="*/ 442651 h 4428964"/>
                <a:gd name="connsiteX12" fmla="*/ 1831779 w 5818958"/>
                <a:gd name="connsiteY12" fmla="*/ 393463 h 4428964"/>
                <a:gd name="connsiteX13" fmla="*/ 2067666 w 5818958"/>
                <a:gd name="connsiteY13" fmla="*/ 319342 h 4428964"/>
                <a:gd name="connsiteX14" fmla="*/ 2108121 w 5818958"/>
                <a:gd name="connsiteY14" fmla="*/ 352592 h 4428964"/>
                <a:gd name="connsiteX15" fmla="*/ 2304663 w 5818958"/>
                <a:gd name="connsiteY15" fmla="*/ 288171 h 4428964"/>
                <a:gd name="connsiteX16" fmla="*/ 2263875 w 5818958"/>
                <a:gd name="connsiteY16" fmla="*/ 119840 h 4428964"/>
                <a:gd name="connsiteX17" fmla="*/ 2647118 w 5818958"/>
                <a:gd name="connsiteY17" fmla="*/ 0 h 4428964"/>
                <a:gd name="connsiteX18" fmla="*/ 2695416 w 5818958"/>
                <a:gd name="connsiteY18" fmla="*/ 165560 h 4428964"/>
                <a:gd name="connsiteX19" fmla="*/ 4458967 w 5818958"/>
                <a:gd name="connsiteY19" fmla="*/ 680900 h 4428964"/>
                <a:gd name="connsiteX20" fmla="*/ 5009097 w 5818958"/>
                <a:gd name="connsiteY20" fmla="*/ 1291242 h 4428964"/>
                <a:gd name="connsiteX21" fmla="*/ 5070501 w 5818958"/>
                <a:gd name="connsiteY21" fmla="*/ 1298860 h 4428964"/>
                <a:gd name="connsiteX22" fmla="*/ 5235342 w 5818958"/>
                <a:gd name="connsiteY22" fmla="*/ 1479661 h 4428964"/>
                <a:gd name="connsiteX23" fmla="*/ 5235565 w 5818958"/>
                <a:gd name="connsiteY23" fmla="*/ 1535080 h 4428964"/>
                <a:gd name="connsiteX24" fmla="*/ 5396829 w 5818958"/>
                <a:gd name="connsiteY24" fmla="*/ 1726990 h 4428964"/>
                <a:gd name="connsiteX25" fmla="*/ 5776817 w 5818958"/>
                <a:gd name="connsiteY25" fmla="*/ 3519512 h 4428964"/>
                <a:gd name="connsiteX26" fmla="*/ 5584738 w 5818958"/>
                <a:gd name="connsiteY26" fmla="*/ 4385669 h 4428964"/>
                <a:gd name="connsiteX27" fmla="*/ 5732188 w 5818958"/>
                <a:gd name="connsiteY27" fmla="*/ 4428964 h 4428964"/>
                <a:gd name="connsiteX28" fmla="*/ 5245427 w 5818958"/>
                <a:gd name="connsiteY28" fmla="*/ 3352779 h 4428964"/>
                <a:gd name="connsiteX29" fmla="*/ 4926611 w 5818958"/>
                <a:gd name="connsiteY29" fmla="*/ 2049487 h 4428964"/>
                <a:gd name="connsiteX30" fmla="*/ 4109358 w 5818958"/>
                <a:gd name="connsiteY30" fmla="*/ 1163055 h 4428964"/>
                <a:gd name="connsiteX31" fmla="*/ 2815092 w 5818958"/>
                <a:gd name="connsiteY31" fmla="*/ 761302 h 4428964"/>
                <a:gd name="connsiteX32" fmla="*/ 1816872 w 5818958"/>
                <a:gd name="connsiteY32" fmla="*/ 1081342 h 4428964"/>
                <a:gd name="connsiteX33" fmla="*/ 807952 w 5818958"/>
                <a:gd name="connsiteY33" fmla="*/ 2111591 h 4428964"/>
                <a:gd name="connsiteX34" fmla="*/ 543881 w 5818958"/>
                <a:gd name="connsiteY34" fmla="*/ 3288247 h 4428964"/>
                <a:gd name="connsiteX0" fmla="*/ 543881 w 5818958"/>
                <a:gd name="connsiteY0" fmla="*/ 3288247 h 4385669"/>
                <a:gd name="connsiteX1" fmla="*/ 0 w 5818958"/>
                <a:gd name="connsiteY1" fmla="*/ 3193505 h 4385669"/>
                <a:gd name="connsiteX2" fmla="*/ 185633 w 5818958"/>
                <a:gd name="connsiteY2" fmla="*/ 2374266 h 4385669"/>
                <a:gd name="connsiteX3" fmla="*/ 152902 w 5818958"/>
                <a:gd name="connsiteY3" fmla="*/ 2331944 h 4385669"/>
                <a:gd name="connsiteX4" fmla="*/ 225159 w 5818958"/>
                <a:gd name="connsiteY4" fmla="*/ 2067448 h 4385669"/>
                <a:gd name="connsiteX5" fmla="*/ 260875 w 5818958"/>
                <a:gd name="connsiteY5" fmla="*/ 2050403 h 4385669"/>
                <a:gd name="connsiteX6" fmla="*/ 1268232 w 5818958"/>
                <a:gd name="connsiteY6" fmla="*/ 647002 h 4385669"/>
                <a:gd name="connsiteX7" fmla="*/ 1481148 w 5818958"/>
                <a:gd name="connsiteY7" fmla="*/ 547251 h 4385669"/>
                <a:gd name="connsiteX8" fmla="*/ 1461087 w 5818958"/>
                <a:gd name="connsiteY8" fmla="*/ 432260 h 4385669"/>
                <a:gd name="connsiteX9" fmla="*/ 1656852 w 5818958"/>
                <a:gd name="connsiteY9" fmla="*/ 380302 h 4385669"/>
                <a:gd name="connsiteX10" fmla="*/ 1674225 w 5818958"/>
                <a:gd name="connsiteY10" fmla="*/ 481442 h 4385669"/>
                <a:gd name="connsiteX11" fmla="*/ 1801300 w 5818958"/>
                <a:gd name="connsiteY11" fmla="*/ 442651 h 4385669"/>
                <a:gd name="connsiteX12" fmla="*/ 1831779 w 5818958"/>
                <a:gd name="connsiteY12" fmla="*/ 393463 h 4385669"/>
                <a:gd name="connsiteX13" fmla="*/ 2067666 w 5818958"/>
                <a:gd name="connsiteY13" fmla="*/ 319342 h 4385669"/>
                <a:gd name="connsiteX14" fmla="*/ 2108121 w 5818958"/>
                <a:gd name="connsiteY14" fmla="*/ 352592 h 4385669"/>
                <a:gd name="connsiteX15" fmla="*/ 2304663 w 5818958"/>
                <a:gd name="connsiteY15" fmla="*/ 288171 h 4385669"/>
                <a:gd name="connsiteX16" fmla="*/ 2263875 w 5818958"/>
                <a:gd name="connsiteY16" fmla="*/ 119840 h 4385669"/>
                <a:gd name="connsiteX17" fmla="*/ 2647118 w 5818958"/>
                <a:gd name="connsiteY17" fmla="*/ 0 h 4385669"/>
                <a:gd name="connsiteX18" fmla="*/ 2695416 w 5818958"/>
                <a:gd name="connsiteY18" fmla="*/ 165560 h 4385669"/>
                <a:gd name="connsiteX19" fmla="*/ 4458967 w 5818958"/>
                <a:gd name="connsiteY19" fmla="*/ 680900 h 4385669"/>
                <a:gd name="connsiteX20" fmla="*/ 5009097 w 5818958"/>
                <a:gd name="connsiteY20" fmla="*/ 1291242 h 4385669"/>
                <a:gd name="connsiteX21" fmla="*/ 5070501 w 5818958"/>
                <a:gd name="connsiteY21" fmla="*/ 1298860 h 4385669"/>
                <a:gd name="connsiteX22" fmla="*/ 5235342 w 5818958"/>
                <a:gd name="connsiteY22" fmla="*/ 1479661 h 4385669"/>
                <a:gd name="connsiteX23" fmla="*/ 5235565 w 5818958"/>
                <a:gd name="connsiteY23" fmla="*/ 1535080 h 4385669"/>
                <a:gd name="connsiteX24" fmla="*/ 5396829 w 5818958"/>
                <a:gd name="connsiteY24" fmla="*/ 1726990 h 4385669"/>
                <a:gd name="connsiteX25" fmla="*/ 5776817 w 5818958"/>
                <a:gd name="connsiteY25" fmla="*/ 3519512 h 4385669"/>
                <a:gd name="connsiteX26" fmla="*/ 5584738 w 5818958"/>
                <a:gd name="connsiteY26" fmla="*/ 4385669 h 4385669"/>
                <a:gd name="connsiteX27" fmla="*/ 5245427 w 5818958"/>
                <a:gd name="connsiteY27" fmla="*/ 3352779 h 4385669"/>
                <a:gd name="connsiteX28" fmla="*/ 4926611 w 5818958"/>
                <a:gd name="connsiteY28" fmla="*/ 2049487 h 4385669"/>
                <a:gd name="connsiteX29" fmla="*/ 4109358 w 5818958"/>
                <a:gd name="connsiteY29" fmla="*/ 1163055 h 4385669"/>
                <a:gd name="connsiteX30" fmla="*/ 2815092 w 5818958"/>
                <a:gd name="connsiteY30" fmla="*/ 761302 h 4385669"/>
                <a:gd name="connsiteX31" fmla="*/ 1816872 w 5818958"/>
                <a:gd name="connsiteY31" fmla="*/ 1081342 h 4385669"/>
                <a:gd name="connsiteX32" fmla="*/ 807952 w 5818958"/>
                <a:gd name="connsiteY32" fmla="*/ 2111591 h 4385669"/>
                <a:gd name="connsiteX33" fmla="*/ 543881 w 5818958"/>
                <a:gd name="connsiteY33" fmla="*/ 3288247 h 4385669"/>
                <a:gd name="connsiteX0" fmla="*/ 543881 w 5818958"/>
                <a:gd name="connsiteY0" fmla="*/ 3288247 h 3519512"/>
                <a:gd name="connsiteX1" fmla="*/ 0 w 5818958"/>
                <a:gd name="connsiteY1" fmla="*/ 3193505 h 3519512"/>
                <a:gd name="connsiteX2" fmla="*/ 185633 w 5818958"/>
                <a:gd name="connsiteY2" fmla="*/ 2374266 h 3519512"/>
                <a:gd name="connsiteX3" fmla="*/ 152902 w 5818958"/>
                <a:gd name="connsiteY3" fmla="*/ 2331944 h 3519512"/>
                <a:gd name="connsiteX4" fmla="*/ 225159 w 5818958"/>
                <a:gd name="connsiteY4" fmla="*/ 2067448 h 3519512"/>
                <a:gd name="connsiteX5" fmla="*/ 260875 w 5818958"/>
                <a:gd name="connsiteY5" fmla="*/ 2050403 h 3519512"/>
                <a:gd name="connsiteX6" fmla="*/ 1268232 w 5818958"/>
                <a:gd name="connsiteY6" fmla="*/ 647002 h 3519512"/>
                <a:gd name="connsiteX7" fmla="*/ 1481148 w 5818958"/>
                <a:gd name="connsiteY7" fmla="*/ 547251 h 3519512"/>
                <a:gd name="connsiteX8" fmla="*/ 1461087 w 5818958"/>
                <a:gd name="connsiteY8" fmla="*/ 432260 h 3519512"/>
                <a:gd name="connsiteX9" fmla="*/ 1656852 w 5818958"/>
                <a:gd name="connsiteY9" fmla="*/ 380302 h 3519512"/>
                <a:gd name="connsiteX10" fmla="*/ 1674225 w 5818958"/>
                <a:gd name="connsiteY10" fmla="*/ 481442 h 3519512"/>
                <a:gd name="connsiteX11" fmla="*/ 1801300 w 5818958"/>
                <a:gd name="connsiteY11" fmla="*/ 442651 h 3519512"/>
                <a:gd name="connsiteX12" fmla="*/ 1831779 w 5818958"/>
                <a:gd name="connsiteY12" fmla="*/ 393463 h 3519512"/>
                <a:gd name="connsiteX13" fmla="*/ 2067666 w 5818958"/>
                <a:gd name="connsiteY13" fmla="*/ 319342 h 3519512"/>
                <a:gd name="connsiteX14" fmla="*/ 2108121 w 5818958"/>
                <a:gd name="connsiteY14" fmla="*/ 352592 h 3519512"/>
                <a:gd name="connsiteX15" fmla="*/ 2304663 w 5818958"/>
                <a:gd name="connsiteY15" fmla="*/ 288171 h 3519512"/>
                <a:gd name="connsiteX16" fmla="*/ 2263875 w 5818958"/>
                <a:gd name="connsiteY16" fmla="*/ 119840 h 3519512"/>
                <a:gd name="connsiteX17" fmla="*/ 2647118 w 5818958"/>
                <a:gd name="connsiteY17" fmla="*/ 0 h 3519512"/>
                <a:gd name="connsiteX18" fmla="*/ 2695416 w 5818958"/>
                <a:gd name="connsiteY18" fmla="*/ 165560 h 3519512"/>
                <a:gd name="connsiteX19" fmla="*/ 4458967 w 5818958"/>
                <a:gd name="connsiteY19" fmla="*/ 680900 h 3519512"/>
                <a:gd name="connsiteX20" fmla="*/ 5009097 w 5818958"/>
                <a:gd name="connsiteY20" fmla="*/ 1291242 h 3519512"/>
                <a:gd name="connsiteX21" fmla="*/ 5070501 w 5818958"/>
                <a:gd name="connsiteY21" fmla="*/ 1298860 h 3519512"/>
                <a:gd name="connsiteX22" fmla="*/ 5235342 w 5818958"/>
                <a:gd name="connsiteY22" fmla="*/ 1479661 h 3519512"/>
                <a:gd name="connsiteX23" fmla="*/ 5235565 w 5818958"/>
                <a:gd name="connsiteY23" fmla="*/ 1535080 h 3519512"/>
                <a:gd name="connsiteX24" fmla="*/ 5396829 w 5818958"/>
                <a:gd name="connsiteY24" fmla="*/ 1726990 h 3519512"/>
                <a:gd name="connsiteX25" fmla="*/ 5776817 w 5818958"/>
                <a:gd name="connsiteY25" fmla="*/ 3519512 h 3519512"/>
                <a:gd name="connsiteX26" fmla="*/ 5245427 w 5818958"/>
                <a:gd name="connsiteY26" fmla="*/ 3352779 h 3519512"/>
                <a:gd name="connsiteX27" fmla="*/ 4926611 w 5818958"/>
                <a:gd name="connsiteY27" fmla="*/ 2049487 h 3519512"/>
                <a:gd name="connsiteX28" fmla="*/ 4109358 w 5818958"/>
                <a:gd name="connsiteY28" fmla="*/ 1163055 h 3519512"/>
                <a:gd name="connsiteX29" fmla="*/ 2815092 w 5818958"/>
                <a:gd name="connsiteY29" fmla="*/ 761302 h 3519512"/>
                <a:gd name="connsiteX30" fmla="*/ 1816872 w 5818958"/>
                <a:gd name="connsiteY30" fmla="*/ 1081342 h 3519512"/>
                <a:gd name="connsiteX31" fmla="*/ 807952 w 5818958"/>
                <a:gd name="connsiteY31" fmla="*/ 2111591 h 3519512"/>
                <a:gd name="connsiteX32" fmla="*/ 543881 w 5818958"/>
                <a:gd name="connsiteY32" fmla="*/ 3288247 h 3519512"/>
                <a:gd name="connsiteX0" fmla="*/ 543881 w 5396855"/>
                <a:gd name="connsiteY0" fmla="*/ 3288247 h 3352779"/>
                <a:gd name="connsiteX1" fmla="*/ 0 w 5396855"/>
                <a:gd name="connsiteY1" fmla="*/ 3193505 h 3352779"/>
                <a:gd name="connsiteX2" fmla="*/ 185633 w 5396855"/>
                <a:gd name="connsiteY2" fmla="*/ 2374266 h 3352779"/>
                <a:gd name="connsiteX3" fmla="*/ 152902 w 5396855"/>
                <a:gd name="connsiteY3" fmla="*/ 2331944 h 3352779"/>
                <a:gd name="connsiteX4" fmla="*/ 225159 w 5396855"/>
                <a:gd name="connsiteY4" fmla="*/ 2067448 h 3352779"/>
                <a:gd name="connsiteX5" fmla="*/ 260875 w 5396855"/>
                <a:gd name="connsiteY5" fmla="*/ 2050403 h 3352779"/>
                <a:gd name="connsiteX6" fmla="*/ 1268232 w 5396855"/>
                <a:gd name="connsiteY6" fmla="*/ 647002 h 3352779"/>
                <a:gd name="connsiteX7" fmla="*/ 1481148 w 5396855"/>
                <a:gd name="connsiteY7" fmla="*/ 547251 h 3352779"/>
                <a:gd name="connsiteX8" fmla="*/ 1461087 w 5396855"/>
                <a:gd name="connsiteY8" fmla="*/ 432260 h 3352779"/>
                <a:gd name="connsiteX9" fmla="*/ 1656852 w 5396855"/>
                <a:gd name="connsiteY9" fmla="*/ 380302 h 3352779"/>
                <a:gd name="connsiteX10" fmla="*/ 1674225 w 5396855"/>
                <a:gd name="connsiteY10" fmla="*/ 481442 h 3352779"/>
                <a:gd name="connsiteX11" fmla="*/ 1801300 w 5396855"/>
                <a:gd name="connsiteY11" fmla="*/ 442651 h 3352779"/>
                <a:gd name="connsiteX12" fmla="*/ 1831779 w 5396855"/>
                <a:gd name="connsiteY12" fmla="*/ 393463 h 3352779"/>
                <a:gd name="connsiteX13" fmla="*/ 2067666 w 5396855"/>
                <a:gd name="connsiteY13" fmla="*/ 319342 h 3352779"/>
                <a:gd name="connsiteX14" fmla="*/ 2108121 w 5396855"/>
                <a:gd name="connsiteY14" fmla="*/ 352592 h 3352779"/>
                <a:gd name="connsiteX15" fmla="*/ 2304663 w 5396855"/>
                <a:gd name="connsiteY15" fmla="*/ 288171 h 3352779"/>
                <a:gd name="connsiteX16" fmla="*/ 2263875 w 5396855"/>
                <a:gd name="connsiteY16" fmla="*/ 119840 h 3352779"/>
                <a:gd name="connsiteX17" fmla="*/ 2647118 w 5396855"/>
                <a:gd name="connsiteY17" fmla="*/ 0 h 3352779"/>
                <a:gd name="connsiteX18" fmla="*/ 2695416 w 5396855"/>
                <a:gd name="connsiteY18" fmla="*/ 165560 h 3352779"/>
                <a:gd name="connsiteX19" fmla="*/ 4458967 w 5396855"/>
                <a:gd name="connsiteY19" fmla="*/ 680900 h 3352779"/>
                <a:gd name="connsiteX20" fmla="*/ 5009097 w 5396855"/>
                <a:gd name="connsiteY20" fmla="*/ 1291242 h 3352779"/>
                <a:gd name="connsiteX21" fmla="*/ 5070501 w 5396855"/>
                <a:gd name="connsiteY21" fmla="*/ 1298860 h 3352779"/>
                <a:gd name="connsiteX22" fmla="*/ 5235342 w 5396855"/>
                <a:gd name="connsiteY22" fmla="*/ 1479661 h 3352779"/>
                <a:gd name="connsiteX23" fmla="*/ 5235565 w 5396855"/>
                <a:gd name="connsiteY23" fmla="*/ 1535080 h 3352779"/>
                <a:gd name="connsiteX24" fmla="*/ 5396829 w 5396855"/>
                <a:gd name="connsiteY24" fmla="*/ 1726990 h 3352779"/>
                <a:gd name="connsiteX25" fmla="*/ 5245427 w 5396855"/>
                <a:gd name="connsiteY25" fmla="*/ 3352779 h 3352779"/>
                <a:gd name="connsiteX26" fmla="*/ 4926611 w 5396855"/>
                <a:gd name="connsiteY26" fmla="*/ 2049487 h 3352779"/>
                <a:gd name="connsiteX27" fmla="*/ 4109358 w 5396855"/>
                <a:gd name="connsiteY27" fmla="*/ 1163055 h 3352779"/>
                <a:gd name="connsiteX28" fmla="*/ 2815092 w 5396855"/>
                <a:gd name="connsiteY28" fmla="*/ 761302 h 3352779"/>
                <a:gd name="connsiteX29" fmla="*/ 1816872 w 5396855"/>
                <a:gd name="connsiteY29" fmla="*/ 1081342 h 3352779"/>
                <a:gd name="connsiteX30" fmla="*/ 807952 w 5396855"/>
                <a:gd name="connsiteY30" fmla="*/ 2111591 h 3352779"/>
                <a:gd name="connsiteX31" fmla="*/ 543881 w 5396855"/>
                <a:gd name="connsiteY31" fmla="*/ 3288247 h 3352779"/>
                <a:gd name="connsiteX0" fmla="*/ 543881 w 5396829"/>
                <a:gd name="connsiteY0" fmla="*/ 3288247 h 3288247"/>
                <a:gd name="connsiteX1" fmla="*/ 0 w 5396829"/>
                <a:gd name="connsiteY1" fmla="*/ 3193505 h 3288247"/>
                <a:gd name="connsiteX2" fmla="*/ 185633 w 5396829"/>
                <a:gd name="connsiteY2" fmla="*/ 2374266 h 3288247"/>
                <a:gd name="connsiteX3" fmla="*/ 152902 w 5396829"/>
                <a:gd name="connsiteY3" fmla="*/ 2331944 h 3288247"/>
                <a:gd name="connsiteX4" fmla="*/ 225159 w 5396829"/>
                <a:gd name="connsiteY4" fmla="*/ 2067448 h 3288247"/>
                <a:gd name="connsiteX5" fmla="*/ 260875 w 5396829"/>
                <a:gd name="connsiteY5" fmla="*/ 2050403 h 3288247"/>
                <a:gd name="connsiteX6" fmla="*/ 1268232 w 5396829"/>
                <a:gd name="connsiteY6" fmla="*/ 647002 h 3288247"/>
                <a:gd name="connsiteX7" fmla="*/ 1481148 w 5396829"/>
                <a:gd name="connsiteY7" fmla="*/ 547251 h 3288247"/>
                <a:gd name="connsiteX8" fmla="*/ 1461087 w 5396829"/>
                <a:gd name="connsiteY8" fmla="*/ 432260 h 3288247"/>
                <a:gd name="connsiteX9" fmla="*/ 1656852 w 5396829"/>
                <a:gd name="connsiteY9" fmla="*/ 380302 h 3288247"/>
                <a:gd name="connsiteX10" fmla="*/ 1674225 w 5396829"/>
                <a:gd name="connsiteY10" fmla="*/ 481442 h 3288247"/>
                <a:gd name="connsiteX11" fmla="*/ 1801300 w 5396829"/>
                <a:gd name="connsiteY11" fmla="*/ 442651 h 3288247"/>
                <a:gd name="connsiteX12" fmla="*/ 1831779 w 5396829"/>
                <a:gd name="connsiteY12" fmla="*/ 393463 h 3288247"/>
                <a:gd name="connsiteX13" fmla="*/ 2067666 w 5396829"/>
                <a:gd name="connsiteY13" fmla="*/ 319342 h 3288247"/>
                <a:gd name="connsiteX14" fmla="*/ 2108121 w 5396829"/>
                <a:gd name="connsiteY14" fmla="*/ 352592 h 3288247"/>
                <a:gd name="connsiteX15" fmla="*/ 2304663 w 5396829"/>
                <a:gd name="connsiteY15" fmla="*/ 288171 h 3288247"/>
                <a:gd name="connsiteX16" fmla="*/ 2263875 w 5396829"/>
                <a:gd name="connsiteY16" fmla="*/ 119840 h 3288247"/>
                <a:gd name="connsiteX17" fmla="*/ 2647118 w 5396829"/>
                <a:gd name="connsiteY17" fmla="*/ 0 h 3288247"/>
                <a:gd name="connsiteX18" fmla="*/ 2695416 w 5396829"/>
                <a:gd name="connsiteY18" fmla="*/ 165560 h 3288247"/>
                <a:gd name="connsiteX19" fmla="*/ 4458967 w 5396829"/>
                <a:gd name="connsiteY19" fmla="*/ 680900 h 3288247"/>
                <a:gd name="connsiteX20" fmla="*/ 5009097 w 5396829"/>
                <a:gd name="connsiteY20" fmla="*/ 1291242 h 3288247"/>
                <a:gd name="connsiteX21" fmla="*/ 5070501 w 5396829"/>
                <a:gd name="connsiteY21" fmla="*/ 1298860 h 3288247"/>
                <a:gd name="connsiteX22" fmla="*/ 5235342 w 5396829"/>
                <a:gd name="connsiteY22" fmla="*/ 1479661 h 3288247"/>
                <a:gd name="connsiteX23" fmla="*/ 5235565 w 5396829"/>
                <a:gd name="connsiteY23" fmla="*/ 1535080 h 3288247"/>
                <a:gd name="connsiteX24" fmla="*/ 5396829 w 5396829"/>
                <a:gd name="connsiteY24" fmla="*/ 1726990 h 3288247"/>
                <a:gd name="connsiteX25" fmla="*/ 4926611 w 5396829"/>
                <a:gd name="connsiteY25" fmla="*/ 2049487 h 3288247"/>
                <a:gd name="connsiteX26" fmla="*/ 4109358 w 5396829"/>
                <a:gd name="connsiteY26" fmla="*/ 1163055 h 3288247"/>
                <a:gd name="connsiteX27" fmla="*/ 2815092 w 5396829"/>
                <a:gd name="connsiteY27" fmla="*/ 761302 h 3288247"/>
                <a:gd name="connsiteX28" fmla="*/ 1816872 w 5396829"/>
                <a:gd name="connsiteY28" fmla="*/ 1081342 h 3288247"/>
                <a:gd name="connsiteX29" fmla="*/ 807952 w 5396829"/>
                <a:gd name="connsiteY29" fmla="*/ 2111591 h 3288247"/>
                <a:gd name="connsiteX30" fmla="*/ 543881 w 5396829"/>
                <a:gd name="connsiteY30" fmla="*/ 3288247 h 3288247"/>
                <a:gd name="connsiteX0" fmla="*/ 543881 w 5396829"/>
                <a:gd name="connsiteY0" fmla="*/ 3288247 h 3288247"/>
                <a:gd name="connsiteX1" fmla="*/ 0 w 5396829"/>
                <a:gd name="connsiteY1" fmla="*/ 3193505 h 3288247"/>
                <a:gd name="connsiteX2" fmla="*/ 185633 w 5396829"/>
                <a:gd name="connsiteY2" fmla="*/ 2374266 h 3288247"/>
                <a:gd name="connsiteX3" fmla="*/ 152902 w 5396829"/>
                <a:gd name="connsiteY3" fmla="*/ 2331944 h 3288247"/>
                <a:gd name="connsiteX4" fmla="*/ 225159 w 5396829"/>
                <a:gd name="connsiteY4" fmla="*/ 2067448 h 3288247"/>
                <a:gd name="connsiteX5" fmla="*/ 260875 w 5396829"/>
                <a:gd name="connsiteY5" fmla="*/ 2050403 h 3288247"/>
                <a:gd name="connsiteX6" fmla="*/ 1268232 w 5396829"/>
                <a:gd name="connsiteY6" fmla="*/ 647002 h 3288247"/>
                <a:gd name="connsiteX7" fmla="*/ 1481148 w 5396829"/>
                <a:gd name="connsiteY7" fmla="*/ 547251 h 3288247"/>
                <a:gd name="connsiteX8" fmla="*/ 1461087 w 5396829"/>
                <a:gd name="connsiteY8" fmla="*/ 432260 h 3288247"/>
                <a:gd name="connsiteX9" fmla="*/ 1656852 w 5396829"/>
                <a:gd name="connsiteY9" fmla="*/ 380302 h 3288247"/>
                <a:gd name="connsiteX10" fmla="*/ 1674225 w 5396829"/>
                <a:gd name="connsiteY10" fmla="*/ 481442 h 3288247"/>
                <a:gd name="connsiteX11" fmla="*/ 1801300 w 5396829"/>
                <a:gd name="connsiteY11" fmla="*/ 442651 h 3288247"/>
                <a:gd name="connsiteX12" fmla="*/ 1831779 w 5396829"/>
                <a:gd name="connsiteY12" fmla="*/ 393463 h 3288247"/>
                <a:gd name="connsiteX13" fmla="*/ 2067666 w 5396829"/>
                <a:gd name="connsiteY13" fmla="*/ 319342 h 3288247"/>
                <a:gd name="connsiteX14" fmla="*/ 2108121 w 5396829"/>
                <a:gd name="connsiteY14" fmla="*/ 352592 h 3288247"/>
                <a:gd name="connsiteX15" fmla="*/ 2304663 w 5396829"/>
                <a:gd name="connsiteY15" fmla="*/ 288171 h 3288247"/>
                <a:gd name="connsiteX16" fmla="*/ 2263875 w 5396829"/>
                <a:gd name="connsiteY16" fmla="*/ 119840 h 3288247"/>
                <a:gd name="connsiteX17" fmla="*/ 2647118 w 5396829"/>
                <a:gd name="connsiteY17" fmla="*/ 0 h 3288247"/>
                <a:gd name="connsiteX18" fmla="*/ 2695416 w 5396829"/>
                <a:gd name="connsiteY18" fmla="*/ 165560 h 3288247"/>
                <a:gd name="connsiteX19" fmla="*/ 4458967 w 5396829"/>
                <a:gd name="connsiteY19" fmla="*/ 680900 h 3288247"/>
                <a:gd name="connsiteX20" fmla="*/ 5009097 w 5396829"/>
                <a:gd name="connsiteY20" fmla="*/ 1291242 h 3288247"/>
                <a:gd name="connsiteX21" fmla="*/ 5070501 w 5396829"/>
                <a:gd name="connsiteY21" fmla="*/ 1298860 h 3288247"/>
                <a:gd name="connsiteX22" fmla="*/ 5235342 w 5396829"/>
                <a:gd name="connsiteY22" fmla="*/ 1479661 h 3288247"/>
                <a:gd name="connsiteX23" fmla="*/ 5235565 w 5396829"/>
                <a:gd name="connsiteY23" fmla="*/ 1535080 h 3288247"/>
                <a:gd name="connsiteX24" fmla="*/ 5396829 w 5396829"/>
                <a:gd name="connsiteY24" fmla="*/ 1726990 h 3288247"/>
                <a:gd name="connsiteX25" fmla="*/ 4109358 w 5396829"/>
                <a:gd name="connsiteY25" fmla="*/ 1163055 h 3288247"/>
                <a:gd name="connsiteX26" fmla="*/ 2815092 w 5396829"/>
                <a:gd name="connsiteY26" fmla="*/ 761302 h 3288247"/>
                <a:gd name="connsiteX27" fmla="*/ 1816872 w 5396829"/>
                <a:gd name="connsiteY27" fmla="*/ 1081342 h 3288247"/>
                <a:gd name="connsiteX28" fmla="*/ 807952 w 5396829"/>
                <a:gd name="connsiteY28" fmla="*/ 2111591 h 3288247"/>
                <a:gd name="connsiteX29" fmla="*/ 543881 w 5396829"/>
                <a:gd name="connsiteY29" fmla="*/ 3288247 h 3288247"/>
                <a:gd name="connsiteX0" fmla="*/ 543881 w 5235565"/>
                <a:gd name="connsiteY0" fmla="*/ 3288247 h 3288247"/>
                <a:gd name="connsiteX1" fmla="*/ 0 w 5235565"/>
                <a:gd name="connsiteY1" fmla="*/ 3193505 h 3288247"/>
                <a:gd name="connsiteX2" fmla="*/ 185633 w 5235565"/>
                <a:gd name="connsiteY2" fmla="*/ 2374266 h 3288247"/>
                <a:gd name="connsiteX3" fmla="*/ 152902 w 5235565"/>
                <a:gd name="connsiteY3" fmla="*/ 2331944 h 3288247"/>
                <a:gd name="connsiteX4" fmla="*/ 225159 w 5235565"/>
                <a:gd name="connsiteY4" fmla="*/ 2067448 h 3288247"/>
                <a:gd name="connsiteX5" fmla="*/ 260875 w 5235565"/>
                <a:gd name="connsiteY5" fmla="*/ 2050403 h 3288247"/>
                <a:gd name="connsiteX6" fmla="*/ 1268232 w 5235565"/>
                <a:gd name="connsiteY6" fmla="*/ 647002 h 3288247"/>
                <a:gd name="connsiteX7" fmla="*/ 1481148 w 5235565"/>
                <a:gd name="connsiteY7" fmla="*/ 547251 h 3288247"/>
                <a:gd name="connsiteX8" fmla="*/ 1461087 w 5235565"/>
                <a:gd name="connsiteY8" fmla="*/ 432260 h 3288247"/>
                <a:gd name="connsiteX9" fmla="*/ 1656852 w 5235565"/>
                <a:gd name="connsiteY9" fmla="*/ 380302 h 3288247"/>
                <a:gd name="connsiteX10" fmla="*/ 1674225 w 5235565"/>
                <a:gd name="connsiteY10" fmla="*/ 481442 h 3288247"/>
                <a:gd name="connsiteX11" fmla="*/ 1801300 w 5235565"/>
                <a:gd name="connsiteY11" fmla="*/ 442651 h 3288247"/>
                <a:gd name="connsiteX12" fmla="*/ 1831779 w 5235565"/>
                <a:gd name="connsiteY12" fmla="*/ 393463 h 3288247"/>
                <a:gd name="connsiteX13" fmla="*/ 2067666 w 5235565"/>
                <a:gd name="connsiteY13" fmla="*/ 319342 h 3288247"/>
                <a:gd name="connsiteX14" fmla="*/ 2108121 w 5235565"/>
                <a:gd name="connsiteY14" fmla="*/ 352592 h 3288247"/>
                <a:gd name="connsiteX15" fmla="*/ 2304663 w 5235565"/>
                <a:gd name="connsiteY15" fmla="*/ 288171 h 3288247"/>
                <a:gd name="connsiteX16" fmla="*/ 2263875 w 5235565"/>
                <a:gd name="connsiteY16" fmla="*/ 119840 h 3288247"/>
                <a:gd name="connsiteX17" fmla="*/ 2647118 w 5235565"/>
                <a:gd name="connsiteY17" fmla="*/ 0 h 3288247"/>
                <a:gd name="connsiteX18" fmla="*/ 2695416 w 5235565"/>
                <a:gd name="connsiteY18" fmla="*/ 165560 h 3288247"/>
                <a:gd name="connsiteX19" fmla="*/ 4458967 w 5235565"/>
                <a:gd name="connsiteY19" fmla="*/ 680900 h 3288247"/>
                <a:gd name="connsiteX20" fmla="*/ 5009097 w 5235565"/>
                <a:gd name="connsiteY20" fmla="*/ 1291242 h 3288247"/>
                <a:gd name="connsiteX21" fmla="*/ 5070501 w 5235565"/>
                <a:gd name="connsiteY21" fmla="*/ 1298860 h 3288247"/>
                <a:gd name="connsiteX22" fmla="*/ 5235342 w 5235565"/>
                <a:gd name="connsiteY22" fmla="*/ 1479661 h 3288247"/>
                <a:gd name="connsiteX23" fmla="*/ 5235565 w 5235565"/>
                <a:gd name="connsiteY23" fmla="*/ 1535080 h 3288247"/>
                <a:gd name="connsiteX24" fmla="*/ 4109358 w 5235565"/>
                <a:gd name="connsiteY24" fmla="*/ 1163055 h 3288247"/>
                <a:gd name="connsiteX25" fmla="*/ 2815092 w 5235565"/>
                <a:gd name="connsiteY25" fmla="*/ 761302 h 3288247"/>
                <a:gd name="connsiteX26" fmla="*/ 1816872 w 5235565"/>
                <a:gd name="connsiteY26" fmla="*/ 1081342 h 3288247"/>
                <a:gd name="connsiteX27" fmla="*/ 807952 w 5235565"/>
                <a:gd name="connsiteY27" fmla="*/ 2111591 h 3288247"/>
                <a:gd name="connsiteX28" fmla="*/ 543881 w 5235565"/>
                <a:gd name="connsiteY28" fmla="*/ 3288247 h 3288247"/>
                <a:gd name="connsiteX0" fmla="*/ 543881 w 5235342"/>
                <a:gd name="connsiteY0" fmla="*/ 3288247 h 3288247"/>
                <a:gd name="connsiteX1" fmla="*/ 0 w 5235342"/>
                <a:gd name="connsiteY1" fmla="*/ 3193505 h 3288247"/>
                <a:gd name="connsiteX2" fmla="*/ 185633 w 5235342"/>
                <a:gd name="connsiteY2" fmla="*/ 2374266 h 3288247"/>
                <a:gd name="connsiteX3" fmla="*/ 152902 w 5235342"/>
                <a:gd name="connsiteY3" fmla="*/ 2331944 h 3288247"/>
                <a:gd name="connsiteX4" fmla="*/ 225159 w 5235342"/>
                <a:gd name="connsiteY4" fmla="*/ 2067448 h 3288247"/>
                <a:gd name="connsiteX5" fmla="*/ 260875 w 5235342"/>
                <a:gd name="connsiteY5" fmla="*/ 2050403 h 3288247"/>
                <a:gd name="connsiteX6" fmla="*/ 1268232 w 5235342"/>
                <a:gd name="connsiteY6" fmla="*/ 647002 h 3288247"/>
                <a:gd name="connsiteX7" fmla="*/ 1481148 w 5235342"/>
                <a:gd name="connsiteY7" fmla="*/ 547251 h 3288247"/>
                <a:gd name="connsiteX8" fmla="*/ 1461087 w 5235342"/>
                <a:gd name="connsiteY8" fmla="*/ 432260 h 3288247"/>
                <a:gd name="connsiteX9" fmla="*/ 1656852 w 5235342"/>
                <a:gd name="connsiteY9" fmla="*/ 380302 h 3288247"/>
                <a:gd name="connsiteX10" fmla="*/ 1674225 w 5235342"/>
                <a:gd name="connsiteY10" fmla="*/ 481442 h 3288247"/>
                <a:gd name="connsiteX11" fmla="*/ 1801300 w 5235342"/>
                <a:gd name="connsiteY11" fmla="*/ 442651 h 3288247"/>
                <a:gd name="connsiteX12" fmla="*/ 1831779 w 5235342"/>
                <a:gd name="connsiteY12" fmla="*/ 393463 h 3288247"/>
                <a:gd name="connsiteX13" fmla="*/ 2067666 w 5235342"/>
                <a:gd name="connsiteY13" fmla="*/ 319342 h 3288247"/>
                <a:gd name="connsiteX14" fmla="*/ 2108121 w 5235342"/>
                <a:gd name="connsiteY14" fmla="*/ 352592 h 3288247"/>
                <a:gd name="connsiteX15" fmla="*/ 2304663 w 5235342"/>
                <a:gd name="connsiteY15" fmla="*/ 288171 h 3288247"/>
                <a:gd name="connsiteX16" fmla="*/ 2263875 w 5235342"/>
                <a:gd name="connsiteY16" fmla="*/ 119840 h 3288247"/>
                <a:gd name="connsiteX17" fmla="*/ 2647118 w 5235342"/>
                <a:gd name="connsiteY17" fmla="*/ 0 h 3288247"/>
                <a:gd name="connsiteX18" fmla="*/ 2695416 w 5235342"/>
                <a:gd name="connsiteY18" fmla="*/ 165560 h 3288247"/>
                <a:gd name="connsiteX19" fmla="*/ 4458967 w 5235342"/>
                <a:gd name="connsiteY19" fmla="*/ 680900 h 3288247"/>
                <a:gd name="connsiteX20" fmla="*/ 5009097 w 5235342"/>
                <a:gd name="connsiteY20" fmla="*/ 1291242 h 3288247"/>
                <a:gd name="connsiteX21" fmla="*/ 5070501 w 5235342"/>
                <a:gd name="connsiteY21" fmla="*/ 1298860 h 3288247"/>
                <a:gd name="connsiteX22" fmla="*/ 5235342 w 5235342"/>
                <a:gd name="connsiteY22" fmla="*/ 1479661 h 3288247"/>
                <a:gd name="connsiteX23" fmla="*/ 4109358 w 5235342"/>
                <a:gd name="connsiteY23" fmla="*/ 1163055 h 3288247"/>
                <a:gd name="connsiteX24" fmla="*/ 2815092 w 5235342"/>
                <a:gd name="connsiteY24" fmla="*/ 761302 h 3288247"/>
                <a:gd name="connsiteX25" fmla="*/ 1816872 w 5235342"/>
                <a:gd name="connsiteY25" fmla="*/ 1081342 h 3288247"/>
                <a:gd name="connsiteX26" fmla="*/ 807952 w 5235342"/>
                <a:gd name="connsiteY26" fmla="*/ 2111591 h 3288247"/>
                <a:gd name="connsiteX27" fmla="*/ 543881 w 5235342"/>
                <a:gd name="connsiteY27" fmla="*/ 3288247 h 3288247"/>
                <a:gd name="connsiteX0" fmla="*/ 543881 w 5070501"/>
                <a:gd name="connsiteY0" fmla="*/ 3288247 h 3288247"/>
                <a:gd name="connsiteX1" fmla="*/ 0 w 5070501"/>
                <a:gd name="connsiteY1" fmla="*/ 3193505 h 3288247"/>
                <a:gd name="connsiteX2" fmla="*/ 185633 w 5070501"/>
                <a:gd name="connsiteY2" fmla="*/ 2374266 h 3288247"/>
                <a:gd name="connsiteX3" fmla="*/ 152902 w 5070501"/>
                <a:gd name="connsiteY3" fmla="*/ 2331944 h 3288247"/>
                <a:gd name="connsiteX4" fmla="*/ 225159 w 5070501"/>
                <a:gd name="connsiteY4" fmla="*/ 2067448 h 3288247"/>
                <a:gd name="connsiteX5" fmla="*/ 260875 w 5070501"/>
                <a:gd name="connsiteY5" fmla="*/ 2050403 h 3288247"/>
                <a:gd name="connsiteX6" fmla="*/ 1268232 w 5070501"/>
                <a:gd name="connsiteY6" fmla="*/ 647002 h 3288247"/>
                <a:gd name="connsiteX7" fmla="*/ 1481148 w 5070501"/>
                <a:gd name="connsiteY7" fmla="*/ 547251 h 3288247"/>
                <a:gd name="connsiteX8" fmla="*/ 1461087 w 5070501"/>
                <a:gd name="connsiteY8" fmla="*/ 432260 h 3288247"/>
                <a:gd name="connsiteX9" fmla="*/ 1656852 w 5070501"/>
                <a:gd name="connsiteY9" fmla="*/ 380302 h 3288247"/>
                <a:gd name="connsiteX10" fmla="*/ 1674225 w 5070501"/>
                <a:gd name="connsiteY10" fmla="*/ 481442 h 3288247"/>
                <a:gd name="connsiteX11" fmla="*/ 1801300 w 5070501"/>
                <a:gd name="connsiteY11" fmla="*/ 442651 h 3288247"/>
                <a:gd name="connsiteX12" fmla="*/ 1831779 w 5070501"/>
                <a:gd name="connsiteY12" fmla="*/ 393463 h 3288247"/>
                <a:gd name="connsiteX13" fmla="*/ 2067666 w 5070501"/>
                <a:gd name="connsiteY13" fmla="*/ 319342 h 3288247"/>
                <a:gd name="connsiteX14" fmla="*/ 2108121 w 5070501"/>
                <a:gd name="connsiteY14" fmla="*/ 352592 h 3288247"/>
                <a:gd name="connsiteX15" fmla="*/ 2304663 w 5070501"/>
                <a:gd name="connsiteY15" fmla="*/ 288171 h 3288247"/>
                <a:gd name="connsiteX16" fmla="*/ 2263875 w 5070501"/>
                <a:gd name="connsiteY16" fmla="*/ 119840 h 3288247"/>
                <a:gd name="connsiteX17" fmla="*/ 2647118 w 5070501"/>
                <a:gd name="connsiteY17" fmla="*/ 0 h 3288247"/>
                <a:gd name="connsiteX18" fmla="*/ 2695416 w 5070501"/>
                <a:gd name="connsiteY18" fmla="*/ 165560 h 3288247"/>
                <a:gd name="connsiteX19" fmla="*/ 4458967 w 5070501"/>
                <a:gd name="connsiteY19" fmla="*/ 680900 h 3288247"/>
                <a:gd name="connsiteX20" fmla="*/ 5009097 w 5070501"/>
                <a:gd name="connsiteY20" fmla="*/ 1291242 h 3288247"/>
                <a:gd name="connsiteX21" fmla="*/ 5070501 w 5070501"/>
                <a:gd name="connsiteY21" fmla="*/ 1298860 h 3288247"/>
                <a:gd name="connsiteX22" fmla="*/ 4109358 w 5070501"/>
                <a:gd name="connsiteY22" fmla="*/ 1163055 h 3288247"/>
                <a:gd name="connsiteX23" fmla="*/ 2815092 w 5070501"/>
                <a:gd name="connsiteY23" fmla="*/ 761302 h 3288247"/>
                <a:gd name="connsiteX24" fmla="*/ 1816872 w 5070501"/>
                <a:gd name="connsiteY24" fmla="*/ 1081342 h 3288247"/>
                <a:gd name="connsiteX25" fmla="*/ 807952 w 5070501"/>
                <a:gd name="connsiteY25" fmla="*/ 2111591 h 3288247"/>
                <a:gd name="connsiteX26" fmla="*/ 543881 w 5070501"/>
                <a:gd name="connsiteY26" fmla="*/ 3288247 h 3288247"/>
                <a:gd name="connsiteX0" fmla="*/ 543881 w 5009097"/>
                <a:gd name="connsiteY0" fmla="*/ 3288247 h 3288247"/>
                <a:gd name="connsiteX1" fmla="*/ 0 w 5009097"/>
                <a:gd name="connsiteY1" fmla="*/ 3193505 h 3288247"/>
                <a:gd name="connsiteX2" fmla="*/ 185633 w 5009097"/>
                <a:gd name="connsiteY2" fmla="*/ 2374266 h 3288247"/>
                <a:gd name="connsiteX3" fmla="*/ 152902 w 5009097"/>
                <a:gd name="connsiteY3" fmla="*/ 2331944 h 3288247"/>
                <a:gd name="connsiteX4" fmla="*/ 225159 w 5009097"/>
                <a:gd name="connsiteY4" fmla="*/ 2067448 h 3288247"/>
                <a:gd name="connsiteX5" fmla="*/ 260875 w 5009097"/>
                <a:gd name="connsiteY5" fmla="*/ 2050403 h 3288247"/>
                <a:gd name="connsiteX6" fmla="*/ 1268232 w 5009097"/>
                <a:gd name="connsiteY6" fmla="*/ 647002 h 3288247"/>
                <a:gd name="connsiteX7" fmla="*/ 1481148 w 5009097"/>
                <a:gd name="connsiteY7" fmla="*/ 547251 h 3288247"/>
                <a:gd name="connsiteX8" fmla="*/ 1461087 w 5009097"/>
                <a:gd name="connsiteY8" fmla="*/ 432260 h 3288247"/>
                <a:gd name="connsiteX9" fmla="*/ 1656852 w 5009097"/>
                <a:gd name="connsiteY9" fmla="*/ 380302 h 3288247"/>
                <a:gd name="connsiteX10" fmla="*/ 1674225 w 5009097"/>
                <a:gd name="connsiteY10" fmla="*/ 481442 h 3288247"/>
                <a:gd name="connsiteX11" fmla="*/ 1801300 w 5009097"/>
                <a:gd name="connsiteY11" fmla="*/ 442651 h 3288247"/>
                <a:gd name="connsiteX12" fmla="*/ 1831779 w 5009097"/>
                <a:gd name="connsiteY12" fmla="*/ 393463 h 3288247"/>
                <a:gd name="connsiteX13" fmla="*/ 2067666 w 5009097"/>
                <a:gd name="connsiteY13" fmla="*/ 319342 h 3288247"/>
                <a:gd name="connsiteX14" fmla="*/ 2108121 w 5009097"/>
                <a:gd name="connsiteY14" fmla="*/ 352592 h 3288247"/>
                <a:gd name="connsiteX15" fmla="*/ 2304663 w 5009097"/>
                <a:gd name="connsiteY15" fmla="*/ 288171 h 3288247"/>
                <a:gd name="connsiteX16" fmla="*/ 2263875 w 5009097"/>
                <a:gd name="connsiteY16" fmla="*/ 119840 h 3288247"/>
                <a:gd name="connsiteX17" fmla="*/ 2647118 w 5009097"/>
                <a:gd name="connsiteY17" fmla="*/ 0 h 3288247"/>
                <a:gd name="connsiteX18" fmla="*/ 2695416 w 5009097"/>
                <a:gd name="connsiteY18" fmla="*/ 165560 h 3288247"/>
                <a:gd name="connsiteX19" fmla="*/ 4458967 w 5009097"/>
                <a:gd name="connsiteY19" fmla="*/ 680900 h 3288247"/>
                <a:gd name="connsiteX20" fmla="*/ 5009097 w 5009097"/>
                <a:gd name="connsiteY20" fmla="*/ 1291242 h 3288247"/>
                <a:gd name="connsiteX21" fmla="*/ 4109358 w 5009097"/>
                <a:gd name="connsiteY21" fmla="*/ 1163055 h 3288247"/>
                <a:gd name="connsiteX22" fmla="*/ 2815092 w 5009097"/>
                <a:gd name="connsiteY22" fmla="*/ 761302 h 3288247"/>
                <a:gd name="connsiteX23" fmla="*/ 1816872 w 5009097"/>
                <a:gd name="connsiteY23" fmla="*/ 1081342 h 3288247"/>
                <a:gd name="connsiteX24" fmla="*/ 807952 w 5009097"/>
                <a:gd name="connsiteY24" fmla="*/ 2111591 h 3288247"/>
                <a:gd name="connsiteX25" fmla="*/ 543881 w 5009097"/>
                <a:gd name="connsiteY25" fmla="*/ 3288247 h 3288247"/>
                <a:gd name="connsiteX0" fmla="*/ 543881 w 4458967"/>
                <a:gd name="connsiteY0" fmla="*/ 3288247 h 3288247"/>
                <a:gd name="connsiteX1" fmla="*/ 0 w 4458967"/>
                <a:gd name="connsiteY1" fmla="*/ 3193505 h 3288247"/>
                <a:gd name="connsiteX2" fmla="*/ 185633 w 4458967"/>
                <a:gd name="connsiteY2" fmla="*/ 2374266 h 3288247"/>
                <a:gd name="connsiteX3" fmla="*/ 152902 w 4458967"/>
                <a:gd name="connsiteY3" fmla="*/ 2331944 h 3288247"/>
                <a:gd name="connsiteX4" fmla="*/ 225159 w 4458967"/>
                <a:gd name="connsiteY4" fmla="*/ 2067448 h 3288247"/>
                <a:gd name="connsiteX5" fmla="*/ 260875 w 4458967"/>
                <a:gd name="connsiteY5" fmla="*/ 2050403 h 3288247"/>
                <a:gd name="connsiteX6" fmla="*/ 1268232 w 4458967"/>
                <a:gd name="connsiteY6" fmla="*/ 647002 h 3288247"/>
                <a:gd name="connsiteX7" fmla="*/ 1481148 w 4458967"/>
                <a:gd name="connsiteY7" fmla="*/ 547251 h 3288247"/>
                <a:gd name="connsiteX8" fmla="*/ 1461087 w 4458967"/>
                <a:gd name="connsiteY8" fmla="*/ 432260 h 3288247"/>
                <a:gd name="connsiteX9" fmla="*/ 1656852 w 4458967"/>
                <a:gd name="connsiteY9" fmla="*/ 380302 h 3288247"/>
                <a:gd name="connsiteX10" fmla="*/ 1674225 w 4458967"/>
                <a:gd name="connsiteY10" fmla="*/ 481442 h 3288247"/>
                <a:gd name="connsiteX11" fmla="*/ 1801300 w 4458967"/>
                <a:gd name="connsiteY11" fmla="*/ 442651 h 3288247"/>
                <a:gd name="connsiteX12" fmla="*/ 1831779 w 4458967"/>
                <a:gd name="connsiteY12" fmla="*/ 393463 h 3288247"/>
                <a:gd name="connsiteX13" fmla="*/ 2067666 w 4458967"/>
                <a:gd name="connsiteY13" fmla="*/ 319342 h 3288247"/>
                <a:gd name="connsiteX14" fmla="*/ 2108121 w 4458967"/>
                <a:gd name="connsiteY14" fmla="*/ 352592 h 3288247"/>
                <a:gd name="connsiteX15" fmla="*/ 2304663 w 4458967"/>
                <a:gd name="connsiteY15" fmla="*/ 288171 h 3288247"/>
                <a:gd name="connsiteX16" fmla="*/ 2263875 w 4458967"/>
                <a:gd name="connsiteY16" fmla="*/ 119840 h 3288247"/>
                <a:gd name="connsiteX17" fmla="*/ 2647118 w 4458967"/>
                <a:gd name="connsiteY17" fmla="*/ 0 h 3288247"/>
                <a:gd name="connsiteX18" fmla="*/ 2695416 w 4458967"/>
                <a:gd name="connsiteY18" fmla="*/ 165560 h 3288247"/>
                <a:gd name="connsiteX19" fmla="*/ 4458967 w 4458967"/>
                <a:gd name="connsiteY19" fmla="*/ 680900 h 3288247"/>
                <a:gd name="connsiteX20" fmla="*/ 4109358 w 4458967"/>
                <a:gd name="connsiteY20" fmla="*/ 1163055 h 3288247"/>
                <a:gd name="connsiteX21" fmla="*/ 2815092 w 4458967"/>
                <a:gd name="connsiteY21" fmla="*/ 761302 h 3288247"/>
                <a:gd name="connsiteX22" fmla="*/ 1816872 w 4458967"/>
                <a:gd name="connsiteY22" fmla="*/ 1081342 h 3288247"/>
                <a:gd name="connsiteX23" fmla="*/ 807952 w 4458967"/>
                <a:gd name="connsiteY23" fmla="*/ 2111591 h 3288247"/>
                <a:gd name="connsiteX24" fmla="*/ 543881 w 4458967"/>
                <a:gd name="connsiteY24" fmla="*/ 3288247 h 3288247"/>
                <a:gd name="connsiteX0" fmla="*/ 543881 w 4458967"/>
                <a:gd name="connsiteY0" fmla="*/ 3288247 h 3288247"/>
                <a:gd name="connsiteX1" fmla="*/ 0 w 4458967"/>
                <a:gd name="connsiteY1" fmla="*/ 3193505 h 3288247"/>
                <a:gd name="connsiteX2" fmla="*/ 185633 w 4458967"/>
                <a:gd name="connsiteY2" fmla="*/ 2374266 h 3288247"/>
                <a:gd name="connsiteX3" fmla="*/ 152902 w 4458967"/>
                <a:gd name="connsiteY3" fmla="*/ 2331944 h 3288247"/>
                <a:gd name="connsiteX4" fmla="*/ 225159 w 4458967"/>
                <a:gd name="connsiteY4" fmla="*/ 2067448 h 3288247"/>
                <a:gd name="connsiteX5" fmla="*/ 260875 w 4458967"/>
                <a:gd name="connsiteY5" fmla="*/ 2050403 h 3288247"/>
                <a:gd name="connsiteX6" fmla="*/ 1268232 w 4458967"/>
                <a:gd name="connsiteY6" fmla="*/ 647002 h 3288247"/>
                <a:gd name="connsiteX7" fmla="*/ 1481148 w 4458967"/>
                <a:gd name="connsiteY7" fmla="*/ 547251 h 3288247"/>
                <a:gd name="connsiteX8" fmla="*/ 1461087 w 4458967"/>
                <a:gd name="connsiteY8" fmla="*/ 432260 h 3288247"/>
                <a:gd name="connsiteX9" fmla="*/ 1656852 w 4458967"/>
                <a:gd name="connsiteY9" fmla="*/ 380302 h 3288247"/>
                <a:gd name="connsiteX10" fmla="*/ 1674225 w 4458967"/>
                <a:gd name="connsiteY10" fmla="*/ 481442 h 3288247"/>
                <a:gd name="connsiteX11" fmla="*/ 1801300 w 4458967"/>
                <a:gd name="connsiteY11" fmla="*/ 442651 h 3288247"/>
                <a:gd name="connsiteX12" fmla="*/ 1831779 w 4458967"/>
                <a:gd name="connsiteY12" fmla="*/ 393463 h 3288247"/>
                <a:gd name="connsiteX13" fmla="*/ 2067666 w 4458967"/>
                <a:gd name="connsiteY13" fmla="*/ 319342 h 3288247"/>
                <a:gd name="connsiteX14" fmla="*/ 2108121 w 4458967"/>
                <a:gd name="connsiteY14" fmla="*/ 352592 h 3288247"/>
                <a:gd name="connsiteX15" fmla="*/ 2304663 w 4458967"/>
                <a:gd name="connsiteY15" fmla="*/ 288171 h 3288247"/>
                <a:gd name="connsiteX16" fmla="*/ 2263875 w 4458967"/>
                <a:gd name="connsiteY16" fmla="*/ 119840 h 3288247"/>
                <a:gd name="connsiteX17" fmla="*/ 2647118 w 4458967"/>
                <a:gd name="connsiteY17" fmla="*/ 0 h 3288247"/>
                <a:gd name="connsiteX18" fmla="*/ 2695416 w 4458967"/>
                <a:gd name="connsiteY18" fmla="*/ 165560 h 3288247"/>
                <a:gd name="connsiteX19" fmla="*/ 4458967 w 4458967"/>
                <a:gd name="connsiteY19" fmla="*/ 680900 h 3288247"/>
                <a:gd name="connsiteX20" fmla="*/ 2815092 w 4458967"/>
                <a:gd name="connsiteY20" fmla="*/ 761302 h 3288247"/>
                <a:gd name="connsiteX21" fmla="*/ 1816872 w 4458967"/>
                <a:gd name="connsiteY21" fmla="*/ 1081342 h 3288247"/>
                <a:gd name="connsiteX22" fmla="*/ 807952 w 4458967"/>
                <a:gd name="connsiteY22" fmla="*/ 2111591 h 3288247"/>
                <a:gd name="connsiteX23" fmla="*/ 543881 w 4458967"/>
                <a:gd name="connsiteY23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1801300 w 2862337"/>
                <a:gd name="connsiteY11" fmla="*/ 442651 h 3288247"/>
                <a:gd name="connsiteX12" fmla="*/ 1831779 w 2862337"/>
                <a:gd name="connsiteY12" fmla="*/ 393463 h 3288247"/>
                <a:gd name="connsiteX13" fmla="*/ 2067666 w 2862337"/>
                <a:gd name="connsiteY13" fmla="*/ 319342 h 3288247"/>
                <a:gd name="connsiteX14" fmla="*/ 2108121 w 2862337"/>
                <a:gd name="connsiteY14" fmla="*/ 352592 h 3288247"/>
                <a:gd name="connsiteX15" fmla="*/ 2304663 w 2862337"/>
                <a:gd name="connsiteY15" fmla="*/ 288171 h 3288247"/>
                <a:gd name="connsiteX16" fmla="*/ 2263875 w 2862337"/>
                <a:gd name="connsiteY16" fmla="*/ 119840 h 3288247"/>
                <a:gd name="connsiteX17" fmla="*/ 2647118 w 2862337"/>
                <a:gd name="connsiteY17" fmla="*/ 0 h 3288247"/>
                <a:gd name="connsiteX18" fmla="*/ 2695416 w 2862337"/>
                <a:gd name="connsiteY18" fmla="*/ 165560 h 3288247"/>
                <a:gd name="connsiteX19" fmla="*/ 2815092 w 2862337"/>
                <a:gd name="connsiteY19" fmla="*/ 761302 h 3288247"/>
                <a:gd name="connsiteX20" fmla="*/ 1816872 w 2862337"/>
                <a:gd name="connsiteY20" fmla="*/ 1081342 h 3288247"/>
                <a:gd name="connsiteX21" fmla="*/ 807952 w 2862337"/>
                <a:gd name="connsiteY21" fmla="*/ 2111591 h 3288247"/>
                <a:gd name="connsiteX22" fmla="*/ 543881 w 2862337"/>
                <a:gd name="connsiteY22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1801300 w 2862337"/>
                <a:gd name="connsiteY11" fmla="*/ 442651 h 3288247"/>
                <a:gd name="connsiteX12" fmla="*/ 2067666 w 2862337"/>
                <a:gd name="connsiteY12" fmla="*/ 319342 h 3288247"/>
                <a:gd name="connsiteX13" fmla="*/ 2108121 w 2862337"/>
                <a:gd name="connsiteY13" fmla="*/ 352592 h 3288247"/>
                <a:gd name="connsiteX14" fmla="*/ 2304663 w 2862337"/>
                <a:gd name="connsiteY14" fmla="*/ 288171 h 3288247"/>
                <a:gd name="connsiteX15" fmla="*/ 2263875 w 2862337"/>
                <a:gd name="connsiteY15" fmla="*/ 119840 h 3288247"/>
                <a:gd name="connsiteX16" fmla="*/ 2647118 w 2862337"/>
                <a:gd name="connsiteY16" fmla="*/ 0 h 3288247"/>
                <a:gd name="connsiteX17" fmla="*/ 2695416 w 2862337"/>
                <a:gd name="connsiteY17" fmla="*/ 165560 h 3288247"/>
                <a:gd name="connsiteX18" fmla="*/ 2815092 w 2862337"/>
                <a:gd name="connsiteY18" fmla="*/ 761302 h 3288247"/>
                <a:gd name="connsiteX19" fmla="*/ 1816872 w 2862337"/>
                <a:gd name="connsiteY19" fmla="*/ 1081342 h 3288247"/>
                <a:gd name="connsiteX20" fmla="*/ 807952 w 2862337"/>
                <a:gd name="connsiteY20" fmla="*/ 2111591 h 3288247"/>
                <a:gd name="connsiteX21" fmla="*/ 543881 w 2862337"/>
                <a:gd name="connsiteY21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067666 w 2862337"/>
                <a:gd name="connsiteY11" fmla="*/ 319342 h 3288247"/>
                <a:gd name="connsiteX12" fmla="*/ 2108121 w 2862337"/>
                <a:gd name="connsiteY12" fmla="*/ 352592 h 3288247"/>
                <a:gd name="connsiteX13" fmla="*/ 2304663 w 2862337"/>
                <a:gd name="connsiteY13" fmla="*/ 288171 h 3288247"/>
                <a:gd name="connsiteX14" fmla="*/ 2263875 w 2862337"/>
                <a:gd name="connsiteY14" fmla="*/ 119840 h 3288247"/>
                <a:gd name="connsiteX15" fmla="*/ 2647118 w 2862337"/>
                <a:gd name="connsiteY15" fmla="*/ 0 h 3288247"/>
                <a:gd name="connsiteX16" fmla="*/ 2695416 w 2862337"/>
                <a:gd name="connsiteY16" fmla="*/ 165560 h 3288247"/>
                <a:gd name="connsiteX17" fmla="*/ 2815092 w 2862337"/>
                <a:gd name="connsiteY17" fmla="*/ 761302 h 3288247"/>
                <a:gd name="connsiteX18" fmla="*/ 1816872 w 2862337"/>
                <a:gd name="connsiteY18" fmla="*/ 1081342 h 3288247"/>
                <a:gd name="connsiteX19" fmla="*/ 807952 w 2862337"/>
                <a:gd name="connsiteY19" fmla="*/ 2111591 h 3288247"/>
                <a:gd name="connsiteX20" fmla="*/ 543881 w 2862337"/>
                <a:gd name="connsiteY20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067666 w 2862337"/>
                <a:gd name="connsiteY11" fmla="*/ 319342 h 3288247"/>
                <a:gd name="connsiteX12" fmla="*/ 2304663 w 2862337"/>
                <a:gd name="connsiteY12" fmla="*/ 288171 h 3288247"/>
                <a:gd name="connsiteX13" fmla="*/ 2263875 w 2862337"/>
                <a:gd name="connsiteY13" fmla="*/ 119840 h 3288247"/>
                <a:gd name="connsiteX14" fmla="*/ 2647118 w 2862337"/>
                <a:gd name="connsiteY14" fmla="*/ 0 h 3288247"/>
                <a:gd name="connsiteX15" fmla="*/ 2695416 w 2862337"/>
                <a:gd name="connsiteY15" fmla="*/ 165560 h 3288247"/>
                <a:gd name="connsiteX16" fmla="*/ 2815092 w 2862337"/>
                <a:gd name="connsiteY16" fmla="*/ 761302 h 3288247"/>
                <a:gd name="connsiteX17" fmla="*/ 1816872 w 2862337"/>
                <a:gd name="connsiteY17" fmla="*/ 1081342 h 3288247"/>
                <a:gd name="connsiteX18" fmla="*/ 807952 w 2862337"/>
                <a:gd name="connsiteY18" fmla="*/ 2111591 h 3288247"/>
                <a:gd name="connsiteX19" fmla="*/ 543881 w 2862337"/>
                <a:gd name="connsiteY19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304663 w 2862337"/>
                <a:gd name="connsiteY11" fmla="*/ 288171 h 3288247"/>
                <a:gd name="connsiteX12" fmla="*/ 2263875 w 2862337"/>
                <a:gd name="connsiteY12" fmla="*/ 119840 h 3288247"/>
                <a:gd name="connsiteX13" fmla="*/ 2647118 w 2862337"/>
                <a:gd name="connsiteY13" fmla="*/ 0 h 3288247"/>
                <a:gd name="connsiteX14" fmla="*/ 2695416 w 2862337"/>
                <a:gd name="connsiteY14" fmla="*/ 165560 h 3288247"/>
                <a:gd name="connsiteX15" fmla="*/ 2815092 w 2862337"/>
                <a:gd name="connsiteY15" fmla="*/ 761302 h 3288247"/>
                <a:gd name="connsiteX16" fmla="*/ 1816872 w 2862337"/>
                <a:gd name="connsiteY16" fmla="*/ 1081342 h 3288247"/>
                <a:gd name="connsiteX17" fmla="*/ 807952 w 2862337"/>
                <a:gd name="connsiteY17" fmla="*/ 2111591 h 3288247"/>
                <a:gd name="connsiteX18" fmla="*/ 543881 w 2862337"/>
                <a:gd name="connsiteY18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263875 w 2862337"/>
                <a:gd name="connsiteY11" fmla="*/ 119840 h 3288247"/>
                <a:gd name="connsiteX12" fmla="*/ 2647118 w 2862337"/>
                <a:gd name="connsiteY12" fmla="*/ 0 h 3288247"/>
                <a:gd name="connsiteX13" fmla="*/ 2695416 w 2862337"/>
                <a:gd name="connsiteY13" fmla="*/ 165560 h 3288247"/>
                <a:gd name="connsiteX14" fmla="*/ 2815092 w 2862337"/>
                <a:gd name="connsiteY14" fmla="*/ 761302 h 3288247"/>
                <a:gd name="connsiteX15" fmla="*/ 1816872 w 2862337"/>
                <a:gd name="connsiteY15" fmla="*/ 1081342 h 3288247"/>
                <a:gd name="connsiteX16" fmla="*/ 807952 w 2862337"/>
                <a:gd name="connsiteY16" fmla="*/ 2111591 h 3288247"/>
                <a:gd name="connsiteX17" fmla="*/ 543881 w 2862337"/>
                <a:gd name="connsiteY17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647118 w 2862337"/>
                <a:gd name="connsiteY11" fmla="*/ 0 h 3288247"/>
                <a:gd name="connsiteX12" fmla="*/ 2695416 w 2862337"/>
                <a:gd name="connsiteY12" fmla="*/ 165560 h 3288247"/>
                <a:gd name="connsiteX13" fmla="*/ 2815092 w 2862337"/>
                <a:gd name="connsiteY13" fmla="*/ 761302 h 3288247"/>
                <a:gd name="connsiteX14" fmla="*/ 1816872 w 2862337"/>
                <a:gd name="connsiteY14" fmla="*/ 1081342 h 3288247"/>
                <a:gd name="connsiteX15" fmla="*/ 807952 w 2862337"/>
                <a:gd name="connsiteY15" fmla="*/ 2111591 h 3288247"/>
                <a:gd name="connsiteX16" fmla="*/ 543881 w 2862337"/>
                <a:gd name="connsiteY16" fmla="*/ 3288247 h 3288247"/>
                <a:gd name="connsiteX0" fmla="*/ 543881 w 2862337"/>
                <a:gd name="connsiteY0" fmla="*/ 3122687 h 3122687"/>
                <a:gd name="connsiteX1" fmla="*/ 0 w 2862337"/>
                <a:gd name="connsiteY1" fmla="*/ 3027945 h 3122687"/>
                <a:gd name="connsiteX2" fmla="*/ 185633 w 2862337"/>
                <a:gd name="connsiteY2" fmla="*/ 2208706 h 3122687"/>
                <a:gd name="connsiteX3" fmla="*/ 152902 w 2862337"/>
                <a:gd name="connsiteY3" fmla="*/ 2166384 h 3122687"/>
                <a:gd name="connsiteX4" fmla="*/ 225159 w 2862337"/>
                <a:gd name="connsiteY4" fmla="*/ 1901888 h 3122687"/>
                <a:gd name="connsiteX5" fmla="*/ 260875 w 2862337"/>
                <a:gd name="connsiteY5" fmla="*/ 1884843 h 3122687"/>
                <a:gd name="connsiteX6" fmla="*/ 1268232 w 2862337"/>
                <a:gd name="connsiteY6" fmla="*/ 481442 h 3122687"/>
                <a:gd name="connsiteX7" fmla="*/ 1481148 w 2862337"/>
                <a:gd name="connsiteY7" fmla="*/ 381691 h 3122687"/>
                <a:gd name="connsiteX8" fmla="*/ 1461087 w 2862337"/>
                <a:gd name="connsiteY8" fmla="*/ 266700 h 3122687"/>
                <a:gd name="connsiteX9" fmla="*/ 1656852 w 2862337"/>
                <a:gd name="connsiteY9" fmla="*/ 214742 h 3122687"/>
                <a:gd name="connsiteX10" fmla="*/ 1674225 w 2862337"/>
                <a:gd name="connsiteY10" fmla="*/ 315882 h 3122687"/>
                <a:gd name="connsiteX11" fmla="*/ 2695416 w 2862337"/>
                <a:gd name="connsiteY11" fmla="*/ 0 h 3122687"/>
                <a:gd name="connsiteX12" fmla="*/ 2815092 w 2862337"/>
                <a:gd name="connsiteY12" fmla="*/ 595742 h 3122687"/>
                <a:gd name="connsiteX13" fmla="*/ 1816872 w 2862337"/>
                <a:gd name="connsiteY13" fmla="*/ 915782 h 3122687"/>
                <a:gd name="connsiteX14" fmla="*/ 807952 w 2862337"/>
                <a:gd name="connsiteY14" fmla="*/ 1946031 h 3122687"/>
                <a:gd name="connsiteX15" fmla="*/ 543881 w 2862337"/>
                <a:gd name="connsiteY15" fmla="*/ 3122687 h 3122687"/>
                <a:gd name="connsiteX0" fmla="*/ 543881 w 2815092"/>
                <a:gd name="connsiteY0" fmla="*/ 2907945 h 2907945"/>
                <a:gd name="connsiteX1" fmla="*/ 0 w 2815092"/>
                <a:gd name="connsiteY1" fmla="*/ 2813203 h 2907945"/>
                <a:gd name="connsiteX2" fmla="*/ 185633 w 2815092"/>
                <a:gd name="connsiteY2" fmla="*/ 1993964 h 2907945"/>
                <a:gd name="connsiteX3" fmla="*/ 152902 w 2815092"/>
                <a:gd name="connsiteY3" fmla="*/ 1951642 h 2907945"/>
                <a:gd name="connsiteX4" fmla="*/ 225159 w 2815092"/>
                <a:gd name="connsiteY4" fmla="*/ 1687146 h 2907945"/>
                <a:gd name="connsiteX5" fmla="*/ 260875 w 2815092"/>
                <a:gd name="connsiteY5" fmla="*/ 1670101 h 2907945"/>
                <a:gd name="connsiteX6" fmla="*/ 1268232 w 2815092"/>
                <a:gd name="connsiteY6" fmla="*/ 266700 h 2907945"/>
                <a:gd name="connsiteX7" fmla="*/ 1481148 w 2815092"/>
                <a:gd name="connsiteY7" fmla="*/ 166949 h 2907945"/>
                <a:gd name="connsiteX8" fmla="*/ 1461087 w 2815092"/>
                <a:gd name="connsiteY8" fmla="*/ 51958 h 2907945"/>
                <a:gd name="connsiteX9" fmla="*/ 1656852 w 2815092"/>
                <a:gd name="connsiteY9" fmla="*/ 0 h 2907945"/>
                <a:gd name="connsiteX10" fmla="*/ 1674225 w 2815092"/>
                <a:gd name="connsiteY10" fmla="*/ 101140 h 2907945"/>
                <a:gd name="connsiteX11" fmla="*/ 2815092 w 2815092"/>
                <a:gd name="connsiteY11" fmla="*/ 381000 h 2907945"/>
                <a:gd name="connsiteX12" fmla="*/ 1816872 w 2815092"/>
                <a:gd name="connsiteY12" fmla="*/ 701040 h 2907945"/>
                <a:gd name="connsiteX13" fmla="*/ 807952 w 2815092"/>
                <a:gd name="connsiteY13" fmla="*/ 1731289 h 2907945"/>
                <a:gd name="connsiteX14" fmla="*/ 543881 w 2815092"/>
                <a:gd name="connsiteY14" fmla="*/ 2907945 h 2907945"/>
                <a:gd name="connsiteX0" fmla="*/ 543881 w 1816872"/>
                <a:gd name="connsiteY0" fmla="*/ 2907945 h 2907945"/>
                <a:gd name="connsiteX1" fmla="*/ 0 w 1816872"/>
                <a:gd name="connsiteY1" fmla="*/ 2813203 h 2907945"/>
                <a:gd name="connsiteX2" fmla="*/ 185633 w 1816872"/>
                <a:gd name="connsiteY2" fmla="*/ 1993964 h 2907945"/>
                <a:gd name="connsiteX3" fmla="*/ 152902 w 1816872"/>
                <a:gd name="connsiteY3" fmla="*/ 1951642 h 2907945"/>
                <a:gd name="connsiteX4" fmla="*/ 225159 w 1816872"/>
                <a:gd name="connsiteY4" fmla="*/ 1687146 h 2907945"/>
                <a:gd name="connsiteX5" fmla="*/ 260875 w 1816872"/>
                <a:gd name="connsiteY5" fmla="*/ 1670101 h 2907945"/>
                <a:gd name="connsiteX6" fmla="*/ 1268232 w 1816872"/>
                <a:gd name="connsiteY6" fmla="*/ 266700 h 2907945"/>
                <a:gd name="connsiteX7" fmla="*/ 1481148 w 1816872"/>
                <a:gd name="connsiteY7" fmla="*/ 166949 h 2907945"/>
                <a:gd name="connsiteX8" fmla="*/ 1461087 w 1816872"/>
                <a:gd name="connsiteY8" fmla="*/ 51958 h 2907945"/>
                <a:gd name="connsiteX9" fmla="*/ 1656852 w 1816872"/>
                <a:gd name="connsiteY9" fmla="*/ 0 h 2907945"/>
                <a:gd name="connsiteX10" fmla="*/ 1674225 w 1816872"/>
                <a:gd name="connsiteY10" fmla="*/ 101140 h 2907945"/>
                <a:gd name="connsiteX11" fmla="*/ 1816872 w 1816872"/>
                <a:gd name="connsiteY11" fmla="*/ 701040 h 2907945"/>
                <a:gd name="connsiteX12" fmla="*/ 807952 w 1816872"/>
                <a:gd name="connsiteY12" fmla="*/ 1731289 h 2907945"/>
                <a:gd name="connsiteX13" fmla="*/ 543881 w 1816872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674225 w 1826875"/>
                <a:gd name="connsiteY10" fmla="*/ 101140 h 2907945"/>
                <a:gd name="connsiteX11" fmla="*/ 1826875 w 1826875"/>
                <a:gd name="connsiteY11" fmla="*/ 684877 h 2907945"/>
                <a:gd name="connsiteX12" fmla="*/ 807952 w 1826875"/>
                <a:gd name="connsiteY12" fmla="*/ 1731289 h 2907945"/>
                <a:gd name="connsiteX13" fmla="*/ 543881 w 1826875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674225 w 1826875"/>
                <a:gd name="connsiteY10" fmla="*/ 101140 h 2907945"/>
                <a:gd name="connsiteX11" fmla="*/ 1826875 w 1826875"/>
                <a:gd name="connsiteY11" fmla="*/ 684877 h 2907945"/>
                <a:gd name="connsiteX12" fmla="*/ 824695 w 1826875"/>
                <a:gd name="connsiteY12" fmla="*/ 1731288 h 2907945"/>
                <a:gd name="connsiteX13" fmla="*/ 543881 w 1826875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767202 w 1826875"/>
                <a:gd name="connsiteY10" fmla="*/ 56171 h 2907945"/>
                <a:gd name="connsiteX11" fmla="*/ 1826875 w 1826875"/>
                <a:gd name="connsiteY11" fmla="*/ 684877 h 2907945"/>
                <a:gd name="connsiteX12" fmla="*/ 824695 w 1826875"/>
                <a:gd name="connsiteY12" fmla="*/ 1731288 h 2907945"/>
                <a:gd name="connsiteX13" fmla="*/ 543881 w 1826875"/>
                <a:gd name="connsiteY13" fmla="*/ 2907945 h 2907945"/>
                <a:gd name="connsiteX0" fmla="*/ 543881 w 1888861"/>
                <a:gd name="connsiteY0" fmla="*/ 2907945 h 2907945"/>
                <a:gd name="connsiteX1" fmla="*/ 0 w 1888861"/>
                <a:gd name="connsiteY1" fmla="*/ 2813203 h 2907945"/>
                <a:gd name="connsiteX2" fmla="*/ 185633 w 1888861"/>
                <a:gd name="connsiteY2" fmla="*/ 1993964 h 2907945"/>
                <a:gd name="connsiteX3" fmla="*/ 152902 w 1888861"/>
                <a:gd name="connsiteY3" fmla="*/ 1951642 h 2907945"/>
                <a:gd name="connsiteX4" fmla="*/ 225159 w 1888861"/>
                <a:gd name="connsiteY4" fmla="*/ 1687146 h 2907945"/>
                <a:gd name="connsiteX5" fmla="*/ 260875 w 1888861"/>
                <a:gd name="connsiteY5" fmla="*/ 1670101 h 2907945"/>
                <a:gd name="connsiteX6" fmla="*/ 1268232 w 1888861"/>
                <a:gd name="connsiteY6" fmla="*/ 266700 h 2907945"/>
                <a:gd name="connsiteX7" fmla="*/ 1481148 w 1888861"/>
                <a:gd name="connsiteY7" fmla="*/ 166949 h 2907945"/>
                <a:gd name="connsiteX8" fmla="*/ 1461087 w 1888861"/>
                <a:gd name="connsiteY8" fmla="*/ 51958 h 2907945"/>
                <a:gd name="connsiteX9" fmla="*/ 1656852 w 1888861"/>
                <a:gd name="connsiteY9" fmla="*/ 0 h 2907945"/>
                <a:gd name="connsiteX10" fmla="*/ 1767202 w 1888861"/>
                <a:gd name="connsiteY10" fmla="*/ 56171 h 2907945"/>
                <a:gd name="connsiteX11" fmla="*/ 1888861 w 1888861"/>
                <a:gd name="connsiteY11" fmla="*/ 662394 h 2907945"/>
                <a:gd name="connsiteX12" fmla="*/ 824695 w 1888861"/>
                <a:gd name="connsiteY12" fmla="*/ 1731288 h 2907945"/>
                <a:gd name="connsiteX13" fmla="*/ 543881 w 1888861"/>
                <a:gd name="connsiteY13" fmla="*/ 2907945 h 2907945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461087 w 1888861"/>
                <a:gd name="connsiteY8" fmla="*/ 113789 h 2969776"/>
                <a:gd name="connsiteX9" fmla="*/ 1724003 w 1888861"/>
                <a:gd name="connsiteY9" fmla="*/ 0 h 2969776"/>
                <a:gd name="connsiteX10" fmla="*/ 1767202 w 1888861"/>
                <a:gd name="connsiteY10" fmla="*/ 118002 h 2969776"/>
                <a:gd name="connsiteX11" fmla="*/ 1888861 w 1888861"/>
                <a:gd name="connsiteY11" fmla="*/ 724225 h 2969776"/>
                <a:gd name="connsiteX12" fmla="*/ 824695 w 1888861"/>
                <a:gd name="connsiteY12" fmla="*/ 1793119 h 2969776"/>
                <a:gd name="connsiteX13" fmla="*/ 543881 w 1888861"/>
                <a:gd name="connsiteY13" fmla="*/ 2969776 h 2969776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533404 w 1888861"/>
                <a:gd name="connsiteY8" fmla="*/ 68821 h 2969776"/>
                <a:gd name="connsiteX9" fmla="*/ 1724003 w 1888861"/>
                <a:gd name="connsiteY9" fmla="*/ 0 h 2969776"/>
                <a:gd name="connsiteX10" fmla="*/ 1767202 w 1888861"/>
                <a:gd name="connsiteY10" fmla="*/ 118002 h 2969776"/>
                <a:gd name="connsiteX11" fmla="*/ 1888861 w 1888861"/>
                <a:gd name="connsiteY11" fmla="*/ 724225 h 2969776"/>
                <a:gd name="connsiteX12" fmla="*/ 824695 w 1888861"/>
                <a:gd name="connsiteY12" fmla="*/ 1793119 h 2969776"/>
                <a:gd name="connsiteX13" fmla="*/ 543881 w 1888861"/>
                <a:gd name="connsiteY13" fmla="*/ 2969776 h 2969776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533404 w 1888861"/>
                <a:gd name="connsiteY8" fmla="*/ 68821 h 2969776"/>
                <a:gd name="connsiteX9" fmla="*/ 1724003 w 1888861"/>
                <a:gd name="connsiteY9" fmla="*/ 0 h 2969776"/>
                <a:gd name="connsiteX10" fmla="*/ 1888861 w 1888861"/>
                <a:gd name="connsiteY10" fmla="*/ 724225 h 2969776"/>
                <a:gd name="connsiteX11" fmla="*/ 824695 w 1888861"/>
                <a:gd name="connsiteY11" fmla="*/ 1793119 h 2969776"/>
                <a:gd name="connsiteX12" fmla="*/ 543881 w 1888861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481148 w 1909523"/>
                <a:gd name="connsiteY7" fmla="*/ 228780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563795 w 1909523"/>
                <a:gd name="connsiteY7" fmla="*/ 195055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563795 w 1909523"/>
                <a:gd name="connsiteY7" fmla="*/ 178192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3068 w 1909523"/>
                <a:gd name="connsiteY6" fmla="*/ 311667 h 2969776"/>
                <a:gd name="connsiteX7" fmla="*/ 1563795 w 1909523"/>
                <a:gd name="connsiteY7" fmla="*/ 178192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69699 w 1935341"/>
                <a:gd name="connsiteY0" fmla="*/ 2969776 h 2969776"/>
                <a:gd name="connsiteX1" fmla="*/ 0 w 1935341"/>
                <a:gd name="connsiteY1" fmla="*/ 2875036 h 2969776"/>
                <a:gd name="connsiteX2" fmla="*/ 211451 w 1935341"/>
                <a:gd name="connsiteY2" fmla="*/ 2055795 h 2969776"/>
                <a:gd name="connsiteX3" fmla="*/ 178720 w 1935341"/>
                <a:gd name="connsiteY3" fmla="*/ 2013473 h 2969776"/>
                <a:gd name="connsiteX4" fmla="*/ 250977 w 1935341"/>
                <a:gd name="connsiteY4" fmla="*/ 1748977 h 2969776"/>
                <a:gd name="connsiteX5" fmla="*/ 286693 w 1935341"/>
                <a:gd name="connsiteY5" fmla="*/ 1731932 h 2969776"/>
                <a:gd name="connsiteX6" fmla="*/ 1288886 w 1935341"/>
                <a:gd name="connsiteY6" fmla="*/ 311667 h 2969776"/>
                <a:gd name="connsiteX7" fmla="*/ 1589613 w 1935341"/>
                <a:gd name="connsiteY7" fmla="*/ 178192 h 2969776"/>
                <a:gd name="connsiteX8" fmla="*/ 1559222 w 1935341"/>
                <a:gd name="connsiteY8" fmla="*/ 68821 h 2969776"/>
                <a:gd name="connsiteX9" fmla="*/ 1749821 w 1935341"/>
                <a:gd name="connsiteY9" fmla="*/ 0 h 2969776"/>
                <a:gd name="connsiteX10" fmla="*/ 1935341 w 1935341"/>
                <a:gd name="connsiteY10" fmla="*/ 724225 h 2969776"/>
                <a:gd name="connsiteX11" fmla="*/ 850513 w 1935341"/>
                <a:gd name="connsiteY11" fmla="*/ 1793119 h 2969776"/>
                <a:gd name="connsiteX12" fmla="*/ 569699 w 1935341"/>
                <a:gd name="connsiteY12" fmla="*/ 2969776 h 2969776"/>
                <a:gd name="connsiteX0" fmla="*/ 585190 w 1950832"/>
                <a:gd name="connsiteY0" fmla="*/ 2969776 h 2969776"/>
                <a:gd name="connsiteX1" fmla="*/ 0 w 1950832"/>
                <a:gd name="connsiteY1" fmla="*/ 2869408 h 2969776"/>
                <a:gd name="connsiteX2" fmla="*/ 226942 w 1950832"/>
                <a:gd name="connsiteY2" fmla="*/ 2055795 h 2969776"/>
                <a:gd name="connsiteX3" fmla="*/ 194211 w 1950832"/>
                <a:gd name="connsiteY3" fmla="*/ 2013473 h 2969776"/>
                <a:gd name="connsiteX4" fmla="*/ 266468 w 1950832"/>
                <a:gd name="connsiteY4" fmla="*/ 1748977 h 2969776"/>
                <a:gd name="connsiteX5" fmla="*/ 302184 w 1950832"/>
                <a:gd name="connsiteY5" fmla="*/ 1731932 h 2969776"/>
                <a:gd name="connsiteX6" fmla="*/ 1304377 w 1950832"/>
                <a:gd name="connsiteY6" fmla="*/ 311667 h 2969776"/>
                <a:gd name="connsiteX7" fmla="*/ 1605104 w 1950832"/>
                <a:gd name="connsiteY7" fmla="*/ 178192 h 2969776"/>
                <a:gd name="connsiteX8" fmla="*/ 1574713 w 1950832"/>
                <a:gd name="connsiteY8" fmla="*/ 68821 h 2969776"/>
                <a:gd name="connsiteX9" fmla="*/ 1765312 w 1950832"/>
                <a:gd name="connsiteY9" fmla="*/ 0 h 2969776"/>
                <a:gd name="connsiteX10" fmla="*/ 1950832 w 1950832"/>
                <a:gd name="connsiteY10" fmla="*/ 724225 h 2969776"/>
                <a:gd name="connsiteX11" fmla="*/ 866004 w 1950832"/>
                <a:gd name="connsiteY11" fmla="*/ 1793119 h 2969776"/>
                <a:gd name="connsiteX12" fmla="*/ 585190 w 1950832"/>
                <a:gd name="connsiteY12" fmla="*/ 2969776 h 2969776"/>
                <a:gd name="connsiteX0" fmla="*/ 595517 w 1950832"/>
                <a:gd name="connsiteY0" fmla="*/ 2986660 h 2986660"/>
                <a:gd name="connsiteX1" fmla="*/ 0 w 1950832"/>
                <a:gd name="connsiteY1" fmla="*/ 2869408 h 2986660"/>
                <a:gd name="connsiteX2" fmla="*/ 226942 w 1950832"/>
                <a:gd name="connsiteY2" fmla="*/ 2055795 h 2986660"/>
                <a:gd name="connsiteX3" fmla="*/ 194211 w 1950832"/>
                <a:gd name="connsiteY3" fmla="*/ 2013473 h 2986660"/>
                <a:gd name="connsiteX4" fmla="*/ 266468 w 1950832"/>
                <a:gd name="connsiteY4" fmla="*/ 1748977 h 2986660"/>
                <a:gd name="connsiteX5" fmla="*/ 302184 w 1950832"/>
                <a:gd name="connsiteY5" fmla="*/ 1731932 h 2986660"/>
                <a:gd name="connsiteX6" fmla="*/ 1304377 w 1950832"/>
                <a:gd name="connsiteY6" fmla="*/ 311667 h 2986660"/>
                <a:gd name="connsiteX7" fmla="*/ 1605104 w 1950832"/>
                <a:gd name="connsiteY7" fmla="*/ 178192 h 2986660"/>
                <a:gd name="connsiteX8" fmla="*/ 1574713 w 1950832"/>
                <a:gd name="connsiteY8" fmla="*/ 68821 h 2986660"/>
                <a:gd name="connsiteX9" fmla="*/ 1765312 w 1950832"/>
                <a:gd name="connsiteY9" fmla="*/ 0 h 2986660"/>
                <a:gd name="connsiteX10" fmla="*/ 1950832 w 1950832"/>
                <a:gd name="connsiteY10" fmla="*/ 724225 h 2986660"/>
                <a:gd name="connsiteX11" fmla="*/ 866004 w 1950832"/>
                <a:gd name="connsiteY11" fmla="*/ 1793119 h 2986660"/>
                <a:gd name="connsiteX12" fmla="*/ 595517 w 1950832"/>
                <a:gd name="connsiteY12" fmla="*/ 2986660 h 2986660"/>
                <a:gd name="connsiteX0" fmla="*/ 802063 w 2157378"/>
                <a:gd name="connsiteY0" fmla="*/ 2986660 h 2986660"/>
                <a:gd name="connsiteX1" fmla="*/ 0 w 2157378"/>
                <a:gd name="connsiteY1" fmla="*/ 2880664 h 2986660"/>
                <a:gd name="connsiteX2" fmla="*/ 433488 w 2157378"/>
                <a:gd name="connsiteY2" fmla="*/ 2055795 h 2986660"/>
                <a:gd name="connsiteX3" fmla="*/ 400757 w 2157378"/>
                <a:gd name="connsiteY3" fmla="*/ 2013473 h 2986660"/>
                <a:gd name="connsiteX4" fmla="*/ 473014 w 2157378"/>
                <a:gd name="connsiteY4" fmla="*/ 1748977 h 2986660"/>
                <a:gd name="connsiteX5" fmla="*/ 508730 w 2157378"/>
                <a:gd name="connsiteY5" fmla="*/ 1731932 h 2986660"/>
                <a:gd name="connsiteX6" fmla="*/ 1510923 w 2157378"/>
                <a:gd name="connsiteY6" fmla="*/ 311667 h 2986660"/>
                <a:gd name="connsiteX7" fmla="*/ 1811650 w 2157378"/>
                <a:gd name="connsiteY7" fmla="*/ 178192 h 2986660"/>
                <a:gd name="connsiteX8" fmla="*/ 1781259 w 2157378"/>
                <a:gd name="connsiteY8" fmla="*/ 68821 h 2986660"/>
                <a:gd name="connsiteX9" fmla="*/ 1971858 w 2157378"/>
                <a:gd name="connsiteY9" fmla="*/ 0 h 2986660"/>
                <a:gd name="connsiteX10" fmla="*/ 2157378 w 2157378"/>
                <a:gd name="connsiteY10" fmla="*/ 724225 h 2986660"/>
                <a:gd name="connsiteX11" fmla="*/ 1072550 w 2157378"/>
                <a:gd name="connsiteY11" fmla="*/ 1793119 h 2986660"/>
                <a:gd name="connsiteX12" fmla="*/ 802063 w 2157378"/>
                <a:gd name="connsiteY12" fmla="*/ 2986660 h 2986660"/>
                <a:gd name="connsiteX0" fmla="*/ 401306 w 1756621"/>
                <a:gd name="connsiteY0" fmla="*/ 2986660 h 2986660"/>
                <a:gd name="connsiteX1" fmla="*/ 141427 w 1756621"/>
                <a:gd name="connsiteY1" fmla="*/ 2638665 h 2986660"/>
                <a:gd name="connsiteX2" fmla="*/ 32731 w 1756621"/>
                <a:gd name="connsiteY2" fmla="*/ 2055795 h 2986660"/>
                <a:gd name="connsiteX3" fmla="*/ 0 w 1756621"/>
                <a:gd name="connsiteY3" fmla="*/ 2013473 h 2986660"/>
                <a:gd name="connsiteX4" fmla="*/ 72257 w 1756621"/>
                <a:gd name="connsiteY4" fmla="*/ 1748977 h 2986660"/>
                <a:gd name="connsiteX5" fmla="*/ 107973 w 1756621"/>
                <a:gd name="connsiteY5" fmla="*/ 1731932 h 2986660"/>
                <a:gd name="connsiteX6" fmla="*/ 1110166 w 1756621"/>
                <a:gd name="connsiteY6" fmla="*/ 311667 h 2986660"/>
                <a:gd name="connsiteX7" fmla="*/ 1410893 w 1756621"/>
                <a:gd name="connsiteY7" fmla="*/ 178192 h 2986660"/>
                <a:gd name="connsiteX8" fmla="*/ 1380502 w 1756621"/>
                <a:gd name="connsiteY8" fmla="*/ 68821 h 2986660"/>
                <a:gd name="connsiteX9" fmla="*/ 1571101 w 1756621"/>
                <a:gd name="connsiteY9" fmla="*/ 0 h 2986660"/>
                <a:gd name="connsiteX10" fmla="*/ 1756621 w 1756621"/>
                <a:gd name="connsiteY10" fmla="*/ 724225 h 2986660"/>
                <a:gd name="connsiteX11" fmla="*/ 671793 w 1756621"/>
                <a:gd name="connsiteY11" fmla="*/ 1793119 h 2986660"/>
                <a:gd name="connsiteX12" fmla="*/ 401306 w 1756621"/>
                <a:gd name="connsiteY12" fmla="*/ 2986660 h 2986660"/>
                <a:gd name="connsiteX0" fmla="*/ 600680 w 1955995"/>
                <a:gd name="connsiteY0" fmla="*/ 2986660 h 2986660"/>
                <a:gd name="connsiteX1" fmla="*/ 0 w 1955995"/>
                <a:gd name="connsiteY1" fmla="*/ 2875036 h 2986660"/>
                <a:gd name="connsiteX2" fmla="*/ 232105 w 1955995"/>
                <a:gd name="connsiteY2" fmla="*/ 2055795 h 2986660"/>
                <a:gd name="connsiteX3" fmla="*/ 199374 w 1955995"/>
                <a:gd name="connsiteY3" fmla="*/ 2013473 h 2986660"/>
                <a:gd name="connsiteX4" fmla="*/ 271631 w 1955995"/>
                <a:gd name="connsiteY4" fmla="*/ 1748977 h 2986660"/>
                <a:gd name="connsiteX5" fmla="*/ 307347 w 1955995"/>
                <a:gd name="connsiteY5" fmla="*/ 1731932 h 2986660"/>
                <a:gd name="connsiteX6" fmla="*/ 1309540 w 1955995"/>
                <a:gd name="connsiteY6" fmla="*/ 311667 h 2986660"/>
                <a:gd name="connsiteX7" fmla="*/ 1610267 w 1955995"/>
                <a:gd name="connsiteY7" fmla="*/ 178192 h 2986660"/>
                <a:gd name="connsiteX8" fmla="*/ 1579876 w 1955995"/>
                <a:gd name="connsiteY8" fmla="*/ 68821 h 2986660"/>
                <a:gd name="connsiteX9" fmla="*/ 1770475 w 1955995"/>
                <a:gd name="connsiteY9" fmla="*/ 0 h 2986660"/>
                <a:gd name="connsiteX10" fmla="*/ 1955995 w 1955995"/>
                <a:gd name="connsiteY10" fmla="*/ 724225 h 2986660"/>
                <a:gd name="connsiteX11" fmla="*/ 871167 w 1955995"/>
                <a:gd name="connsiteY11" fmla="*/ 1793119 h 2986660"/>
                <a:gd name="connsiteX12" fmla="*/ 600680 w 1955995"/>
                <a:gd name="connsiteY12" fmla="*/ 2986660 h 298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55995" h="2986660">
                  <a:moveTo>
                    <a:pt x="600680" y="2986660"/>
                  </a:moveTo>
                  <a:lnTo>
                    <a:pt x="0" y="2875036"/>
                  </a:lnTo>
                  <a:lnTo>
                    <a:pt x="232105" y="2055795"/>
                  </a:lnTo>
                  <a:lnTo>
                    <a:pt x="199374" y="2013473"/>
                  </a:lnTo>
                  <a:lnTo>
                    <a:pt x="271631" y="1748977"/>
                  </a:lnTo>
                  <a:lnTo>
                    <a:pt x="307347" y="1731932"/>
                  </a:lnTo>
                  <a:cubicBezTo>
                    <a:pt x="486579" y="982292"/>
                    <a:pt x="973754" y="510634"/>
                    <a:pt x="1309540" y="311667"/>
                  </a:cubicBezTo>
                  <a:lnTo>
                    <a:pt x="1610267" y="178192"/>
                  </a:lnTo>
                  <a:lnTo>
                    <a:pt x="1579876" y="68821"/>
                  </a:lnTo>
                  <a:lnTo>
                    <a:pt x="1770475" y="0"/>
                  </a:lnTo>
                  <a:lnTo>
                    <a:pt x="1955995" y="724225"/>
                  </a:lnTo>
                  <a:cubicBezTo>
                    <a:pt x="1555461" y="850842"/>
                    <a:pt x="1070991" y="1154854"/>
                    <a:pt x="871167" y="1793119"/>
                  </a:cubicBezTo>
                  <a:lnTo>
                    <a:pt x="600680" y="2986660"/>
                  </a:ln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T110N_BA4">
              <a:extLst>
                <a:ext uri="{FF2B5EF4-FFF2-40B4-BE49-F238E27FC236}">
                  <a16:creationId xmlns:a16="http://schemas.microsoft.com/office/drawing/2014/main" id="{846968DE-89DF-4A1E-9D42-95D787B4D8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721124" y="5183755"/>
              <a:ext cx="552855" cy="190673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3291153 w 4144733"/>
                <a:gd name="connsiteY22" fmla="*/ 4596953 h 6198437"/>
                <a:gd name="connsiteX23" fmla="*/ 3571202 w 4144733"/>
                <a:gd name="connsiteY23" fmla="*/ 3352779 h 6198437"/>
                <a:gd name="connsiteX24" fmla="*/ 3252386 w 4144733"/>
                <a:gd name="connsiteY24" fmla="*/ 2049487 h 6198437"/>
                <a:gd name="connsiteX25" fmla="*/ 2435133 w 4144733"/>
                <a:gd name="connsiteY25" fmla="*/ 1163055 h 6198437"/>
                <a:gd name="connsiteX26" fmla="*/ 1140867 w 4144733"/>
                <a:gd name="connsiteY26" fmla="*/ 761302 h 6198437"/>
                <a:gd name="connsiteX27" fmla="*/ 150413 w 4144733"/>
                <a:gd name="connsiteY27" fmla="*/ 1077187 h 6198437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809443 w 4144733"/>
                <a:gd name="connsiteY20" fmla="*/ 4824545 h 4865439"/>
                <a:gd name="connsiteX21" fmla="*/ 3291153 w 4144733"/>
                <a:gd name="connsiteY21" fmla="*/ 4596953 h 4865439"/>
                <a:gd name="connsiteX22" fmla="*/ 3571202 w 4144733"/>
                <a:gd name="connsiteY22" fmla="*/ 3352779 h 4865439"/>
                <a:gd name="connsiteX23" fmla="*/ 3252386 w 4144733"/>
                <a:gd name="connsiteY23" fmla="*/ 2049487 h 4865439"/>
                <a:gd name="connsiteX24" fmla="*/ 2435133 w 4144733"/>
                <a:gd name="connsiteY24" fmla="*/ 1163055 h 4865439"/>
                <a:gd name="connsiteX25" fmla="*/ 1140867 w 4144733"/>
                <a:gd name="connsiteY25" fmla="*/ 761302 h 4865439"/>
                <a:gd name="connsiteX26" fmla="*/ 150413 w 4144733"/>
                <a:gd name="connsiteY26" fmla="*/ 1077187 h 4865439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809443 w 4144733"/>
                <a:gd name="connsiteY20" fmla="*/ 4824545 h 4865439"/>
                <a:gd name="connsiteX21" fmla="*/ 3571202 w 4144733"/>
                <a:gd name="connsiteY21" fmla="*/ 3352779 h 4865439"/>
                <a:gd name="connsiteX22" fmla="*/ 3252386 w 4144733"/>
                <a:gd name="connsiteY22" fmla="*/ 2049487 h 4865439"/>
                <a:gd name="connsiteX23" fmla="*/ 2435133 w 4144733"/>
                <a:gd name="connsiteY23" fmla="*/ 1163055 h 4865439"/>
                <a:gd name="connsiteX24" fmla="*/ 1140867 w 4144733"/>
                <a:gd name="connsiteY24" fmla="*/ 761302 h 4865439"/>
                <a:gd name="connsiteX25" fmla="*/ 150413 w 4144733"/>
                <a:gd name="connsiteY25" fmla="*/ 1077187 h 4865439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571202 w 4144733"/>
                <a:gd name="connsiteY20" fmla="*/ 3352779 h 4865439"/>
                <a:gd name="connsiteX21" fmla="*/ 3252386 w 4144733"/>
                <a:gd name="connsiteY21" fmla="*/ 2049487 h 4865439"/>
                <a:gd name="connsiteX22" fmla="*/ 2435133 w 4144733"/>
                <a:gd name="connsiteY22" fmla="*/ 1163055 h 4865439"/>
                <a:gd name="connsiteX23" fmla="*/ 1140867 w 4144733"/>
                <a:gd name="connsiteY23" fmla="*/ 761302 h 4865439"/>
                <a:gd name="connsiteX24" fmla="*/ 150413 w 4144733"/>
                <a:gd name="connsiteY24" fmla="*/ 1077187 h 4865439"/>
                <a:gd name="connsiteX0" fmla="*/ 150413 w 4144733"/>
                <a:gd name="connsiteY0" fmla="*/ 1077187 h 4428964"/>
                <a:gd name="connsiteX1" fmla="*/ 0 w 4144733"/>
                <a:gd name="connsiteY1" fmla="*/ 481442 h 4428964"/>
                <a:gd name="connsiteX2" fmla="*/ 127075 w 4144733"/>
                <a:gd name="connsiteY2" fmla="*/ 442651 h 4428964"/>
                <a:gd name="connsiteX3" fmla="*/ 157554 w 4144733"/>
                <a:gd name="connsiteY3" fmla="*/ 393463 h 4428964"/>
                <a:gd name="connsiteX4" fmla="*/ 393441 w 4144733"/>
                <a:gd name="connsiteY4" fmla="*/ 319342 h 4428964"/>
                <a:gd name="connsiteX5" fmla="*/ 433896 w 4144733"/>
                <a:gd name="connsiteY5" fmla="*/ 352592 h 4428964"/>
                <a:gd name="connsiteX6" fmla="*/ 630438 w 4144733"/>
                <a:gd name="connsiteY6" fmla="*/ 288171 h 4428964"/>
                <a:gd name="connsiteX7" fmla="*/ 589650 w 4144733"/>
                <a:gd name="connsiteY7" fmla="*/ 119840 h 4428964"/>
                <a:gd name="connsiteX8" fmla="*/ 972893 w 4144733"/>
                <a:gd name="connsiteY8" fmla="*/ 0 h 4428964"/>
                <a:gd name="connsiteX9" fmla="*/ 1021191 w 4144733"/>
                <a:gd name="connsiteY9" fmla="*/ 165560 h 4428964"/>
                <a:gd name="connsiteX10" fmla="*/ 2784742 w 4144733"/>
                <a:gd name="connsiteY10" fmla="*/ 680900 h 4428964"/>
                <a:gd name="connsiteX11" fmla="*/ 3334872 w 4144733"/>
                <a:gd name="connsiteY11" fmla="*/ 1291242 h 4428964"/>
                <a:gd name="connsiteX12" fmla="*/ 3396276 w 4144733"/>
                <a:gd name="connsiteY12" fmla="*/ 1298860 h 4428964"/>
                <a:gd name="connsiteX13" fmla="*/ 3561117 w 4144733"/>
                <a:gd name="connsiteY13" fmla="*/ 1479661 h 4428964"/>
                <a:gd name="connsiteX14" fmla="*/ 3561340 w 4144733"/>
                <a:gd name="connsiteY14" fmla="*/ 1535080 h 4428964"/>
                <a:gd name="connsiteX15" fmla="*/ 3722604 w 4144733"/>
                <a:gd name="connsiteY15" fmla="*/ 1726990 h 4428964"/>
                <a:gd name="connsiteX16" fmla="*/ 4102592 w 4144733"/>
                <a:gd name="connsiteY16" fmla="*/ 3519512 h 4428964"/>
                <a:gd name="connsiteX17" fmla="*/ 3910513 w 4144733"/>
                <a:gd name="connsiteY17" fmla="*/ 4385669 h 4428964"/>
                <a:gd name="connsiteX18" fmla="*/ 4057963 w 4144733"/>
                <a:gd name="connsiteY18" fmla="*/ 4428964 h 4428964"/>
                <a:gd name="connsiteX19" fmla="*/ 3571202 w 4144733"/>
                <a:gd name="connsiteY19" fmla="*/ 3352779 h 4428964"/>
                <a:gd name="connsiteX20" fmla="*/ 3252386 w 4144733"/>
                <a:gd name="connsiteY20" fmla="*/ 2049487 h 4428964"/>
                <a:gd name="connsiteX21" fmla="*/ 2435133 w 4144733"/>
                <a:gd name="connsiteY21" fmla="*/ 1163055 h 4428964"/>
                <a:gd name="connsiteX22" fmla="*/ 1140867 w 4144733"/>
                <a:gd name="connsiteY22" fmla="*/ 761302 h 4428964"/>
                <a:gd name="connsiteX23" fmla="*/ 150413 w 4144733"/>
                <a:gd name="connsiteY23" fmla="*/ 1077187 h 4428964"/>
                <a:gd name="connsiteX0" fmla="*/ 150413 w 4144733"/>
                <a:gd name="connsiteY0" fmla="*/ 1077187 h 4385668"/>
                <a:gd name="connsiteX1" fmla="*/ 0 w 4144733"/>
                <a:gd name="connsiteY1" fmla="*/ 481442 h 4385668"/>
                <a:gd name="connsiteX2" fmla="*/ 127075 w 4144733"/>
                <a:gd name="connsiteY2" fmla="*/ 442651 h 4385668"/>
                <a:gd name="connsiteX3" fmla="*/ 157554 w 4144733"/>
                <a:gd name="connsiteY3" fmla="*/ 393463 h 4385668"/>
                <a:gd name="connsiteX4" fmla="*/ 393441 w 4144733"/>
                <a:gd name="connsiteY4" fmla="*/ 319342 h 4385668"/>
                <a:gd name="connsiteX5" fmla="*/ 433896 w 4144733"/>
                <a:gd name="connsiteY5" fmla="*/ 352592 h 4385668"/>
                <a:gd name="connsiteX6" fmla="*/ 630438 w 4144733"/>
                <a:gd name="connsiteY6" fmla="*/ 288171 h 4385668"/>
                <a:gd name="connsiteX7" fmla="*/ 589650 w 4144733"/>
                <a:gd name="connsiteY7" fmla="*/ 119840 h 4385668"/>
                <a:gd name="connsiteX8" fmla="*/ 972893 w 4144733"/>
                <a:gd name="connsiteY8" fmla="*/ 0 h 4385668"/>
                <a:gd name="connsiteX9" fmla="*/ 1021191 w 4144733"/>
                <a:gd name="connsiteY9" fmla="*/ 165560 h 4385668"/>
                <a:gd name="connsiteX10" fmla="*/ 2784742 w 4144733"/>
                <a:gd name="connsiteY10" fmla="*/ 680900 h 4385668"/>
                <a:gd name="connsiteX11" fmla="*/ 3334872 w 4144733"/>
                <a:gd name="connsiteY11" fmla="*/ 1291242 h 4385668"/>
                <a:gd name="connsiteX12" fmla="*/ 3396276 w 4144733"/>
                <a:gd name="connsiteY12" fmla="*/ 1298860 h 4385668"/>
                <a:gd name="connsiteX13" fmla="*/ 3561117 w 4144733"/>
                <a:gd name="connsiteY13" fmla="*/ 1479661 h 4385668"/>
                <a:gd name="connsiteX14" fmla="*/ 3561340 w 4144733"/>
                <a:gd name="connsiteY14" fmla="*/ 1535080 h 4385668"/>
                <a:gd name="connsiteX15" fmla="*/ 3722604 w 4144733"/>
                <a:gd name="connsiteY15" fmla="*/ 1726990 h 4385668"/>
                <a:gd name="connsiteX16" fmla="*/ 4102592 w 4144733"/>
                <a:gd name="connsiteY16" fmla="*/ 3519512 h 4385668"/>
                <a:gd name="connsiteX17" fmla="*/ 3910513 w 4144733"/>
                <a:gd name="connsiteY17" fmla="*/ 4385669 h 4385668"/>
                <a:gd name="connsiteX18" fmla="*/ 3571202 w 4144733"/>
                <a:gd name="connsiteY18" fmla="*/ 3352779 h 4385668"/>
                <a:gd name="connsiteX19" fmla="*/ 3252386 w 4144733"/>
                <a:gd name="connsiteY19" fmla="*/ 2049487 h 4385668"/>
                <a:gd name="connsiteX20" fmla="*/ 2435133 w 4144733"/>
                <a:gd name="connsiteY20" fmla="*/ 1163055 h 4385668"/>
                <a:gd name="connsiteX21" fmla="*/ 1140867 w 4144733"/>
                <a:gd name="connsiteY21" fmla="*/ 761302 h 4385668"/>
                <a:gd name="connsiteX22" fmla="*/ 150413 w 4144733"/>
                <a:gd name="connsiteY22" fmla="*/ 1077187 h 4385668"/>
                <a:gd name="connsiteX0" fmla="*/ 150413 w 4144733"/>
                <a:gd name="connsiteY0" fmla="*/ 1077187 h 3519512"/>
                <a:gd name="connsiteX1" fmla="*/ 0 w 4144733"/>
                <a:gd name="connsiteY1" fmla="*/ 481442 h 3519512"/>
                <a:gd name="connsiteX2" fmla="*/ 127075 w 4144733"/>
                <a:gd name="connsiteY2" fmla="*/ 442651 h 3519512"/>
                <a:gd name="connsiteX3" fmla="*/ 157554 w 4144733"/>
                <a:gd name="connsiteY3" fmla="*/ 393463 h 3519512"/>
                <a:gd name="connsiteX4" fmla="*/ 393441 w 4144733"/>
                <a:gd name="connsiteY4" fmla="*/ 319342 h 3519512"/>
                <a:gd name="connsiteX5" fmla="*/ 433896 w 4144733"/>
                <a:gd name="connsiteY5" fmla="*/ 352592 h 3519512"/>
                <a:gd name="connsiteX6" fmla="*/ 630438 w 4144733"/>
                <a:gd name="connsiteY6" fmla="*/ 288171 h 3519512"/>
                <a:gd name="connsiteX7" fmla="*/ 589650 w 4144733"/>
                <a:gd name="connsiteY7" fmla="*/ 119840 h 3519512"/>
                <a:gd name="connsiteX8" fmla="*/ 972893 w 4144733"/>
                <a:gd name="connsiteY8" fmla="*/ 0 h 3519512"/>
                <a:gd name="connsiteX9" fmla="*/ 1021191 w 4144733"/>
                <a:gd name="connsiteY9" fmla="*/ 165560 h 3519512"/>
                <a:gd name="connsiteX10" fmla="*/ 2784742 w 4144733"/>
                <a:gd name="connsiteY10" fmla="*/ 680900 h 3519512"/>
                <a:gd name="connsiteX11" fmla="*/ 3334872 w 4144733"/>
                <a:gd name="connsiteY11" fmla="*/ 1291242 h 3519512"/>
                <a:gd name="connsiteX12" fmla="*/ 3396276 w 4144733"/>
                <a:gd name="connsiteY12" fmla="*/ 1298860 h 3519512"/>
                <a:gd name="connsiteX13" fmla="*/ 3561117 w 4144733"/>
                <a:gd name="connsiteY13" fmla="*/ 1479661 h 3519512"/>
                <a:gd name="connsiteX14" fmla="*/ 3561340 w 4144733"/>
                <a:gd name="connsiteY14" fmla="*/ 1535080 h 3519512"/>
                <a:gd name="connsiteX15" fmla="*/ 3722604 w 4144733"/>
                <a:gd name="connsiteY15" fmla="*/ 1726990 h 3519512"/>
                <a:gd name="connsiteX16" fmla="*/ 4102592 w 4144733"/>
                <a:gd name="connsiteY16" fmla="*/ 3519512 h 3519512"/>
                <a:gd name="connsiteX17" fmla="*/ 3571202 w 4144733"/>
                <a:gd name="connsiteY17" fmla="*/ 3352779 h 3519512"/>
                <a:gd name="connsiteX18" fmla="*/ 3252386 w 4144733"/>
                <a:gd name="connsiteY18" fmla="*/ 2049487 h 3519512"/>
                <a:gd name="connsiteX19" fmla="*/ 2435133 w 4144733"/>
                <a:gd name="connsiteY19" fmla="*/ 1163055 h 3519512"/>
                <a:gd name="connsiteX20" fmla="*/ 1140867 w 4144733"/>
                <a:gd name="connsiteY20" fmla="*/ 761302 h 3519512"/>
                <a:gd name="connsiteX21" fmla="*/ 150413 w 4144733"/>
                <a:gd name="connsiteY21" fmla="*/ 1077187 h 3519512"/>
                <a:gd name="connsiteX0" fmla="*/ 150413 w 3722630"/>
                <a:gd name="connsiteY0" fmla="*/ 1077187 h 3352779"/>
                <a:gd name="connsiteX1" fmla="*/ 0 w 3722630"/>
                <a:gd name="connsiteY1" fmla="*/ 481442 h 3352779"/>
                <a:gd name="connsiteX2" fmla="*/ 127075 w 3722630"/>
                <a:gd name="connsiteY2" fmla="*/ 442651 h 3352779"/>
                <a:gd name="connsiteX3" fmla="*/ 157554 w 3722630"/>
                <a:gd name="connsiteY3" fmla="*/ 393463 h 3352779"/>
                <a:gd name="connsiteX4" fmla="*/ 393441 w 3722630"/>
                <a:gd name="connsiteY4" fmla="*/ 319342 h 3352779"/>
                <a:gd name="connsiteX5" fmla="*/ 433896 w 3722630"/>
                <a:gd name="connsiteY5" fmla="*/ 352592 h 3352779"/>
                <a:gd name="connsiteX6" fmla="*/ 630438 w 3722630"/>
                <a:gd name="connsiteY6" fmla="*/ 288171 h 3352779"/>
                <a:gd name="connsiteX7" fmla="*/ 589650 w 3722630"/>
                <a:gd name="connsiteY7" fmla="*/ 119840 h 3352779"/>
                <a:gd name="connsiteX8" fmla="*/ 972893 w 3722630"/>
                <a:gd name="connsiteY8" fmla="*/ 0 h 3352779"/>
                <a:gd name="connsiteX9" fmla="*/ 1021191 w 3722630"/>
                <a:gd name="connsiteY9" fmla="*/ 165560 h 3352779"/>
                <a:gd name="connsiteX10" fmla="*/ 2784742 w 3722630"/>
                <a:gd name="connsiteY10" fmla="*/ 680900 h 3352779"/>
                <a:gd name="connsiteX11" fmla="*/ 3334872 w 3722630"/>
                <a:gd name="connsiteY11" fmla="*/ 1291242 h 3352779"/>
                <a:gd name="connsiteX12" fmla="*/ 3396276 w 3722630"/>
                <a:gd name="connsiteY12" fmla="*/ 1298860 h 3352779"/>
                <a:gd name="connsiteX13" fmla="*/ 3561117 w 3722630"/>
                <a:gd name="connsiteY13" fmla="*/ 1479661 h 3352779"/>
                <a:gd name="connsiteX14" fmla="*/ 3561340 w 3722630"/>
                <a:gd name="connsiteY14" fmla="*/ 1535080 h 3352779"/>
                <a:gd name="connsiteX15" fmla="*/ 3722604 w 3722630"/>
                <a:gd name="connsiteY15" fmla="*/ 1726990 h 3352779"/>
                <a:gd name="connsiteX16" fmla="*/ 3571202 w 3722630"/>
                <a:gd name="connsiteY16" fmla="*/ 3352779 h 3352779"/>
                <a:gd name="connsiteX17" fmla="*/ 3252386 w 3722630"/>
                <a:gd name="connsiteY17" fmla="*/ 2049487 h 3352779"/>
                <a:gd name="connsiteX18" fmla="*/ 2435133 w 3722630"/>
                <a:gd name="connsiteY18" fmla="*/ 1163055 h 3352779"/>
                <a:gd name="connsiteX19" fmla="*/ 1140867 w 3722630"/>
                <a:gd name="connsiteY19" fmla="*/ 761302 h 3352779"/>
                <a:gd name="connsiteX20" fmla="*/ 150413 w 3722630"/>
                <a:gd name="connsiteY20" fmla="*/ 1077187 h 3352779"/>
                <a:gd name="connsiteX0" fmla="*/ 150413 w 3722604"/>
                <a:gd name="connsiteY0" fmla="*/ 1077187 h 2066137"/>
                <a:gd name="connsiteX1" fmla="*/ 0 w 3722604"/>
                <a:gd name="connsiteY1" fmla="*/ 481442 h 2066137"/>
                <a:gd name="connsiteX2" fmla="*/ 127075 w 3722604"/>
                <a:gd name="connsiteY2" fmla="*/ 442651 h 2066137"/>
                <a:gd name="connsiteX3" fmla="*/ 157554 w 3722604"/>
                <a:gd name="connsiteY3" fmla="*/ 393463 h 2066137"/>
                <a:gd name="connsiteX4" fmla="*/ 393441 w 3722604"/>
                <a:gd name="connsiteY4" fmla="*/ 319342 h 2066137"/>
                <a:gd name="connsiteX5" fmla="*/ 433896 w 3722604"/>
                <a:gd name="connsiteY5" fmla="*/ 352592 h 2066137"/>
                <a:gd name="connsiteX6" fmla="*/ 630438 w 3722604"/>
                <a:gd name="connsiteY6" fmla="*/ 288171 h 2066137"/>
                <a:gd name="connsiteX7" fmla="*/ 589650 w 3722604"/>
                <a:gd name="connsiteY7" fmla="*/ 119840 h 2066137"/>
                <a:gd name="connsiteX8" fmla="*/ 972893 w 3722604"/>
                <a:gd name="connsiteY8" fmla="*/ 0 h 2066137"/>
                <a:gd name="connsiteX9" fmla="*/ 1021191 w 3722604"/>
                <a:gd name="connsiteY9" fmla="*/ 165560 h 2066137"/>
                <a:gd name="connsiteX10" fmla="*/ 2784742 w 3722604"/>
                <a:gd name="connsiteY10" fmla="*/ 680900 h 2066137"/>
                <a:gd name="connsiteX11" fmla="*/ 3334872 w 3722604"/>
                <a:gd name="connsiteY11" fmla="*/ 1291242 h 2066137"/>
                <a:gd name="connsiteX12" fmla="*/ 3396276 w 3722604"/>
                <a:gd name="connsiteY12" fmla="*/ 1298860 h 2066137"/>
                <a:gd name="connsiteX13" fmla="*/ 3561117 w 3722604"/>
                <a:gd name="connsiteY13" fmla="*/ 1479661 h 2066137"/>
                <a:gd name="connsiteX14" fmla="*/ 3561340 w 3722604"/>
                <a:gd name="connsiteY14" fmla="*/ 1535080 h 2066137"/>
                <a:gd name="connsiteX15" fmla="*/ 3722604 w 3722604"/>
                <a:gd name="connsiteY15" fmla="*/ 1726990 h 2066137"/>
                <a:gd name="connsiteX16" fmla="*/ 3252386 w 3722604"/>
                <a:gd name="connsiteY16" fmla="*/ 2049487 h 2066137"/>
                <a:gd name="connsiteX17" fmla="*/ 2435133 w 3722604"/>
                <a:gd name="connsiteY17" fmla="*/ 1163055 h 2066137"/>
                <a:gd name="connsiteX18" fmla="*/ 1140867 w 3722604"/>
                <a:gd name="connsiteY18" fmla="*/ 761302 h 2066137"/>
                <a:gd name="connsiteX19" fmla="*/ 150413 w 3722604"/>
                <a:gd name="connsiteY19" fmla="*/ 1077187 h 2066137"/>
                <a:gd name="connsiteX0" fmla="*/ 150413 w 3722604"/>
                <a:gd name="connsiteY0" fmla="*/ 1077187 h 1726990"/>
                <a:gd name="connsiteX1" fmla="*/ 0 w 3722604"/>
                <a:gd name="connsiteY1" fmla="*/ 481442 h 1726990"/>
                <a:gd name="connsiteX2" fmla="*/ 127075 w 3722604"/>
                <a:gd name="connsiteY2" fmla="*/ 442651 h 1726990"/>
                <a:gd name="connsiteX3" fmla="*/ 157554 w 3722604"/>
                <a:gd name="connsiteY3" fmla="*/ 393463 h 1726990"/>
                <a:gd name="connsiteX4" fmla="*/ 393441 w 3722604"/>
                <a:gd name="connsiteY4" fmla="*/ 319342 h 1726990"/>
                <a:gd name="connsiteX5" fmla="*/ 433896 w 3722604"/>
                <a:gd name="connsiteY5" fmla="*/ 352592 h 1726990"/>
                <a:gd name="connsiteX6" fmla="*/ 630438 w 3722604"/>
                <a:gd name="connsiteY6" fmla="*/ 288171 h 1726990"/>
                <a:gd name="connsiteX7" fmla="*/ 589650 w 3722604"/>
                <a:gd name="connsiteY7" fmla="*/ 119840 h 1726990"/>
                <a:gd name="connsiteX8" fmla="*/ 972893 w 3722604"/>
                <a:gd name="connsiteY8" fmla="*/ 0 h 1726990"/>
                <a:gd name="connsiteX9" fmla="*/ 1021191 w 3722604"/>
                <a:gd name="connsiteY9" fmla="*/ 165560 h 1726990"/>
                <a:gd name="connsiteX10" fmla="*/ 2784742 w 3722604"/>
                <a:gd name="connsiteY10" fmla="*/ 680900 h 1726990"/>
                <a:gd name="connsiteX11" fmla="*/ 3334872 w 3722604"/>
                <a:gd name="connsiteY11" fmla="*/ 1291242 h 1726990"/>
                <a:gd name="connsiteX12" fmla="*/ 3396276 w 3722604"/>
                <a:gd name="connsiteY12" fmla="*/ 1298860 h 1726990"/>
                <a:gd name="connsiteX13" fmla="*/ 3561117 w 3722604"/>
                <a:gd name="connsiteY13" fmla="*/ 1479661 h 1726990"/>
                <a:gd name="connsiteX14" fmla="*/ 3561340 w 3722604"/>
                <a:gd name="connsiteY14" fmla="*/ 1535080 h 1726990"/>
                <a:gd name="connsiteX15" fmla="*/ 3722604 w 3722604"/>
                <a:gd name="connsiteY15" fmla="*/ 1726990 h 1726990"/>
                <a:gd name="connsiteX16" fmla="*/ 2435133 w 3722604"/>
                <a:gd name="connsiteY16" fmla="*/ 1163055 h 1726990"/>
                <a:gd name="connsiteX17" fmla="*/ 1140867 w 3722604"/>
                <a:gd name="connsiteY17" fmla="*/ 761302 h 1726990"/>
                <a:gd name="connsiteX18" fmla="*/ 150413 w 3722604"/>
                <a:gd name="connsiteY18" fmla="*/ 1077187 h 1726990"/>
                <a:gd name="connsiteX0" fmla="*/ 150413 w 3561340"/>
                <a:gd name="connsiteY0" fmla="*/ 1077187 h 1535080"/>
                <a:gd name="connsiteX1" fmla="*/ 0 w 3561340"/>
                <a:gd name="connsiteY1" fmla="*/ 481442 h 1535080"/>
                <a:gd name="connsiteX2" fmla="*/ 127075 w 3561340"/>
                <a:gd name="connsiteY2" fmla="*/ 442651 h 1535080"/>
                <a:gd name="connsiteX3" fmla="*/ 157554 w 3561340"/>
                <a:gd name="connsiteY3" fmla="*/ 393463 h 1535080"/>
                <a:gd name="connsiteX4" fmla="*/ 393441 w 3561340"/>
                <a:gd name="connsiteY4" fmla="*/ 319342 h 1535080"/>
                <a:gd name="connsiteX5" fmla="*/ 433896 w 3561340"/>
                <a:gd name="connsiteY5" fmla="*/ 352592 h 1535080"/>
                <a:gd name="connsiteX6" fmla="*/ 630438 w 3561340"/>
                <a:gd name="connsiteY6" fmla="*/ 288171 h 1535080"/>
                <a:gd name="connsiteX7" fmla="*/ 589650 w 3561340"/>
                <a:gd name="connsiteY7" fmla="*/ 119840 h 1535080"/>
                <a:gd name="connsiteX8" fmla="*/ 972893 w 3561340"/>
                <a:gd name="connsiteY8" fmla="*/ 0 h 1535080"/>
                <a:gd name="connsiteX9" fmla="*/ 1021191 w 3561340"/>
                <a:gd name="connsiteY9" fmla="*/ 165560 h 1535080"/>
                <a:gd name="connsiteX10" fmla="*/ 2784742 w 3561340"/>
                <a:gd name="connsiteY10" fmla="*/ 680900 h 1535080"/>
                <a:gd name="connsiteX11" fmla="*/ 3334872 w 3561340"/>
                <a:gd name="connsiteY11" fmla="*/ 1291242 h 1535080"/>
                <a:gd name="connsiteX12" fmla="*/ 3396276 w 3561340"/>
                <a:gd name="connsiteY12" fmla="*/ 1298860 h 1535080"/>
                <a:gd name="connsiteX13" fmla="*/ 3561117 w 3561340"/>
                <a:gd name="connsiteY13" fmla="*/ 1479661 h 1535080"/>
                <a:gd name="connsiteX14" fmla="*/ 3561340 w 3561340"/>
                <a:gd name="connsiteY14" fmla="*/ 1535080 h 1535080"/>
                <a:gd name="connsiteX15" fmla="*/ 2435133 w 3561340"/>
                <a:gd name="connsiteY15" fmla="*/ 1163055 h 1535080"/>
                <a:gd name="connsiteX16" fmla="*/ 1140867 w 3561340"/>
                <a:gd name="connsiteY16" fmla="*/ 761302 h 1535080"/>
                <a:gd name="connsiteX17" fmla="*/ 150413 w 3561340"/>
                <a:gd name="connsiteY17" fmla="*/ 1077187 h 1535080"/>
                <a:gd name="connsiteX0" fmla="*/ 150413 w 3561117"/>
                <a:gd name="connsiteY0" fmla="*/ 1077187 h 1479661"/>
                <a:gd name="connsiteX1" fmla="*/ 0 w 3561117"/>
                <a:gd name="connsiteY1" fmla="*/ 481442 h 1479661"/>
                <a:gd name="connsiteX2" fmla="*/ 127075 w 3561117"/>
                <a:gd name="connsiteY2" fmla="*/ 442651 h 1479661"/>
                <a:gd name="connsiteX3" fmla="*/ 157554 w 3561117"/>
                <a:gd name="connsiteY3" fmla="*/ 393463 h 1479661"/>
                <a:gd name="connsiteX4" fmla="*/ 393441 w 3561117"/>
                <a:gd name="connsiteY4" fmla="*/ 319342 h 1479661"/>
                <a:gd name="connsiteX5" fmla="*/ 433896 w 3561117"/>
                <a:gd name="connsiteY5" fmla="*/ 352592 h 1479661"/>
                <a:gd name="connsiteX6" fmla="*/ 630438 w 3561117"/>
                <a:gd name="connsiteY6" fmla="*/ 288171 h 1479661"/>
                <a:gd name="connsiteX7" fmla="*/ 589650 w 3561117"/>
                <a:gd name="connsiteY7" fmla="*/ 119840 h 1479661"/>
                <a:gd name="connsiteX8" fmla="*/ 972893 w 3561117"/>
                <a:gd name="connsiteY8" fmla="*/ 0 h 1479661"/>
                <a:gd name="connsiteX9" fmla="*/ 1021191 w 3561117"/>
                <a:gd name="connsiteY9" fmla="*/ 165560 h 1479661"/>
                <a:gd name="connsiteX10" fmla="*/ 2784742 w 3561117"/>
                <a:gd name="connsiteY10" fmla="*/ 680900 h 1479661"/>
                <a:gd name="connsiteX11" fmla="*/ 3334872 w 3561117"/>
                <a:gd name="connsiteY11" fmla="*/ 1291242 h 1479661"/>
                <a:gd name="connsiteX12" fmla="*/ 3396276 w 3561117"/>
                <a:gd name="connsiteY12" fmla="*/ 1298860 h 1479661"/>
                <a:gd name="connsiteX13" fmla="*/ 3561117 w 3561117"/>
                <a:gd name="connsiteY13" fmla="*/ 1479661 h 1479661"/>
                <a:gd name="connsiteX14" fmla="*/ 2435133 w 3561117"/>
                <a:gd name="connsiteY14" fmla="*/ 1163055 h 1479661"/>
                <a:gd name="connsiteX15" fmla="*/ 1140867 w 3561117"/>
                <a:gd name="connsiteY15" fmla="*/ 761302 h 1479661"/>
                <a:gd name="connsiteX16" fmla="*/ 150413 w 3561117"/>
                <a:gd name="connsiteY16" fmla="*/ 1077187 h 1479661"/>
                <a:gd name="connsiteX0" fmla="*/ 150413 w 3396276"/>
                <a:gd name="connsiteY0" fmla="*/ 1077187 h 1298860"/>
                <a:gd name="connsiteX1" fmla="*/ 0 w 3396276"/>
                <a:gd name="connsiteY1" fmla="*/ 481442 h 1298860"/>
                <a:gd name="connsiteX2" fmla="*/ 127075 w 3396276"/>
                <a:gd name="connsiteY2" fmla="*/ 442651 h 1298860"/>
                <a:gd name="connsiteX3" fmla="*/ 157554 w 3396276"/>
                <a:gd name="connsiteY3" fmla="*/ 393463 h 1298860"/>
                <a:gd name="connsiteX4" fmla="*/ 393441 w 3396276"/>
                <a:gd name="connsiteY4" fmla="*/ 319342 h 1298860"/>
                <a:gd name="connsiteX5" fmla="*/ 433896 w 3396276"/>
                <a:gd name="connsiteY5" fmla="*/ 352592 h 1298860"/>
                <a:gd name="connsiteX6" fmla="*/ 630438 w 3396276"/>
                <a:gd name="connsiteY6" fmla="*/ 288171 h 1298860"/>
                <a:gd name="connsiteX7" fmla="*/ 589650 w 3396276"/>
                <a:gd name="connsiteY7" fmla="*/ 119840 h 1298860"/>
                <a:gd name="connsiteX8" fmla="*/ 972893 w 3396276"/>
                <a:gd name="connsiteY8" fmla="*/ 0 h 1298860"/>
                <a:gd name="connsiteX9" fmla="*/ 1021191 w 3396276"/>
                <a:gd name="connsiteY9" fmla="*/ 165560 h 1298860"/>
                <a:gd name="connsiteX10" fmla="*/ 2784742 w 3396276"/>
                <a:gd name="connsiteY10" fmla="*/ 680900 h 1298860"/>
                <a:gd name="connsiteX11" fmla="*/ 3334872 w 3396276"/>
                <a:gd name="connsiteY11" fmla="*/ 1291242 h 1298860"/>
                <a:gd name="connsiteX12" fmla="*/ 3396276 w 3396276"/>
                <a:gd name="connsiteY12" fmla="*/ 1298860 h 1298860"/>
                <a:gd name="connsiteX13" fmla="*/ 2435133 w 3396276"/>
                <a:gd name="connsiteY13" fmla="*/ 1163055 h 1298860"/>
                <a:gd name="connsiteX14" fmla="*/ 1140867 w 3396276"/>
                <a:gd name="connsiteY14" fmla="*/ 761302 h 1298860"/>
                <a:gd name="connsiteX15" fmla="*/ 150413 w 3396276"/>
                <a:gd name="connsiteY15" fmla="*/ 1077187 h 1298860"/>
                <a:gd name="connsiteX0" fmla="*/ 150413 w 3334872"/>
                <a:gd name="connsiteY0" fmla="*/ 1077187 h 1291242"/>
                <a:gd name="connsiteX1" fmla="*/ 0 w 3334872"/>
                <a:gd name="connsiteY1" fmla="*/ 481442 h 1291242"/>
                <a:gd name="connsiteX2" fmla="*/ 127075 w 3334872"/>
                <a:gd name="connsiteY2" fmla="*/ 442651 h 1291242"/>
                <a:gd name="connsiteX3" fmla="*/ 157554 w 3334872"/>
                <a:gd name="connsiteY3" fmla="*/ 393463 h 1291242"/>
                <a:gd name="connsiteX4" fmla="*/ 393441 w 3334872"/>
                <a:gd name="connsiteY4" fmla="*/ 319342 h 1291242"/>
                <a:gd name="connsiteX5" fmla="*/ 433896 w 3334872"/>
                <a:gd name="connsiteY5" fmla="*/ 352592 h 1291242"/>
                <a:gd name="connsiteX6" fmla="*/ 630438 w 3334872"/>
                <a:gd name="connsiteY6" fmla="*/ 288171 h 1291242"/>
                <a:gd name="connsiteX7" fmla="*/ 589650 w 3334872"/>
                <a:gd name="connsiteY7" fmla="*/ 119840 h 1291242"/>
                <a:gd name="connsiteX8" fmla="*/ 972893 w 3334872"/>
                <a:gd name="connsiteY8" fmla="*/ 0 h 1291242"/>
                <a:gd name="connsiteX9" fmla="*/ 1021191 w 3334872"/>
                <a:gd name="connsiteY9" fmla="*/ 165560 h 1291242"/>
                <a:gd name="connsiteX10" fmla="*/ 2784742 w 3334872"/>
                <a:gd name="connsiteY10" fmla="*/ 680900 h 1291242"/>
                <a:gd name="connsiteX11" fmla="*/ 3334872 w 3334872"/>
                <a:gd name="connsiteY11" fmla="*/ 1291242 h 1291242"/>
                <a:gd name="connsiteX12" fmla="*/ 2435133 w 3334872"/>
                <a:gd name="connsiteY12" fmla="*/ 1163055 h 1291242"/>
                <a:gd name="connsiteX13" fmla="*/ 1140867 w 3334872"/>
                <a:gd name="connsiteY13" fmla="*/ 761302 h 1291242"/>
                <a:gd name="connsiteX14" fmla="*/ 150413 w 3334872"/>
                <a:gd name="connsiteY14" fmla="*/ 1077187 h 1291242"/>
                <a:gd name="connsiteX0" fmla="*/ 150413 w 2784742"/>
                <a:gd name="connsiteY0" fmla="*/ 1077187 h 1163055"/>
                <a:gd name="connsiteX1" fmla="*/ 0 w 2784742"/>
                <a:gd name="connsiteY1" fmla="*/ 481442 h 1163055"/>
                <a:gd name="connsiteX2" fmla="*/ 127075 w 2784742"/>
                <a:gd name="connsiteY2" fmla="*/ 442651 h 1163055"/>
                <a:gd name="connsiteX3" fmla="*/ 157554 w 2784742"/>
                <a:gd name="connsiteY3" fmla="*/ 393463 h 1163055"/>
                <a:gd name="connsiteX4" fmla="*/ 393441 w 2784742"/>
                <a:gd name="connsiteY4" fmla="*/ 319342 h 1163055"/>
                <a:gd name="connsiteX5" fmla="*/ 433896 w 2784742"/>
                <a:gd name="connsiteY5" fmla="*/ 352592 h 1163055"/>
                <a:gd name="connsiteX6" fmla="*/ 630438 w 2784742"/>
                <a:gd name="connsiteY6" fmla="*/ 288171 h 1163055"/>
                <a:gd name="connsiteX7" fmla="*/ 589650 w 2784742"/>
                <a:gd name="connsiteY7" fmla="*/ 119840 h 1163055"/>
                <a:gd name="connsiteX8" fmla="*/ 972893 w 2784742"/>
                <a:gd name="connsiteY8" fmla="*/ 0 h 1163055"/>
                <a:gd name="connsiteX9" fmla="*/ 1021191 w 2784742"/>
                <a:gd name="connsiteY9" fmla="*/ 165560 h 1163055"/>
                <a:gd name="connsiteX10" fmla="*/ 2784742 w 2784742"/>
                <a:gd name="connsiteY10" fmla="*/ 680900 h 1163055"/>
                <a:gd name="connsiteX11" fmla="*/ 2435133 w 2784742"/>
                <a:gd name="connsiteY11" fmla="*/ 1163055 h 1163055"/>
                <a:gd name="connsiteX12" fmla="*/ 1140867 w 2784742"/>
                <a:gd name="connsiteY12" fmla="*/ 761302 h 1163055"/>
                <a:gd name="connsiteX13" fmla="*/ 150413 w 2784742"/>
                <a:gd name="connsiteY13" fmla="*/ 1077187 h 1163055"/>
                <a:gd name="connsiteX0" fmla="*/ 150413 w 2820877"/>
                <a:gd name="connsiteY0" fmla="*/ 1077187 h 1163055"/>
                <a:gd name="connsiteX1" fmla="*/ 0 w 2820877"/>
                <a:gd name="connsiteY1" fmla="*/ 481442 h 1163055"/>
                <a:gd name="connsiteX2" fmla="*/ 127075 w 2820877"/>
                <a:gd name="connsiteY2" fmla="*/ 442651 h 1163055"/>
                <a:gd name="connsiteX3" fmla="*/ 157554 w 2820877"/>
                <a:gd name="connsiteY3" fmla="*/ 393463 h 1163055"/>
                <a:gd name="connsiteX4" fmla="*/ 393441 w 2820877"/>
                <a:gd name="connsiteY4" fmla="*/ 319342 h 1163055"/>
                <a:gd name="connsiteX5" fmla="*/ 433896 w 2820877"/>
                <a:gd name="connsiteY5" fmla="*/ 352592 h 1163055"/>
                <a:gd name="connsiteX6" fmla="*/ 630438 w 2820877"/>
                <a:gd name="connsiteY6" fmla="*/ 288171 h 1163055"/>
                <a:gd name="connsiteX7" fmla="*/ 589650 w 2820877"/>
                <a:gd name="connsiteY7" fmla="*/ 119840 h 1163055"/>
                <a:gd name="connsiteX8" fmla="*/ 972893 w 2820877"/>
                <a:gd name="connsiteY8" fmla="*/ 0 h 1163055"/>
                <a:gd name="connsiteX9" fmla="*/ 1021191 w 2820877"/>
                <a:gd name="connsiteY9" fmla="*/ 165560 h 1163055"/>
                <a:gd name="connsiteX10" fmla="*/ 2820877 w 2820877"/>
                <a:gd name="connsiteY10" fmla="*/ 707493 h 1163055"/>
                <a:gd name="connsiteX11" fmla="*/ 2435133 w 2820877"/>
                <a:gd name="connsiteY11" fmla="*/ 1163055 h 1163055"/>
                <a:gd name="connsiteX12" fmla="*/ 1140867 w 2820877"/>
                <a:gd name="connsiteY12" fmla="*/ 761302 h 1163055"/>
                <a:gd name="connsiteX13" fmla="*/ 150413 w 2820877"/>
                <a:gd name="connsiteY13" fmla="*/ 1077187 h 1163055"/>
                <a:gd name="connsiteX0" fmla="*/ 150413 w 2820877"/>
                <a:gd name="connsiteY0" fmla="*/ 1077187 h 1108694"/>
                <a:gd name="connsiteX1" fmla="*/ 0 w 2820877"/>
                <a:gd name="connsiteY1" fmla="*/ 481442 h 1108694"/>
                <a:gd name="connsiteX2" fmla="*/ 127075 w 2820877"/>
                <a:gd name="connsiteY2" fmla="*/ 442651 h 1108694"/>
                <a:gd name="connsiteX3" fmla="*/ 157554 w 2820877"/>
                <a:gd name="connsiteY3" fmla="*/ 393463 h 1108694"/>
                <a:gd name="connsiteX4" fmla="*/ 393441 w 2820877"/>
                <a:gd name="connsiteY4" fmla="*/ 319342 h 1108694"/>
                <a:gd name="connsiteX5" fmla="*/ 433896 w 2820877"/>
                <a:gd name="connsiteY5" fmla="*/ 352592 h 1108694"/>
                <a:gd name="connsiteX6" fmla="*/ 630438 w 2820877"/>
                <a:gd name="connsiteY6" fmla="*/ 288171 h 1108694"/>
                <a:gd name="connsiteX7" fmla="*/ 589650 w 2820877"/>
                <a:gd name="connsiteY7" fmla="*/ 119840 h 1108694"/>
                <a:gd name="connsiteX8" fmla="*/ 972893 w 2820877"/>
                <a:gd name="connsiteY8" fmla="*/ 0 h 1108694"/>
                <a:gd name="connsiteX9" fmla="*/ 1021191 w 2820877"/>
                <a:gd name="connsiteY9" fmla="*/ 165560 h 1108694"/>
                <a:gd name="connsiteX10" fmla="*/ 2820877 w 2820877"/>
                <a:gd name="connsiteY10" fmla="*/ 707493 h 1108694"/>
                <a:gd name="connsiteX11" fmla="*/ 2373894 w 2820877"/>
                <a:gd name="connsiteY11" fmla="*/ 1108694 h 1108694"/>
                <a:gd name="connsiteX12" fmla="*/ 1140867 w 2820877"/>
                <a:gd name="connsiteY12" fmla="*/ 761302 h 1108694"/>
                <a:gd name="connsiteX13" fmla="*/ 150413 w 2820877"/>
                <a:gd name="connsiteY13" fmla="*/ 1077187 h 1108694"/>
                <a:gd name="connsiteX0" fmla="*/ 150413 w 2820877"/>
                <a:gd name="connsiteY0" fmla="*/ 1077187 h 1108694"/>
                <a:gd name="connsiteX1" fmla="*/ 0 w 2820877"/>
                <a:gd name="connsiteY1" fmla="*/ 481442 h 1108694"/>
                <a:gd name="connsiteX2" fmla="*/ 127075 w 2820877"/>
                <a:gd name="connsiteY2" fmla="*/ 442651 h 1108694"/>
                <a:gd name="connsiteX3" fmla="*/ 157554 w 2820877"/>
                <a:gd name="connsiteY3" fmla="*/ 393463 h 1108694"/>
                <a:gd name="connsiteX4" fmla="*/ 393441 w 2820877"/>
                <a:gd name="connsiteY4" fmla="*/ 319342 h 1108694"/>
                <a:gd name="connsiteX5" fmla="*/ 433896 w 2820877"/>
                <a:gd name="connsiteY5" fmla="*/ 352592 h 1108694"/>
                <a:gd name="connsiteX6" fmla="*/ 630438 w 2820877"/>
                <a:gd name="connsiteY6" fmla="*/ 288171 h 1108694"/>
                <a:gd name="connsiteX7" fmla="*/ 589650 w 2820877"/>
                <a:gd name="connsiteY7" fmla="*/ 119840 h 1108694"/>
                <a:gd name="connsiteX8" fmla="*/ 972893 w 2820877"/>
                <a:gd name="connsiteY8" fmla="*/ 0 h 1108694"/>
                <a:gd name="connsiteX9" fmla="*/ 1021191 w 2820877"/>
                <a:gd name="connsiteY9" fmla="*/ 165560 h 1108694"/>
                <a:gd name="connsiteX10" fmla="*/ 2820877 w 2820877"/>
                <a:gd name="connsiteY10" fmla="*/ 707493 h 1108694"/>
                <a:gd name="connsiteX11" fmla="*/ 2373894 w 2820877"/>
                <a:gd name="connsiteY11" fmla="*/ 1108694 h 1108694"/>
                <a:gd name="connsiteX12" fmla="*/ 1140867 w 2820877"/>
                <a:gd name="connsiteY12" fmla="*/ 761302 h 1108694"/>
                <a:gd name="connsiteX13" fmla="*/ 150413 w 2820877"/>
                <a:gd name="connsiteY13" fmla="*/ 1077187 h 1108694"/>
                <a:gd name="connsiteX0" fmla="*/ 150413 w 2770772"/>
                <a:gd name="connsiteY0" fmla="*/ 1077187 h 1108694"/>
                <a:gd name="connsiteX1" fmla="*/ 0 w 2770772"/>
                <a:gd name="connsiteY1" fmla="*/ 481442 h 1108694"/>
                <a:gd name="connsiteX2" fmla="*/ 127075 w 2770772"/>
                <a:gd name="connsiteY2" fmla="*/ 442651 h 1108694"/>
                <a:gd name="connsiteX3" fmla="*/ 157554 w 2770772"/>
                <a:gd name="connsiteY3" fmla="*/ 393463 h 1108694"/>
                <a:gd name="connsiteX4" fmla="*/ 393441 w 2770772"/>
                <a:gd name="connsiteY4" fmla="*/ 319342 h 1108694"/>
                <a:gd name="connsiteX5" fmla="*/ 433896 w 2770772"/>
                <a:gd name="connsiteY5" fmla="*/ 352592 h 1108694"/>
                <a:gd name="connsiteX6" fmla="*/ 630438 w 2770772"/>
                <a:gd name="connsiteY6" fmla="*/ 288171 h 1108694"/>
                <a:gd name="connsiteX7" fmla="*/ 589650 w 2770772"/>
                <a:gd name="connsiteY7" fmla="*/ 119840 h 1108694"/>
                <a:gd name="connsiteX8" fmla="*/ 972893 w 2770772"/>
                <a:gd name="connsiteY8" fmla="*/ 0 h 1108694"/>
                <a:gd name="connsiteX9" fmla="*/ 1021191 w 2770772"/>
                <a:gd name="connsiteY9" fmla="*/ 165560 h 1108694"/>
                <a:gd name="connsiteX10" fmla="*/ 2770772 w 2770772"/>
                <a:gd name="connsiteY10" fmla="*/ 665211 h 1108694"/>
                <a:gd name="connsiteX11" fmla="*/ 2373894 w 2770772"/>
                <a:gd name="connsiteY11" fmla="*/ 1108694 h 1108694"/>
                <a:gd name="connsiteX12" fmla="*/ 1140867 w 2770772"/>
                <a:gd name="connsiteY12" fmla="*/ 761302 h 1108694"/>
                <a:gd name="connsiteX13" fmla="*/ 150413 w 2770772"/>
                <a:gd name="connsiteY13" fmla="*/ 1077187 h 1108694"/>
                <a:gd name="connsiteX0" fmla="*/ 150413 w 2770772"/>
                <a:gd name="connsiteY0" fmla="*/ 1077187 h 1108694"/>
                <a:gd name="connsiteX1" fmla="*/ 0 w 2770772"/>
                <a:gd name="connsiteY1" fmla="*/ 481442 h 1108694"/>
                <a:gd name="connsiteX2" fmla="*/ 127075 w 2770772"/>
                <a:gd name="connsiteY2" fmla="*/ 442651 h 1108694"/>
                <a:gd name="connsiteX3" fmla="*/ 157554 w 2770772"/>
                <a:gd name="connsiteY3" fmla="*/ 393463 h 1108694"/>
                <a:gd name="connsiteX4" fmla="*/ 393441 w 2770772"/>
                <a:gd name="connsiteY4" fmla="*/ 319342 h 1108694"/>
                <a:gd name="connsiteX5" fmla="*/ 433896 w 2770772"/>
                <a:gd name="connsiteY5" fmla="*/ 352592 h 1108694"/>
                <a:gd name="connsiteX6" fmla="*/ 630438 w 2770772"/>
                <a:gd name="connsiteY6" fmla="*/ 288171 h 1108694"/>
                <a:gd name="connsiteX7" fmla="*/ 589650 w 2770772"/>
                <a:gd name="connsiteY7" fmla="*/ 119840 h 1108694"/>
                <a:gd name="connsiteX8" fmla="*/ 972893 w 2770772"/>
                <a:gd name="connsiteY8" fmla="*/ 0 h 1108694"/>
                <a:gd name="connsiteX9" fmla="*/ 1021191 w 2770772"/>
                <a:gd name="connsiteY9" fmla="*/ 165560 h 1108694"/>
                <a:gd name="connsiteX10" fmla="*/ 2770772 w 2770772"/>
                <a:gd name="connsiteY10" fmla="*/ 665211 h 1108694"/>
                <a:gd name="connsiteX11" fmla="*/ 2373894 w 2770772"/>
                <a:gd name="connsiteY11" fmla="*/ 1108694 h 1108694"/>
                <a:gd name="connsiteX12" fmla="*/ 1140867 w 2770772"/>
                <a:gd name="connsiteY12" fmla="*/ 761302 h 1108694"/>
                <a:gd name="connsiteX13" fmla="*/ 150413 w 2770772"/>
                <a:gd name="connsiteY13" fmla="*/ 1077187 h 1108694"/>
                <a:gd name="connsiteX0" fmla="*/ 150413 w 2770772"/>
                <a:gd name="connsiteY0" fmla="*/ 1077187 h 1126815"/>
                <a:gd name="connsiteX1" fmla="*/ 0 w 2770772"/>
                <a:gd name="connsiteY1" fmla="*/ 481442 h 1126815"/>
                <a:gd name="connsiteX2" fmla="*/ 127075 w 2770772"/>
                <a:gd name="connsiteY2" fmla="*/ 442651 h 1126815"/>
                <a:gd name="connsiteX3" fmla="*/ 157554 w 2770772"/>
                <a:gd name="connsiteY3" fmla="*/ 393463 h 1126815"/>
                <a:gd name="connsiteX4" fmla="*/ 393441 w 2770772"/>
                <a:gd name="connsiteY4" fmla="*/ 319342 h 1126815"/>
                <a:gd name="connsiteX5" fmla="*/ 433896 w 2770772"/>
                <a:gd name="connsiteY5" fmla="*/ 352592 h 1126815"/>
                <a:gd name="connsiteX6" fmla="*/ 630438 w 2770772"/>
                <a:gd name="connsiteY6" fmla="*/ 288171 h 1126815"/>
                <a:gd name="connsiteX7" fmla="*/ 589650 w 2770772"/>
                <a:gd name="connsiteY7" fmla="*/ 119840 h 1126815"/>
                <a:gd name="connsiteX8" fmla="*/ 972893 w 2770772"/>
                <a:gd name="connsiteY8" fmla="*/ 0 h 1126815"/>
                <a:gd name="connsiteX9" fmla="*/ 1021191 w 2770772"/>
                <a:gd name="connsiteY9" fmla="*/ 165560 h 1126815"/>
                <a:gd name="connsiteX10" fmla="*/ 2770772 w 2770772"/>
                <a:gd name="connsiteY10" fmla="*/ 665211 h 1126815"/>
                <a:gd name="connsiteX11" fmla="*/ 2407298 w 2770772"/>
                <a:gd name="connsiteY11" fmla="*/ 1126815 h 1126815"/>
                <a:gd name="connsiteX12" fmla="*/ 1140867 w 2770772"/>
                <a:gd name="connsiteY12" fmla="*/ 761302 h 1126815"/>
                <a:gd name="connsiteX13" fmla="*/ 150413 w 2770772"/>
                <a:gd name="connsiteY13" fmla="*/ 1077187 h 1126815"/>
                <a:gd name="connsiteX0" fmla="*/ 155222 w 2770772"/>
                <a:gd name="connsiteY0" fmla="*/ 1093736 h 1126815"/>
                <a:gd name="connsiteX1" fmla="*/ 0 w 2770772"/>
                <a:gd name="connsiteY1" fmla="*/ 481442 h 1126815"/>
                <a:gd name="connsiteX2" fmla="*/ 127075 w 2770772"/>
                <a:gd name="connsiteY2" fmla="*/ 442651 h 1126815"/>
                <a:gd name="connsiteX3" fmla="*/ 157554 w 2770772"/>
                <a:gd name="connsiteY3" fmla="*/ 393463 h 1126815"/>
                <a:gd name="connsiteX4" fmla="*/ 393441 w 2770772"/>
                <a:gd name="connsiteY4" fmla="*/ 319342 h 1126815"/>
                <a:gd name="connsiteX5" fmla="*/ 433896 w 2770772"/>
                <a:gd name="connsiteY5" fmla="*/ 352592 h 1126815"/>
                <a:gd name="connsiteX6" fmla="*/ 630438 w 2770772"/>
                <a:gd name="connsiteY6" fmla="*/ 288171 h 1126815"/>
                <a:gd name="connsiteX7" fmla="*/ 589650 w 2770772"/>
                <a:gd name="connsiteY7" fmla="*/ 119840 h 1126815"/>
                <a:gd name="connsiteX8" fmla="*/ 972893 w 2770772"/>
                <a:gd name="connsiteY8" fmla="*/ 0 h 1126815"/>
                <a:gd name="connsiteX9" fmla="*/ 1021191 w 2770772"/>
                <a:gd name="connsiteY9" fmla="*/ 165560 h 1126815"/>
                <a:gd name="connsiteX10" fmla="*/ 2770772 w 2770772"/>
                <a:gd name="connsiteY10" fmla="*/ 665211 h 1126815"/>
                <a:gd name="connsiteX11" fmla="*/ 2407298 w 2770772"/>
                <a:gd name="connsiteY11" fmla="*/ 1126815 h 1126815"/>
                <a:gd name="connsiteX12" fmla="*/ 1140867 w 2770772"/>
                <a:gd name="connsiteY12" fmla="*/ 761302 h 1126815"/>
                <a:gd name="connsiteX13" fmla="*/ 155222 w 2770772"/>
                <a:gd name="connsiteY13" fmla="*/ 1093736 h 112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70772" h="1126815">
                  <a:moveTo>
                    <a:pt x="155222" y="1093736"/>
                  </a:moveTo>
                  <a:cubicBezTo>
                    <a:pt x="144565" y="1001765"/>
                    <a:pt x="37543" y="625290"/>
                    <a:pt x="0" y="481442"/>
                  </a:cubicBezTo>
                  <a:lnTo>
                    <a:pt x="127075" y="442651"/>
                  </a:lnTo>
                  <a:lnTo>
                    <a:pt x="157554" y="393463"/>
                  </a:lnTo>
                  <a:lnTo>
                    <a:pt x="393441" y="319342"/>
                  </a:lnTo>
                  <a:lnTo>
                    <a:pt x="433896" y="352592"/>
                  </a:lnTo>
                  <a:lnTo>
                    <a:pt x="630438" y="288171"/>
                  </a:lnTo>
                  <a:lnTo>
                    <a:pt x="589650" y="119840"/>
                  </a:lnTo>
                  <a:lnTo>
                    <a:pt x="972893" y="0"/>
                  </a:lnTo>
                  <a:lnTo>
                    <a:pt x="1021191" y="165560"/>
                  </a:lnTo>
                  <a:cubicBezTo>
                    <a:pt x="1946630" y="-44957"/>
                    <a:pt x="2491752" y="419633"/>
                    <a:pt x="2770772" y="665211"/>
                  </a:cubicBezTo>
                  <a:lnTo>
                    <a:pt x="2407298" y="1126815"/>
                  </a:lnTo>
                  <a:cubicBezTo>
                    <a:pt x="2221835" y="968421"/>
                    <a:pt x="1827414" y="618194"/>
                    <a:pt x="1140867" y="761302"/>
                  </a:cubicBezTo>
                  <a:cubicBezTo>
                    <a:pt x="810716" y="866597"/>
                    <a:pt x="485373" y="988441"/>
                    <a:pt x="155222" y="1093736"/>
                  </a:cubicBez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T110N_BA3">
              <a:extLst>
                <a:ext uri="{FF2B5EF4-FFF2-40B4-BE49-F238E27FC236}">
                  <a16:creationId xmlns:a16="http://schemas.microsoft.com/office/drawing/2014/main" id="{A51FE6DD-BC37-443B-BA82-B6D5796307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577" y="5296444"/>
              <a:ext cx="348714" cy="489234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140867 w 4144733"/>
                <a:gd name="connsiteY0" fmla="*/ 76130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0" fmla="*/ 1013792 w 4017658"/>
                <a:gd name="connsiteY0" fmla="*/ 761302 h 6198437"/>
                <a:gd name="connsiteX1" fmla="*/ 0 w 4017658"/>
                <a:gd name="connsiteY1" fmla="*/ 442651 h 6198437"/>
                <a:gd name="connsiteX2" fmla="*/ 30479 w 4017658"/>
                <a:gd name="connsiteY2" fmla="*/ 393463 h 6198437"/>
                <a:gd name="connsiteX3" fmla="*/ 266366 w 4017658"/>
                <a:gd name="connsiteY3" fmla="*/ 319342 h 6198437"/>
                <a:gd name="connsiteX4" fmla="*/ 306821 w 4017658"/>
                <a:gd name="connsiteY4" fmla="*/ 352592 h 6198437"/>
                <a:gd name="connsiteX5" fmla="*/ 503363 w 4017658"/>
                <a:gd name="connsiteY5" fmla="*/ 288171 h 6198437"/>
                <a:gd name="connsiteX6" fmla="*/ 462575 w 4017658"/>
                <a:gd name="connsiteY6" fmla="*/ 119840 h 6198437"/>
                <a:gd name="connsiteX7" fmla="*/ 845818 w 4017658"/>
                <a:gd name="connsiteY7" fmla="*/ 0 h 6198437"/>
                <a:gd name="connsiteX8" fmla="*/ 894116 w 4017658"/>
                <a:gd name="connsiteY8" fmla="*/ 165560 h 6198437"/>
                <a:gd name="connsiteX9" fmla="*/ 2657667 w 4017658"/>
                <a:gd name="connsiteY9" fmla="*/ 680900 h 6198437"/>
                <a:gd name="connsiteX10" fmla="*/ 3207797 w 4017658"/>
                <a:gd name="connsiteY10" fmla="*/ 1291242 h 6198437"/>
                <a:gd name="connsiteX11" fmla="*/ 3269201 w 4017658"/>
                <a:gd name="connsiteY11" fmla="*/ 1298860 h 6198437"/>
                <a:gd name="connsiteX12" fmla="*/ 3434042 w 4017658"/>
                <a:gd name="connsiteY12" fmla="*/ 1479661 h 6198437"/>
                <a:gd name="connsiteX13" fmla="*/ 3434265 w 4017658"/>
                <a:gd name="connsiteY13" fmla="*/ 1535080 h 6198437"/>
                <a:gd name="connsiteX14" fmla="*/ 3595529 w 4017658"/>
                <a:gd name="connsiteY14" fmla="*/ 1726990 h 6198437"/>
                <a:gd name="connsiteX15" fmla="*/ 3975517 w 4017658"/>
                <a:gd name="connsiteY15" fmla="*/ 3519512 h 6198437"/>
                <a:gd name="connsiteX16" fmla="*/ 3783438 w 4017658"/>
                <a:gd name="connsiteY16" fmla="*/ 4385669 h 6198437"/>
                <a:gd name="connsiteX17" fmla="*/ 3930888 w 4017658"/>
                <a:gd name="connsiteY17" fmla="*/ 4428964 h 6198437"/>
                <a:gd name="connsiteX18" fmla="*/ 3826971 w 4017658"/>
                <a:gd name="connsiteY18" fmla="*/ 4865439 h 6198437"/>
                <a:gd name="connsiteX19" fmla="*/ 3682368 w 4017658"/>
                <a:gd name="connsiteY19" fmla="*/ 4824545 h 6198437"/>
                <a:gd name="connsiteX20" fmla="*/ 2568941 w 4017658"/>
                <a:gd name="connsiteY20" fmla="*/ 6198437 h 6198437"/>
                <a:gd name="connsiteX21" fmla="*/ 2377943 w 4017658"/>
                <a:gd name="connsiteY21" fmla="*/ 5626725 h 6198437"/>
                <a:gd name="connsiteX22" fmla="*/ 3164078 w 4017658"/>
                <a:gd name="connsiteY22" fmla="*/ 4596953 h 6198437"/>
                <a:gd name="connsiteX23" fmla="*/ 3444127 w 4017658"/>
                <a:gd name="connsiteY23" fmla="*/ 3352779 h 6198437"/>
                <a:gd name="connsiteX24" fmla="*/ 3125311 w 4017658"/>
                <a:gd name="connsiteY24" fmla="*/ 2049487 h 6198437"/>
                <a:gd name="connsiteX25" fmla="*/ 2308058 w 4017658"/>
                <a:gd name="connsiteY25" fmla="*/ 1163055 h 6198437"/>
                <a:gd name="connsiteX26" fmla="*/ 1013792 w 4017658"/>
                <a:gd name="connsiteY26" fmla="*/ 761302 h 6198437"/>
                <a:gd name="connsiteX0" fmla="*/ 983313 w 3987179"/>
                <a:gd name="connsiteY0" fmla="*/ 761302 h 6198437"/>
                <a:gd name="connsiteX1" fmla="*/ 0 w 3987179"/>
                <a:gd name="connsiteY1" fmla="*/ 393463 h 6198437"/>
                <a:gd name="connsiteX2" fmla="*/ 235887 w 3987179"/>
                <a:gd name="connsiteY2" fmla="*/ 319342 h 6198437"/>
                <a:gd name="connsiteX3" fmla="*/ 276342 w 3987179"/>
                <a:gd name="connsiteY3" fmla="*/ 352592 h 6198437"/>
                <a:gd name="connsiteX4" fmla="*/ 472884 w 3987179"/>
                <a:gd name="connsiteY4" fmla="*/ 288171 h 6198437"/>
                <a:gd name="connsiteX5" fmla="*/ 432096 w 3987179"/>
                <a:gd name="connsiteY5" fmla="*/ 119840 h 6198437"/>
                <a:gd name="connsiteX6" fmla="*/ 815339 w 3987179"/>
                <a:gd name="connsiteY6" fmla="*/ 0 h 6198437"/>
                <a:gd name="connsiteX7" fmla="*/ 863637 w 3987179"/>
                <a:gd name="connsiteY7" fmla="*/ 165560 h 6198437"/>
                <a:gd name="connsiteX8" fmla="*/ 2627188 w 3987179"/>
                <a:gd name="connsiteY8" fmla="*/ 680900 h 6198437"/>
                <a:gd name="connsiteX9" fmla="*/ 3177318 w 3987179"/>
                <a:gd name="connsiteY9" fmla="*/ 1291242 h 6198437"/>
                <a:gd name="connsiteX10" fmla="*/ 3238722 w 3987179"/>
                <a:gd name="connsiteY10" fmla="*/ 1298860 h 6198437"/>
                <a:gd name="connsiteX11" fmla="*/ 3403563 w 3987179"/>
                <a:gd name="connsiteY11" fmla="*/ 1479661 h 6198437"/>
                <a:gd name="connsiteX12" fmla="*/ 3403786 w 3987179"/>
                <a:gd name="connsiteY12" fmla="*/ 1535080 h 6198437"/>
                <a:gd name="connsiteX13" fmla="*/ 3565050 w 3987179"/>
                <a:gd name="connsiteY13" fmla="*/ 1726990 h 6198437"/>
                <a:gd name="connsiteX14" fmla="*/ 3945038 w 3987179"/>
                <a:gd name="connsiteY14" fmla="*/ 3519512 h 6198437"/>
                <a:gd name="connsiteX15" fmla="*/ 3752959 w 3987179"/>
                <a:gd name="connsiteY15" fmla="*/ 4385669 h 6198437"/>
                <a:gd name="connsiteX16" fmla="*/ 3900409 w 3987179"/>
                <a:gd name="connsiteY16" fmla="*/ 4428964 h 6198437"/>
                <a:gd name="connsiteX17" fmla="*/ 3796492 w 3987179"/>
                <a:gd name="connsiteY17" fmla="*/ 4865439 h 6198437"/>
                <a:gd name="connsiteX18" fmla="*/ 3651889 w 3987179"/>
                <a:gd name="connsiteY18" fmla="*/ 4824545 h 6198437"/>
                <a:gd name="connsiteX19" fmla="*/ 2538462 w 3987179"/>
                <a:gd name="connsiteY19" fmla="*/ 6198437 h 6198437"/>
                <a:gd name="connsiteX20" fmla="*/ 2347464 w 3987179"/>
                <a:gd name="connsiteY20" fmla="*/ 5626725 h 6198437"/>
                <a:gd name="connsiteX21" fmla="*/ 3133599 w 3987179"/>
                <a:gd name="connsiteY21" fmla="*/ 4596953 h 6198437"/>
                <a:gd name="connsiteX22" fmla="*/ 3413648 w 3987179"/>
                <a:gd name="connsiteY22" fmla="*/ 3352779 h 6198437"/>
                <a:gd name="connsiteX23" fmla="*/ 3094832 w 3987179"/>
                <a:gd name="connsiteY23" fmla="*/ 2049487 h 6198437"/>
                <a:gd name="connsiteX24" fmla="*/ 2277579 w 3987179"/>
                <a:gd name="connsiteY24" fmla="*/ 1163055 h 6198437"/>
                <a:gd name="connsiteX25" fmla="*/ 983313 w 3987179"/>
                <a:gd name="connsiteY25" fmla="*/ 761302 h 6198437"/>
                <a:gd name="connsiteX0" fmla="*/ 747426 w 3751292"/>
                <a:gd name="connsiteY0" fmla="*/ 761302 h 6198437"/>
                <a:gd name="connsiteX1" fmla="*/ 0 w 3751292"/>
                <a:gd name="connsiteY1" fmla="*/ 319342 h 6198437"/>
                <a:gd name="connsiteX2" fmla="*/ 40455 w 3751292"/>
                <a:gd name="connsiteY2" fmla="*/ 352592 h 6198437"/>
                <a:gd name="connsiteX3" fmla="*/ 236997 w 3751292"/>
                <a:gd name="connsiteY3" fmla="*/ 288171 h 6198437"/>
                <a:gd name="connsiteX4" fmla="*/ 196209 w 3751292"/>
                <a:gd name="connsiteY4" fmla="*/ 119840 h 6198437"/>
                <a:gd name="connsiteX5" fmla="*/ 579452 w 3751292"/>
                <a:gd name="connsiteY5" fmla="*/ 0 h 6198437"/>
                <a:gd name="connsiteX6" fmla="*/ 627750 w 3751292"/>
                <a:gd name="connsiteY6" fmla="*/ 165560 h 6198437"/>
                <a:gd name="connsiteX7" fmla="*/ 2391301 w 3751292"/>
                <a:gd name="connsiteY7" fmla="*/ 680900 h 6198437"/>
                <a:gd name="connsiteX8" fmla="*/ 2941431 w 3751292"/>
                <a:gd name="connsiteY8" fmla="*/ 1291242 h 6198437"/>
                <a:gd name="connsiteX9" fmla="*/ 3002835 w 3751292"/>
                <a:gd name="connsiteY9" fmla="*/ 1298860 h 6198437"/>
                <a:gd name="connsiteX10" fmla="*/ 3167676 w 3751292"/>
                <a:gd name="connsiteY10" fmla="*/ 1479661 h 6198437"/>
                <a:gd name="connsiteX11" fmla="*/ 3167899 w 3751292"/>
                <a:gd name="connsiteY11" fmla="*/ 1535080 h 6198437"/>
                <a:gd name="connsiteX12" fmla="*/ 3329163 w 3751292"/>
                <a:gd name="connsiteY12" fmla="*/ 1726990 h 6198437"/>
                <a:gd name="connsiteX13" fmla="*/ 3709151 w 3751292"/>
                <a:gd name="connsiteY13" fmla="*/ 3519512 h 6198437"/>
                <a:gd name="connsiteX14" fmla="*/ 3517072 w 3751292"/>
                <a:gd name="connsiteY14" fmla="*/ 4385669 h 6198437"/>
                <a:gd name="connsiteX15" fmla="*/ 3664522 w 3751292"/>
                <a:gd name="connsiteY15" fmla="*/ 4428964 h 6198437"/>
                <a:gd name="connsiteX16" fmla="*/ 3560605 w 3751292"/>
                <a:gd name="connsiteY16" fmla="*/ 4865439 h 6198437"/>
                <a:gd name="connsiteX17" fmla="*/ 3416002 w 3751292"/>
                <a:gd name="connsiteY17" fmla="*/ 4824545 h 6198437"/>
                <a:gd name="connsiteX18" fmla="*/ 2302575 w 3751292"/>
                <a:gd name="connsiteY18" fmla="*/ 6198437 h 6198437"/>
                <a:gd name="connsiteX19" fmla="*/ 2111577 w 3751292"/>
                <a:gd name="connsiteY19" fmla="*/ 5626725 h 6198437"/>
                <a:gd name="connsiteX20" fmla="*/ 2897712 w 3751292"/>
                <a:gd name="connsiteY20" fmla="*/ 4596953 h 6198437"/>
                <a:gd name="connsiteX21" fmla="*/ 3177761 w 3751292"/>
                <a:gd name="connsiteY21" fmla="*/ 3352779 h 6198437"/>
                <a:gd name="connsiteX22" fmla="*/ 2858945 w 3751292"/>
                <a:gd name="connsiteY22" fmla="*/ 2049487 h 6198437"/>
                <a:gd name="connsiteX23" fmla="*/ 2041692 w 3751292"/>
                <a:gd name="connsiteY23" fmla="*/ 1163055 h 6198437"/>
                <a:gd name="connsiteX24" fmla="*/ 747426 w 3751292"/>
                <a:gd name="connsiteY24" fmla="*/ 761302 h 6198437"/>
                <a:gd name="connsiteX0" fmla="*/ 706971 w 3710837"/>
                <a:gd name="connsiteY0" fmla="*/ 761302 h 6198437"/>
                <a:gd name="connsiteX1" fmla="*/ 0 w 3710837"/>
                <a:gd name="connsiteY1" fmla="*/ 352592 h 6198437"/>
                <a:gd name="connsiteX2" fmla="*/ 196542 w 3710837"/>
                <a:gd name="connsiteY2" fmla="*/ 288171 h 6198437"/>
                <a:gd name="connsiteX3" fmla="*/ 155754 w 3710837"/>
                <a:gd name="connsiteY3" fmla="*/ 119840 h 6198437"/>
                <a:gd name="connsiteX4" fmla="*/ 538997 w 3710837"/>
                <a:gd name="connsiteY4" fmla="*/ 0 h 6198437"/>
                <a:gd name="connsiteX5" fmla="*/ 587295 w 3710837"/>
                <a:gd name="connsiteY5" fmla="*/ 165560 h 6198437"/>
                <a:gd name="connsiteX6" fmla="*/ 2350846 w 3710837"/>
                <a:gd name="connsiteY6" fmla="*/ 680900 h 6198437"/>
                <a:gd name="connsiteX7" fmla="*/ 2900976 w 3710837"/>
                <a:gd name="connsiteY7" fmla="*/ 1291242 h 6198437"/>
                <a:gd name="connsiteX8" fmla="*/ 2962380 w 3710837"/>
                <a:gd name="connsiteY8" fmla="*/ 1298860 h 6198437"/>
                <a:gd name="connsiteX9" fmla="*/ 3127221 w 3710837"/>
                <a:gd name="connsiteY9" fmla="*/ 1479661 h 6198437"/>
                <a:gd name="connsiteX10" fmla="*/ 3127444 w 3710837"/>
                <a:gd name="connsiteY10" fmla="*/ 1535080 h 6198437"/>
                <a:gd name="connsiteX11" fmla="*/ 3288708 w 3710837"/>
                <a:gd name="connsiteY11" fmla="*/ 1726990 h 6198437"/>
                <a:gd name="connsiteX12" fmla="*/ 3668696 w 3710837"/>
                <a:gd name="connsiteY12" fmla="*/ 3519512 h 6198437"/>
                <a:gd name="connsiteX13" fmla="*/ 3476617 w 3710837"/>
                <a:gd name="connsiteY13" fmla="*/ 4385669 h 6198437"/>
                <a:gd name="connsiteX14" fmla="*/ 3624067 w 3710837"/>
                <a:gd name="connsiteY14" fmla="*/ 4428964 h 6198437"/>
                <a:gd name="connsiteX15" fmla="*/ 3520150 w 3710837"/>
                <a:gd name="connsiteY15" fmla="*/ 4865439 h 6198437"/>
                <a:gd name="connsiteX16" fmla="*/ 3375547 w 3710837"/>
                <a:gd name="connsiteY16" fmla="*/ 4824545 h 6198437"/>
                <a:gd name="connsiteX17" fmla="*/ 2262120 w 3710837"/>
                <a:gd name="connsiteY17" fmla="*/ 6198437 h 6198437"/>
                <a:gd name="connsiteX18" fmla="*/ 2071122 w 3710837"/>
                <a:gd name="connsiteY18" fmla="*/ 5626725 h 6198437"/>
                <a:gd name="connsiteX19" fmla="*/ 2857257 w 3710837"/>
                <a:gd name="connsiteY19" fmla="*/ 4596953 h 6198437"/>
                <a:gd name="connsiteX20" fmla="*/ 3137306 w 3710837"/>
                <a:gd name="connsiteY20" fmla="*/ 3352779 h 6198437"/>
                <a:gd name="connsiteX21" fmla="*/ 2818490 w 3710837"/>
                <a:gd name="connsiteY21" fmla="*/ 2049487 h 6198437"/>
                <a:gd name="connsiteX22" fmla="*/ 2001237 w 3710837"/>
                <a:gd name="connsiteY22" fmla="*/ 1163055 h 6198437"/>
                <a:gd name="connsiteX23" fmla="*/ 706971 w 3710837"/>
                <a:gd name="connsiteY23" fmla="*/ 761302 h 6198437"/>
                <a:gd name="connsiteX0" fmla="*/ 551217 w 3555083"/>
                <a:gd name="connsiteY0" fmla="*/ 761302 h 6198437"/>
                <a:gd name="connsiteX1" fmla="*/ 40788 w 3555083"/>
                <a:gd name="connsiteY1" fmla="*/ 288171 h 6198437"/>
                <a:gd name="connsiteX2" fmla="*/ 0 w 3555083"/>
                <a:gd name="connsiteY2" fmla="*/ 119840 h 6198437"/>
                <a:gd name="connsiteX3" fmla="*/ 383243 w 3555083"/>
                <a:gd name="connsiteY3" fmla="*/ 0 h 6198437"/>
                <a:gd name="connsiteX4" fmla="*/ 431541 w 3555083"/>
                <a:gd name="connsiteY4" fmla="*/ 165560 h 6198437"/>
                <a:gd name="connsiteX5" fmla="*/ 2195092 w 3555083"/>
                <a:gd name="connsiteY5" fmla="*/ 680900 h 6198437"/>
                <a:gd name="connsiteX6" fmla="*/ 2745222 w 3555083"/>
                <a:gd name="connsiteY6" fmla="*/ 1291242 h 6198437"/>
                <a:gd name="connsiteX7" fmla="*/ 2806626 w 3555083"/>
                <a:gd name="connsiteY7" fmla="*/ 1298860 h 6198437"/>
                <a:gd name="connsiteX8" fmla="*/ 2971467 w 3555083"/>
                <a:gd name="connsiteY8" fmla="*/ 1479661 h 6198437"/>
                <a:gd name="connsiteX9" fmla="*/ 2971690 w 3555083"/>
                <a:gd name="connsiteY9" fmla="*/ 1535080 h 6198437"/>
                <a:gd name="connsiteX10" fmla="*/ 3132954 w 3555083"/>
                <a:gd name="connsiteY10" fmla="*/ 1726990 h 6198437"/>
                <a:gd name="connsiteX11" fmla="*/ 3512942 w 3555083"/>
                <a:gd name="connsiteY11" fmla="*/ 3519512 h 6198437"/>
                <a:gd name="connsiteX12" fmla="*/ 3320863 w 3555083"/>
                <a:gd name="connsiteY12" fmla="*/ 4385669 h 6198437"/>
                <a:gd name="connsiteX13" fmla="*/ 3468313 w 3555083"/>
                <a:gd name="connsiteY13" fmla="*/ 4428964 h 6198437"/>
                <a:gd name="connsiteX14" fmla="*/ 3364396 w 3555083"/>
                <a:gd name="connsiteY14" fmla="*/ 4865439 h 6198437"/>
                <a:gd name="connsiteX15" fmla="*/ 3219793 w 3555083"/>
                <a:gd name="connsiteY15" fmla="*/ 4824545 h 6198437"/>
                <a:gd name="connsiteX16" fmla="*/ 2106366 w 3555083"/>
                <a:gd name="connsiteY16" fmla="*/ 6198437 h 6198437"/>
                <a:gd name="connsiteX17" fmla="*/ 1915368 w 3555083"/>
                <a:gd name="connsiteY17" fmla="*/ 5626725 h 6198437"/>
                <a:gd name="connsiteX18" fmla="*/ 2701503 w 3555083"/>
                <a:gd name="connsiteY18" fmla="*/ 4596953 h 6198437"/>
                <a:gd name="connsiteX19" fmla="*/ 2981552 w 3555083"/>
                <a:gd name="connsiteY19" fmla="*/ 3352779 h 6198437"/>
                <a:gd name="connsiteX20" fmla="*/ 2662736 w 3555083"/>
                <a:gd name="connsiteY20" fmla="*/ 2049487 h 6198437"/>
                <a:gd name="connsiteX21" fmla="*/ 1845483 w 3555083"/>
                <a:gd name="connsiteY21" fmla="*/ 1163055 h 6198437"/>
                <a:gd name="connsiteX22" fmla="*/ 551217 w 3555083"/>
                <a:gd name="connsiteY22" fmla="*/ 761302 h 6198437"/>
                <a:gd name="connsiteX0" fmla="*/ 551217 w 3555083"/>
                <a:gd name="connsiteY0" fmla="*/ 761302 h 6198437"/>
                <a:gd name="connsiteX1" fmla="*/ 0 w 3555083"/>
                <a:gd name="connsiteY1" fmla="*/ 119840 h 6198437"/>
                <a:gd name="connsiteX2" fmla="*/ 383243 w 3555083"/>
                <a:gd name="connsiteY2" fmla="*/ 0 h 6198437"/>
                <a:gd name="connsiteX3" fmla="*/ 431541 w 3555083"/>
                <a:gd name="connsiteY3" fmla="*/ 165560 h 6198437"/>
                <a:gd name="connsiteX4" fmla="*/ 2195092 w 3555083"/>
                <a:gd name="connsiteY4" fmla="*/ 680900 h 6198437"/>
                <a:gd name="connsiteX5" fmla="*/ 2745222 w 3555083"/>
                <a:gd name="connsiteY5" fmla="*/ 1291242 h 6198437"/>
                <a:gd name="connsiteX6" fmla="*/ 2806626 w 3555083"/>
                <a:gd name="connsiteY6" fmla="*/ 1298860 h 6198437"/>
                <a:gd name="connsiteX7" fmla="*/ 2971467 w 3555083"/>
                <a:gd name="connsiteY7" fmla="*/ 1479661 h 6198437"/>
                <a:gd name="connsiteX8" fmla="*/ 2971690 w 3555083"/>
                <a:gd name="connsiteY8" fmla="*/ 1535080 h 6198437"/>
                <a:gd name="connsiteX9" fmla="*/ 3132954 w 3555083"/>
                <a:gd name="connsiteY9" fmla="*/ 1726990 h 6198437"/>
                <a:gd name="connsiteX10" fmla="*/ 3512942 w 3555083"/>
                <a:gd name="connsiteY10" fmla="*/ 3519512 h 6198437"/>
                <a:gd name="connsiteX11" fmla="*/ 3320863 w 3555083"/>
                <a:gd name="connsiteY11" fmla="*/ 4385669 h 6198437"/>
                <a:gd name="connsiteX12" fmla="*/ 3468313 w 3555083"/>
                <a:gd name="connsiteY12" fmla="*/ 4428964 h 6198437"/>
                <a:gd name="connsiteX13" fmla="*/ 3364396 w 3555083"/>
                <a:gd name="connsiteY13" fmla="*/ 4865439 h 6198437"/>
                <a:gd name="connsiteX14" fmla="*/ 3219793 w 3555083"/>
                <a:gd name="connsiteY14" fmla="*/ 4824545 h 6198437"/>
                <a:gd name="connsiteX15" fmla="*/ 2106366 w 3555083"/>
                <a:gd name="connsiteY15" fmla="*/ 6198437 h 6198437"/>
                <a:gd name="connsiteX16" fmla="*/ 1915368 w 3555083"/>
                <a:gd name="connsiteY16" fmla="*/ 5626725 h 6198437"/>
                <a:gd name="connsiteX17" fmla="*/ 2701503 w 3555083"/>
                <a:gd name="connsiteY17" fmla="*/ 4596953 h 6198437"/>
                <a:gd name="connsiteX18" fmla="*/ 2981552 w 3555083"/>
                <a:gd name="connsiteY18" fmla="*/ 3352779 h 6198437"/>
                <a:gd name="connsiteX19" fmla="*/ 2662736 w 3555083"/>
                <a:gd name="connsiteY19" fmla="*/ 2049487 h 6198437"/>
                <a:gd name="connsiteX20" fmla="*/ 1845483 w 3555083"/>
                <a:gd name="connsiteY20" fmla="*/ 1163055 h 6198437"/>
                <a:gd name="connsiteX21" fmla="*/ 551217 w 3555083"/>
                <a:gd name="connsiteY21" fmla="*/ 761302 h 6198437"/>
                <a:gd name="connsiteX0" fmla="*/ 167974 w 3171840"/>
                <a:gd name="connsiteY0" fmla="*/ 761302 h 6198437"/>
                <a:gd name="connsiteX1" fmla="*/ 0 w 3171840"/>
                <a:gd name="connsiteY1" fmla="*/ 0 h 6198437"/>
                <a:gd name="connsiteX2" fmla="*/ 48298 w 3171840"/>
                <a:gd name="connsiteY2" fmla="*/ 165560 h 6198437"/>
                <a:gd name="connsiteX3" fmla="*/ 1811849 w 3171840"/>
                <a:gd name="connsiteY3" fmla="*/ 680900 h 6198437"/>
                <a:gd name="connsiteX4" fmla="*/ 2361979 w 3171840"/>
                <a:gd name="connsiteY4" fmla="*/ 1291242 h 6198437"/>
                <a:gd name="connsiteX5" fmla="*/ 2423383 w 3171840"/>
                <a:gd name="connsiteY5" fmla="*/ 1298860 h 6198437"/>
                <a:gd name="connsiteX6" fmla="*/ 2588224 w 3171840"/>
                <a:gd name="connsiteY6" fmla="*/ 1479661 h 6198437"/>
                <a:gd name="connsiteX7" fmla="*/ 2588447 w 3171840"/>
                <a:gd name="connsiteY7" fmla="*/ 1535080 h 6198437"/>
                <a:gd name="connsiteX8" fmla="*/ 2749711 w 3171840"/>
                <a:gd name="connsiteY8" fmla="*/ 1726990 h 6198437"/>
                <a:gd name="connsiteX9" fmla="*/ 3129699 w 3171840"/>
                <a:gd name="connsiteY9" fmla="*/ 3519512 h 6198437"/>
                <a:gd name="connsiteX10" fmla="*/ 2937620 w 3171840"/>
                <a:gd name="connsiteY10" fmla="*/ 4385669 h 6198437"/>
                <a:gd name="connsiteX11" fmla="*/ 3085070 w 3171840"/>
                <a:gd name="connsiteY11" fmla="*/ 4428964 h 6198437"/>
                <a:gd name="connsiteX12" fmla="*/ 2981153 w 3171840"/>
                <a:gd name="connsiteY12" fmla="*/ 4865439 h 6198437"/>
                <a:gd name="connsiteX13" fmla="*/ 2836550 w 3171840"/>
                <a:gd name="connsiteY13" fmla="*/ 4824545 h 6198437"/>
                <a:gd name="connsiteX14" fmla="*/ 1723123 w 3171840"/>
                <a:gd name="connsiteY14" fmla="*/ 6198437 h 6198437"/>
                <a:gd name="connsiteX15" fmla="*/ 1532125 w 3171840"/>
                <a:gd name="connsiteY15" fmla="*/ 5626725 h 6198437"/>
                <a:gd name="connsiteX16" fmla="*/ 2318260 w 3171840"/>
                <a:gd name="connsiteY16" fmla="*/ 4596953 h 6198437"/>
                <a:gd name="connsiteX17" fmla="*/ 2598309 w 3171840"/>
                <a:gd name="connsiteY17" fmla="*/ 3352779 h 6198437"/>
                <a:gd name="connsiteX18" fmla="*/ 2279493 w 3171840"/>
                <a:gd name="connsiteY18" fmla="*/ 2049487 h 6198437"/>
                <a:gd name="connsiteX19" fmla="*/ 1462240 w 3171840"/>
                <a:gd name="connsiteY19" fmla="*/ 1163055 h 6198437"/>
                <a:gd name="connsiteX20" fmla="*/ 167974 w 3171840"/>
                <a:gd name="connsiteY20" fmla="*/ 761302 h 6198437"/>
                <a:gd name="connsiteX0" fmla="*/ 119676 w 3123542"/>
                <a:gd name="connsiteY0" fmla="*/ 648673 h 6085808"/>
                <a:gd name="connsiteX1" fmla="*/ 0 w 3123542"/>
                <a:gd name="connsiteY1" fmla="*/ 52931 h 6085808"/>
                <a:gd name="connsiteX2" fmla="*/ 1763551 w 3123542"/>
                <a:gd name="connsiteY2" fmla="*/ 568271 h 6085808"/>
                <a:gd name="connsiteX3" fmla="*/ 2313681 w 3123542"/>
                <a:gd name="connsiteY3" fmla="*/ 1178613 h 6085808"/>
                <a:gd name="connsiteX4" fmla="*/ 2375085 w 3123542"/>
                <a:gd name="connsiteY4" fmla="*/ 1186231 h 6085808"/>
                <a:gd name="connsiteX5" fmla="*/ 2539926 w 3123542"/>
                <a:gd name="connsiteY5" fmla="*/ 1367032 h 6085808"/>
                <a:gd name="connsiteX6" fmla="*/ 2540149 w 3123542"/>
                <a:gd name="connsiteY6" fmla="*/ 1422451 h 6085808"/>
                <a:gd name="connsiteX7" fmla="*/ 2701413 w 3123542"/>
                <a:gd name="connsiteY7" fmla="*/ 1614361 h 6085808"/>
                <a:gd name="connsiteX8" fmla="*/ 3081401 w 3123542"/>
                <a:gd name="connsiteY8" fmla="*/ 3406883 h 6085808"/>
                <a:gd name="connsiteX9" fmla="*/ 2889322 w 3123542"/>
                <a:gd name="connsiteY9" fmla="*/ 4273040 h 6085808"/>
                <a:gd name="connsiteX10" fmla="*/ 3036772 w 3123542"/>
                <a:gd name="connsiteY10" fmla="*/ 4316335 h 6085808"/>
                <a:gd name="connsiteX11" fmla="*/ 2932855 w 3123542"/>
                <a:gd name="connsiteY11" fmla="*/ 4752810 h 6085808"/>
                <a:gd name="connsiteX12" fmla="*/ 2788252 w 3123542"/>
                <a:gd name="connsiteY12" fmla="*/ 4711916 h 6085808"/>
                <a:gd name="connsiteX13" fmla="*/ 1674825 w 3123542"/>
                <a:gd name="connsiteY13" fmla="*/ 6085808 h 6085808"/>
                <a:gd name="connsiteX14" fmla="*/ 1483827 w 3123542"/>
                <a:gd name="connsiteY14" fmla="*/ 5514096 h 6085808"/>
                <a:gd name="connsiteX15" fmla="*/ 2269962 w 3123542"/>
                <a:gd name="connsiteY15" fmla="*/ 4484324 h 6085808"/>
                <a:gd name="connsiteX16" fmla="*/ 2550011 w 3123542"/>
                <a:gd name="connsiteY16" fmla="*/ 3240150 h 6085808"/>
                <a:gd name="connsiteX17" fmla="*/ 2231195 w 3123542"/>
                <a:gd name="connsiteY17" fmla="*/ 1936858 h 6085808"/>
                <a:gd name="connsiteX18" fmla="*/ 1413942 w 3123542"/>
                <a:gd name="connsiteY18" fmla="*/ 1050426 h 6085808"/>
                <a:gd name="connsiteX19" fmla="*/ 119676 w 3123542"/>
                <a:gd name="connsiteY19" fmla="*/ 648673 h 6085808"/>
                <a:gd name="connsiteX0" fmla="*/ 0 w 3003866"/>
                <a:gd name="connsiteY0" fmla="*/ 80402 h 5517537"/>
                <a:gd name="connsiteX1" fmla="*/ 1643875 w 3003866"/>
                <a:gd name="connsiteY1" fmla="*/ 0 h 5517537"/>
                <a:gd name="connsiteX2" fmla="*/ 2194005 w 3003866"/>
                <a:gd name="connsiteY2" fmla="*/ 610342 h 5517537"/>
                <a:gd name="connsiteX3" fmla="*/ 2255409 w 3003866"/>
                <a:gd name="connsiteY3" fmla="*/ 617960 h 5517537"/>
                <a:gd name="connsiteX4" fmla="*/ 2420250 w 3003866"/>
                <a:gd name="connsiteY4" fmla="*/ 798761 h 5517537"/>
                <a:gd name="connsiteX5" fmla="*/ 2420473 w 3003866"/>
                <a:gd name="connsiteY5" fmla="*/ 854180 h 5517537"/>
                <a:gd name="connsiteX6" fmla="*/ 2581737 w 3003866"/>
                <a:gd name="connsiteY6" fmla="*/ 1046090 h 5517537"/>
                <a:gd name="connsiteX7" fmla="*/ 2961725 w 3003866"/>
                <a:gd name="connsiteY7" fmla="*/ 2838612 h 5517537"/>
                <a:gd name="connsiteX8" fmla="*/ 2769646 w 3003866"/>
                <a:gd name="connsiteY8" fmla="*/ 3704769 h 5517537"/>
                <a:gd name="connsiteX9" fmla="*/ 2917096 w 3003866"/>
                <a:gd name="connsiteY9" fmla="*/ 3748064 h 5517537"/>
                <a:gd name="connsiteX10" fmla="*/ 2813179 w 3003866"/>
                <a:gd name="connsiteY10" fmla="*/ 4184539 h 5517537"/>
                <a:gd name="connsiteX11" fmla="*/ 2668576 w 3003866"/>
                <a:gd name="connsiteY11" fmla="*/ 4143645 h 5517537"/>
                <a:gd name="connsiteX12" fmla="*/ 1555149 w 3003866"/>
                <a:gd name="connsiteY12" fmla="*/ 5517537 h 5517537"/>
                <a:gd name="connsiteX13" fmla="*/ 1364151 w 3003866"/>
                <a:gd name="connsiteY13" fmla="*/ 4945825 h 5517537"/>
                <a:gd name="connsiteX14" fmla="*/ 2150286 w 3003866"/>
                <a:gd name="connsiteY14" fmla="*/ 3916053 h 5517537"/>
                <a:gd name="connsiteX15" fmla="*/ 2430335 w 3003866"/>
                <a:gd name="connsiteY15" fmla="*/ 2671879 h 5517537"/>
                <a:gd name="connsiteX16" fmla="*/ 2111519 w 3003866"/>
                <a:gd name="connsiteY16" fmla="*/ 1368587 h 5517537"/>
                <a:gd name="connsiteX17" fmla="*/ 1294266 w 3003866"/>
                <a:gd name="connsiteY17" fmla="*/ 482155 h 5517537"/>
                <a:gd name="connsiteX18" fmla="*/ 0 w 3003866"/>
                <a:gd name="connsiteY18" fmla="*/ 80402 h 5517537"/>
                <a:gd name="connsiteX0" fmla="*/ 13536 w 1723136"/>
                <a:gd name="connsiteY0" fmla="*/ 483325 h 5518707"/>
                <a:gd name="connsiteX1" fmla="*/ 363145 w 1723136"/>
                <a:gd name="connsiteY1" fmla="*/ 1170 h 5518707"/>
                <a:gd name="connsiteX2" fmla="*/ 913275 w 1723136"/>
                <a:gd name="connsiteY2" fmla="*/ 611512 h 5518707"/>
                <a:gd name="connsiteX3" fmla="*/ 974679 w 1723136"/>
                <a:gd name="connsiteY3" fmla="*/ 619130 h 5518707"/>
                <a:gd name="connsiteX4" fmla="*/ 1139520 w 1723136"/>
                <a:gd name="connsiteY4" fmla="*/ 799931 h 5518707"/>
                <a:gd name="connsiteX5" fmla="*/ 1139743 w 1723136"/>
                <a:gd name="connsiteY5" fmla="*/ 855350 h 5518707"/>
                <a:gd name="connsiteX6" fmla="*/ 1301007 w 1723136"/>
                <a:gd name="connsiteY6" fmla="*/ 1047260 h 5518707"/>
                <a:gd name="connsiteX7" fmla="*/ 1680995 w 1723136"/>
                <a:gd name="connsiteY7" fmla="*/ 2839782 h 5518707"/>
                <a:gd name="connsiteX8" fmla="*/ 1488916 w 1723136"/>
                <a:gd name="connsiteY8" fmla="*/ 3705939 h 5518707"/>
                <a:gd name="connsiteX9" fmla="*/ 1636366 w 1723136"/>
                <a:gd name="connsiteY9" fmla="*/ 3749234 h 5518707"/>
                <a:gd name="connsiteX10" fmla="*/ 1532449 w 1723136"/>
                <a:gd name="connsiteY10" fmla="*/ 4185709 h 5518707"/>
                <a:gd name="connsiteX11" fmla="*/ 1387846 w 1723136"/>
                <a:gd name="connsiteY11" fmla="*/ 4144815 h 5518707"/>
                <a:gd name="connsiteX12" fmla="*/ 274419 w 1723136"/>
                <a:gd name="connsiteY12" fmla="*/ 5518707 h 5518707"/>
                <a:gd name="connsiteX13" fmla="*/ 83421 w 1723136"/>
                <a:gd name="connsiteY13" fmla="*/ 4946995 h 5518707"/>
                <a:gd name="connsiteX14" fmla="*/ 869556 w 1723136"/>
                <a:gd name="connsiteY14" fmla="*/ 3917223 h 5518707"/>
                <a:gd name="connsiteX15" fmla="*/ 1149605 w 1723136"/>
                <a:gd name="connsiteY15" fmla="*/ 2673049 h 5518707"/>
                <a:gd name="connsiteX16" fmla="*/ 830789 w 1723136"/>
                <a:gd name="connsiteY16" fmla="*/ 1369757 h 5518707"/>
                <a:gd name="connsiteX17" fmla="*/ 13536 w 1723136"/>
                <a:gd name="connsiteY17" fmla="*/ 483325 h 5518707"/>
                <a:gd name="connsiteX0" fmla="*/ 0 w 1709600"/>
                <a:gd name="connsiteY0" fmla="*/ 483078 h 5518460"/>
                <a:gd name="connsiteX1" fmla="*/ 349609 w 1709600"/>
                <a:gd name="connsiteY1" fmla="*/ 923 h 5518460"/>
                <a:gd name="connsiteX2" fmla="*/ 899739 w 1709600"/>
                <a:gd name="connsiteY2" fmla="*/ 611265 h 5518460"/>
                <a:gd name="connsiteX3" fmla="*/ 961143 w 1709600"/>
                <a:gd name="connsiteY3" fmla="*/ 618883 h 5518460"/>
                <a:gd name="connsiteX4" fmla="*/ 1125984 w 1709600"/>
                <a:gd name="connsiteY4" fmla="*/ 799684 h 5518460"/>
                <a:gd name="connsiteX5" fmla="*/ 1126207 w 1709600"/>
                <a:gd name="connsiteY5" fmla="*/ 855103 h 5518460"/>
                <a:gd name="connsiteX6" fmla="*/ 1287471 w 1709600"/>
                <a:gd name="connsiteY6" fmla="*/ 1047013 h 5518460"/>
                <a:gd name="connsiteX7" fmla="*/ 1667459 w 1709600"/>
                <a:gd name="connsiteY7" fmla="*/ 2839535 h 5518460"/>
                <a:gd name="connsiteX8" fmla="*/ 1475380 w 1709600"/>
                <a:gd name="connsiteY8" fmla="*/ 3705692 h 5518460"/>
                <a:gd name="connsiteX9" fmla="*/ 1622830 w 1709600"/>
                <a:gd name="connsiteY9" fmla="*/ 3748987 h 5518460"/>
                <a:gd name="connsiteX10" fmla="*/ 1518913 w 1709600"/>
                <a:gd name="connsiteY10" fmla="*/ 4185462 h 5518460"/>
                <a:gd name="connsiteX11" fmla="*/ 1374310 w 1709600"/>
                <a:gd name="connsiteY11" fmla="*/ 4144568 h 5518460"/>
                <a:gd name="connsiteX12" fmla="*/ 260883 w 1709600"/>
                <a:gd name="connsiteY12" fmla="*/ 5518460 h 5518460"/>
                <a:gd name="connsiteX13" fmla="*/ 69885 w 1709600"/>
                <a:gd name="connsiteY13" fmla="*/ 4946748 h 5518460"/>
                <a:gd name="connsiteX14" fmla="*/ 856020 w 1709600"/>
                <a:gd name="connsiteY14" fmla="*/ 3916976 h 5518460"/>
                <a:gd name="connsiteX15" fmla="*/ 1136069 w 1709600"/>
                <a:gd name="connsiteY15" fmla="*/ 2672802 h 5518460"/>
                <a:gd name="connsiteX16" fmla="*/ 817253 w 1709600"/>
                <a:gd name="connsiteY16" fmla="*/ 1369510 h 5518460"/>
                <a:gd name="connsiteX17" fmla="*/ 0 w 1709600"/>
                <a:gd name="connsiteY17" fmla="*/ 483078 h 5518460"/>
                <a:gd name="connsiteX0" fmla="*/ 0 w 1732009"/>
                <a:gd name="connsiteY0" fmla="*/ 467166 h 5518500"/>
                <a:gd name="connsiteX1" fmla="*/ 372018 w 1732009"/>
                <a:gd name="connsiteY1" fmla="*/ 963 h 5518500"/>
                <a:gd name="connsiteX2" fmla="*/ 922148 w 1732009"/>
                <a:gd name="connsiteY2" fmla="*/ 611305 h 5518500"/>
                <a:gd name="connsiteX3" fmla="*/ 983552 w 1732009"/>
                <a:gd name="connsiteY3" fmla="*/ 618923 h 5518500"/>
                <a:gd name="connsiteX4" fmla="*/ 1148393 w 1732009"/>
                <a:gd name="connsiteY4" fmla="*/ 799724 h 5518500"/>
                <a:gd name="connsiteX5" fmla="*/ 1148616 w 1732009"/>
                <a:gd name="connsiteY5" fmla="*/ 855143 h 5518500"/>
                <a:gd name="connsiteX6" fmla="*/ 1309880 w 1732009"/>
                <a:gd name="connsiteY6" fmla="*/ 1047053 h 5518500"/>
                <a:gd name="connsiteX7" fmla="*/ 1689868 w 1732009"/>
                <a:gd name="connsiteY7" fmla="*/ 2839575 h 5518500"/>
                <a:gd name="connsiteX8" fmla="*/ 1497789 w 1732009"/>
                <a:gd name="connsiteY8" fmla="*/ 3705732 h 5518500"/>
                <a:gd name="connsiteX9" fmla="*/ 1645239 w 1732009"/>
                <a:gd name="connsiteY9" fmla="*/ 3749027 h 5518500"/>
                <a:gd name="connsiteX10" fmla="*/ 1541322 w 1732009"/>
                <a:gd name="connsiteY10" fmla="*/ 4185502 h 5518500"/>
                <a:gd name="connsiteX11" fmla="*/ 1396719 w 1732009"/>
                <a:gd name="connsiteY11" fmla="*/ 4144608 h 5518500"/>
                <a:gd name="connsiteX12" fmla="*/ 283292 w 1732009"/>
                <a:gd name="connsiteY12" fmla="*/ 5518500 h 5518500"/>
                <a:gd name="connsiteX13" fmla="*/ 92294 w 1732009"/>
                <a:gd name="connsiteY13" fmla="*/ 4946788 h 5518500"/>
                <a:gd name="connsiteX14" fmla="*/ 878429 w 1732009"/>
                <a:gd name="connsiteY14" fmla="*/ 3917016 h 5518500"/>
                <a:gd name="connsiteX15" fmla="*/ 1158478 w 1732009"/>
                <a:gd name="connsiteY15" fmla="*/ 2672842 h 5518500"/>
                <a:gd name="connsiteX16" fmla="*/ 839662 w 1732009"/>
                <a:gd name="connsiteY16" fmla="*/ 1369550 h 5518500"/>
                <a:gd name="connsiteX17" fmla="*/ 0 w 1732009"/>
                <a:gd name="connsiteY17" fmla="*/ 467166 h 5518500"/>
                <a:gd name="connsiteX0" fmla="*/ 0 w 1732009"/>
                <a:gd name="connsiteY0" fmla="*/ 466203 h 5517537"/>
                <a:gd name="connsiteX1" fmla="*/ 372018 w 1732009"/>
                <a:gd name="connsiteY1" fmla="*/ 0 h 5517537"/>
                <a:gd name="connsiteX2" fmla="*/ 922148 w 1732009"/>
                <a:gd name="connsiteY2" fmla="*/ 610342 h 5517537"/>
                <a:gd name="connsiteX3" fmla="*/ 983552 w 1732009"/>
                <a:gd name="connsiteY3" fmla="*/ 617960 h 5517537"/>
                <a:gd name="connsiteX4" fmla="*/ 1148393 w 1732009"/>
                <a:gd name="connsiteY4" fmla="*/ 798761 h 5517537"/>
                <a:gd name="connsiteX5" fmla="*/ 1148616 w 1732009"/>
                <a:gd name="connsiteY5" fmla="*/ 854180 h 5517537"/>
                <a:gd name="connsiteX6" fmla="*/ 1309880 w 1732009"/>
                <a:gd name="connsiteY6" fmla="*/ 1046090 h 5517537"/>
                <a:gd name="connsiteX7" fmla="*/ 1689868 w 1732009"/>
                <a:gd name="connsiteY7" fmla="*/ 2838612 h 5517537"/>
                <a:gd name="connsiteX8" fmla="*/ 1497789 w 1732009"/>
                <a:gd name="connsiteY8" fmla="*/ 3704769 h 5517537"/>
                <a:gd name="connsiteX9" fmla="*/ 1645239 w 1732009"/>
                <a:gd name="connsiteY9" fmla="*/ 3748064 h 5517537"/>
                <a:gd name="connsiteX10" fmla="*/ 1541322 w 1732009"/>
                <a:gd name="connsiteY10" fmla="*/ 4184539 h 5517537"/>
                <a:gd name="connsiteX11" fmla="*/ 1396719 w 1732009"/>
                <a:gd name="connsiteY11" fmla="*/ 4143645 h 5517537"/>
                <a:gd name="connsiteX12" fmla="*/ 283292 w 1732009"/>
                <a:gd name="connsiteY12" fmla="*/ 5517537 h 5517537"/>
                <a:gd name="connsiteX13" fmla="*/ 92294 w 1732009"/>
                <a:gd name="connsiteY13" fmla="*/ 4945825 h 5517537"/>
                <a:gd name="connsiteX14" fmla="*/ 878429 w 1732009"/>
                <a:gd name="connsiteY14" fmla="*/ 3916053 h 5517537"/>
                <a:gd name="connsiteX15" fmla="*/ 1158478 w 1732009"/>
                <a:gd name="connsiteY15" fmla="*/ 2671879 h 5517537"/>
                <a:gd name="connsiteX16" fmla="*/ 839662 w 1732009"/>
                <a:gd name="connsiteY16" fmla="*/ 1368587 h 5517537"/>
                <a:gd name="connsiteX17" fmla="*/ 0 w 1732009"/>
                <a:gd name="connsiteY17" fmla="*/ 466203 h 5517537"/>
                <a:gd name="connsiteX0" fmla="*/ 0 w 1739354"/>
                <a:gd name="connsiteY0" fmla="*/ 442272 h 5517537"/>
                <a:gd name="connsiteX1" fmla="*/ 379363 w 1739354"/>
                <a:gd name="connsiteY1" fmla="*/ 0 h 5517537"/>
                <a:gd name="connsiteX2" fmla="*/ 929493 w 1739354"/>
                <a:gd name="connsiteY2" fmla="*/ 610342 h 5517537"/>
                <a:gd name="connsiteX3" fmla="*/ 990897 w 1739354"/>
                <a:gd name="connsiteY3" fmla="*/ 617960 h 5517537"/>
                <a:gd name="connsiteX4" fmla="*/ 1155738 w 1739354"/>
                <a:gd name="connsiteY4" fmla="*/ 798761 h 5517537"/>
                <a:gd name="connsiteX5" fmla="*/ 1155961 w 1739354"/>
                <a:gd name="connsiteY5" fmla="*/ 854180 h 5517537"/>
                <a:gd name="connsiteX6" fmla="*/ 1317225 w 1739354"/>
                <a:gd name="connsiteY6" fmla="*/ 1046090 h 5517537"/>
                <a:gd name="connsiteX7" fmla="*/ 1697213 w 1739354"/>
                <a:gd name="connsiteY7" fmla="*/ 2838612 h 5517537"/>
                <a:gd name="connsiteX8" fmla="*/ 1505134 w 1739354"/>
                <a:gd name="connsiteY8" fmla="*/ 3704769 h 5517537"/>
                <a:gd name="connsiteX9" fmla="*/ 1652584 w 1739354"/>
                <a:gd name="connsiteY9" fmla="*/ 3748064 h 5517537"/>
                <a:gd name="connsiteX10" fmla="*/ 1548667 w 1739354"/>
                <a:gd name="connsiteY10" fmla="*/ 4184539 h 5517537"/>
                <a:gd name="connsiteX11" fmla="*/ 1404064 w 1739354"/>
                <a:gd name="connsiteY11" fmla="*/ 4143645 h 5517537"/>
                <a:gd name="connsiteX12" fmla="*/ 290637 w 1739354"/>
                <a:gd name="connsiteY12" fmla="*/ 5517537 h 5517537"/>
                <a:gd name="connsiteX13" fmla="*/ 99639 w 1739354"/>
                <a:gd name="connsiteY13" fmla="*/ 4945825 h 5517537"/>
                <a:gd name="connsiteX14" fmla="*/ 885774 w 1739354"/>
                <a:gd name="connsiteY14" fmla="*/ 3916053 h 5517537"/>
                <a:gd name="connsiteX15" fmla="*/ 1165823 w 1739354"/>
                <a:gd name="connsiteY15" fmla="*/ 2671879 h 5517537"/>
                <a:gd name="connsiteX16" fmla="*/ 847007 w 1739354"/>
                <a:gd name="connsiteY16" fmla="*/ 1368587 h 5517537"/>
                <a:gd name="connsiteX17" fmla="*/ 0 w 1739354"/>
                <a:gd name="connsiteY17" fmla="*/ 442272 h 5517537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885774 w 1739354"/>
                <a:gd name="connsiteY13" fmla="*/ 3934666 h 5536150"/>
                <a:gd name="connsiteX14" fmla="*/ 1165823 w 1739354"/>
                <a:gd name="connsiteY14" fmla="*/ 2690492 h 5536150"/>
                <a:gd name="connsiteX15" fmla="*/ 847007 w 1739354"/>
                <a:gd name="connsiteY15" fmla="*/ 1387200 h 5536150"/>
                <a:gd name="connsiteX16" fmla="*/ 0 w 1739354"/>
                <a:gd name="connsiteY16" fmla="*/ 460885 h 5536150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404064 w 1739354"/>
                <a:gd name="connsiteY11" fmla="*/ 4162258 h 4203152"/>
                <a:gd name="connsiteX12" fmla="*/ 885774 w 1739354"/>
                <a:gd name="connsiteY12" fmla="*/ 3934666 h 4203152"/>
                <a:gd name="connsiteX13" fmla="*/ 1165823 w 1739354"/>
                <a:gd name="connsiteY13" fmla="*/ 2690492 h 4203152"/>
                <a:gd name="connsiteX14" fmla="*/ 847007 w 1739354"/>
                <a:gd name="connsiteY14" fmla="*/ 1387200 h 4203152"/>
                <a:gd name="connsiteX15" fmla="*/ 0 w 1739354"/>
                <a:gd name="connsiteY15" fmla="*/ 460885 h 4203152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404064 w 1739354"/>
                <a:gd name="connsiteY11" fmla="*/ 4162258 h 4203152"/>
                <a:gd name="connsiteX12" fmla="*/ 1165823 w 1739354"/>
                <a:gd name="connsiteY12" fmla="*/ 2690492 h 4203152"/>
                <a:gd name="connsiteX13" fmla="*/ 847007 w 1739354"/>
                <a:gd name="connsiteY13" fmla="*/ 1387200 h 4203152"/>
                <a:gd name="connsiteX14" fmla="*/ 0 w 1739354"/>
                <a:gd name="connsiteY14" fmla="*/ 460885 h 4203152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165823 w 1739354"/>
                <a:gd name="connsiteY11" fmla="*/ 2690492 h 4203152"/>
                <a:gd name="connsiteX12" fmla="*/ 847007 w 1739354"/>
                <a:gd name="connsiteY12" fmla="*/ 1387200 h 4203152"/>
                <a:gd name="connsiteX13" fmla="*/ 0 w 1739354"/>
                <a:gd name="connsiteY13" fmla="*/ 460885 h 4203152"/>
                <a:gd name="connsiteX0" fmla="*/ 0 w 1739354"/>
                <a:gd name="connsiteY0" fmla="*/ 460885 h 3766677"/>
                <a:gd name="connsiteX1" fmla="*/ 367121 w 1739354"/>
                <a:gd name="connsiteY1" fmla="*/ 0 h 3766677"/>
                <a:gd name="connsiteX2" fmla="*/ 929493 w 1739354"/>
                <a:gd name="connsiteY2" fmla="*/ 628955 h 3766677"/>
                <a:gd name="connsiteX3" fmla="*/ 990897 w 1739354"/>
                <a:gd name="connsiteY3" fmla="*/ 636573 h 3766677"/>
                <a:gd name="connsiteX4" fmla="*/ 1155738 w 1739354"/>
                <a:gd name="connsiteY4" fmla="*/ 817374 h 3766677"/>
                <a:gd name="connsiteX5" fmla="*/ 1155961 w 1739354"/>
                <a:gd name="connsiteY5" fmla="*/ 872793 h 3766677"/>
                <a:gd name="connsiteX6" fmla="*/ 1317225 w 1739354"/>
                <a:gd name="connsiteY6" fmla="*/ 1064703 h 3766677"/>
                <a:gd name="connsiteX7" fmla="*/ 1697213 w 1739354"/>
                <a:gd name="connsiteY7" fmla="*/ 2857225 h 3766677"/>
                <a:gd name="connsiteX8" fmla="*/ 1505134 w 1739354"/>
                <a:gd name="connsiteY8" fmla="*/ 3723382 h 3766677"/>
                <a:gd name="connsiteX9" fmla="*/ 1652584 w 1739354"/>
                <a:gd name="connsiteY9" fmla="*/ 3766677 h 3766677"/>
                <a:gd name="connsiteX10" fmla="*/ 1165823 w 1739354"/>
                <a:gd name="connsiteY10" fmla="*/ 2690492 h 3766677"/>
                <a:gd name="connsiteX11" fmla="*/ 847007 w 1739354"/>
                <a:gd name="connsiteY11" fmla="*/ 1387200 h 3766677"/>
                <a:gd name="connsiteX12" fmla="*/ 0 w 1739354"/>
                <a:gd name="connsiteY12" fmla="*/ 460885 h 3766677"/>
                <a:gd name="connsiteX0" fmla="*/ 0 w 1739354"/>
                <a:gd name="connsiteY0" fmla="*/ 460885 h 3723382"/>
                <a:gd name="connsiteX1" fmla="*/ 367121 w 1739354"/>
                <a:gd name="connsiteY1" fmla="*/ 0 h 3723382"/>
                <a:gd name="connsiteX2" fmla="*/ 929493 w 1739354"/>
                <a:gd name="connsiteY2" fmla="*/ 628955 h 3723382"/>
                <a:gd name="connsiteX3" fmla="*/ 990897 w 1739354"/>
                <a:gd name="connsiteY3" fmla="*/ 636573 h 3723382"/>
                <a:gd name="connsiteX4" fmla="*/ 1155738 w 1739354"/>
                <a:gd name="connsiteY4" fmla="*/ 817374 h 3723382"/>
                <a:gd name="connsiteX5" fmla="*/ 1155961 w 1739354"/>
                <a:gd name="connsiteY5" fmla="*/ 872793 h 3723382"/>
                <a:gd name="connsiteX6" fmla="*/ 1317225 w 1739354"/>
                <a:gd name="connsiteY6" fmla="*/ 1064703 h 3723382"/>
                <a:gd name="connsiteX7" fmla="*/ 1697213 w 1739354"/>
                <a:gd name="connsiteY7" fmla="*/ 2857225 h 3723382"/>
                <a:gd name="connsiteX8" fmla="*/ 1505134 w 1739354"/>
                <a:gd name="connsiteY8" fmla="*/ 3723382 h 3723382"/>
                <a:gd name="connsiteX9" fmla="*/ 1165823 w 1739354"/>
                <a:gd name="connsiteY9" fmla="*/ 2690492 h 3723382"/>
                <a:gd name="connsiteX10" fmla="*/ 847007 w 1739354"/>
                <a:gd name="connsiteY10" fmla="*/ 1387200 h 3723382"/>
                <a:gd name="connsiteX11" fmla="*/ 0 w 1739354"/>
                <a:gd name="connsiteY11" fmla="*/ 460885 h 3723382"/>
                <a:gd name="connsiteX0" fmla="*/ 0 w 1739354"/>
                <a:gd name="connsiteY0" fmla="*/ 460885 h 2857224"/>
                <a:gd name="connsiteX1" fmla="*/ 367121 w 1739354"/>
                <a:gd name="connsiteY1" fmla="*/ 0 h 2857224"/>
                <a:gd name="connsiteX2" fmla="*/ 929493 w 1739354"/>
                <a:gd name="connsiteY2" fmla="*/ 628955 h 2857224"/>
                <a:gd name="connsiteX3" fmla="*/ 990897 w 1739354"/>
                <a:gd name="connsiteY3" fmla="*/ 636573 h 2857224"/>
                <a:gd name="connsiteX4" fmla="*/ 1155738 w 1739354"/>
                <a:gd name="connsiteY4" fmla="*/ 817374 h 2857224"/>
                <a:gd name="connsiteX5" fmla="*/ 1155961 w 1739354"/>
                <a:gd name="connsiteY5" fmla="*/ 872793 h 2857224"/>
                <a:gd name="connsiteX6" fmla="*/ 1317225 w 1739354"/>
                <a:gd name="connsiteY6" fmla="*/ 1064703 h 2857224"/>
                <a:gd name="connsiteX7" fmla="*/ 1697213 w 1739354"/>
                <a:gd name="connsiteY7" fmla="*/ 2857225 h 2857224"/>
                <a:gd name="connsiteX8" fmla="*/ 1165823 w 1739354"/>
                <a:gd name="connsiteY8" fmla="*/ 2690492 h 2857224"/>
                <a:gd name="connsiteX9" fmla="*/ 847007 w 1739354"/>
                <a:gd name="connsiteY9" fmla="*/ 1387200 h 2857224"/>
                <a:gd name="connsiteX10" fmla="*/ 0 w 1739354"/>
                <a:gd name="connsiteY10" fmla="*/ 460885 h 2857224"/>
                <a:gd name="connsiteX0" fmla="*/ 0 w 1747930"/>
                <a:gd name="connsiteY0" fmla="*/ 460885 h 2810014"/>
                <a:gd name="connsiteX1" fmla="*/ 367121 w 1747930"/>
                <a:gd name="connsiteY1" fmla="*/ 0 h 2810014"/>
                <a:gd name="connsiteX2" fmla="*/ 929493 w 1747930"/>
                <a:gd name="connsiteY2" fmla="*/ 628955 h 2810014"/>
                <a:gd name="connsiteX3" fmla="*/ 990897 w 1747930"/>
                <a:gd name="connsiteY3" fmla="*/ 636573 h 2810014"/>
                <a:gd name="connsiteX4" fmla="*/ 1155738 w 1747930"/>
                <a:gd name="connsiteY4" fmla="*/ 817374 h 2810014"/>
                <a:gd name="connsiteX5" fmla="*/ 1155961 w 1747930"/>
                <a:gd name="connsiteY5" fmla="*/ 872793 h 2810014"/>
                <a:gd name="connsiteX6" fmla="*/ 1317225 w 1747930"/>
                <a:gd name="connsiteY6" fmla="*/ 1064703 h 2810014"/>
                <a:gd name="connsiteX7" fmla="*/ 1706885 w 1747930"/>
                <a:gd name="connsiteY7" fmla="*/ 2810014 h 2810014"/>
                <a:gd name="connsiteX8" fmla="*/ 1165823 w 1747930"/>
                <a:gd name="connsiteY8" fmla="*/ 2690492 h 2810014"/>
                <a:gd name="connsiteX9" fmla="*/ 847007 w 1747930"/>
                <a:gd name="connsiteY9" fmla="*/ 1387200 h 2810014"/>
                <a:gd name="connsiteX10" fmla="*/ 0 w 1747930"/>
                <a:gd name="connsiteY10" fmla="*/ 460885 h 2810014"/>
                <a:gd name="connsiteX0" fmla="*/ 0 w 1746047"/>
                <a:gd name="connsiteY0" fmla="*/ 460885 h 2810014"/>
                <a:gd name="connsiteX1" fmla="*/ 367121 w 1746047"/>
                <a:gd name="connsiteY1" fmla="*/ 0 h 2810014"/>
                <a:gd name="connsiteX2" fmla="*/ 929493 w 1746047"/>
                <a:gd name="connsiteY2" fmla="*/ 628955 h 2810014"/>
                <a:gd name="connsiteX3" fmla="*/ 990897 w 1746047"/>
                <a:gd name="connsiteY3" fmla="*/ 636573 h 2810014"/>
                <a:gd name="connsiteX4" fmla="*/ 1155738 w 1746047"/>
                <a:gd name="connsiteY4" fmla="*/ 817374 h 2810014"/>
                <a:gd name="connsiteX5" fmla="*/ 1155961 w 1746047"/>
                <a:gd name="connsiteY5" fmla="*/ 872793 h 2810014"/>
                <a:gd name="connsiteX6" fmla="*/ 1317225 w 1746047"/>
                <a:gd name="connsiteY6" fmla="*/ 1064703 h 2810014"/>
                <a:gd name="connsiteX7" fmla="*/ 1706885 w 1746047"/>
                <a:gd name="connsiteY7" fmla="*/ 2810014 h 2810014"/>
                <a:gd name="connsiteX8" fmla="*/ 1165823 w 1746047"/>
                <a:gd name="connsiteY8" fmla="*/ 2690492 h 2810014"/>
                <a:gd name="connsiteX9" fmla="*/ 847007 w 1746047"/>
                <a:gd name="connsiteY9" fmla="*/ 1387200 h 2810014"/>
                <a:gd name="connsiteX10" fmla="*/ 0 w 1746047"/>
                <a:gd name="connsiteY10" fmla="*/ 460885 h 2810014"/>
                <a:gd name="connsiteX0" fmla="*/ 0 w 1731757"/>
                <a:gd name="connsiteY0" fmla="*/ 450275 h 2810014"/>
                <a:gd name="connsiteX1" fmla="*/ 352831 w 1731757"/>
                <a:gd name="connsiteY1" fmla="*/ 0 h 2810014"/>
                <a:gd name="connsiteX2" fmla="*/ 915203 w 1731757"/>
                <a:gd name="connsiteY2" fmla="*/ 628955 h 2810014"/>
                <a:gd name="connsiteX3" fmla="*/ 976607 w 1731757"/>
                <a:gd name="connsiteY3" fmla="*/ 636573 h 2810014"/>
                <a:gd name="connsiteX4" fmla="*/ 1141448 w 1731757"/>
                <a:gd name="connsiteY4" fmla="*/ 817374 h 2810014"/>
                <a:gd name="connsiteX5" fmla="*/ 1141671 w 1731757"/>
                <a:gd name="connsiteY5" fmla="*/ 872793 h 2810014"/>
                <a:gd name="connsiteX6" fmla="*/ 1302935 w 1731757"/>
                <a:gd name="connsiteY6" fmla="*/ 1064703 h 2810014"/>
                <a:gd name="connsiteX7" fmla="*/ 1692595 w 1731757"/>
                <a:gd name="connsiteY7" fmla="*/ 2810014 h 2810014"/>
                <a:gd name="connsiteX8" fmla="*/ 1151533 w 1731757"/>
                <a:gd name="connsiteY8" fmla="*/ 2690492 h 2810014"/>
                <a:gd name="connsiteX9" fmla="*/ 832717 w 1731757"/>
                <a:gd name="connsiteY9" fmla="*/ 1387200 h 2810014"/>
                <a:gd name="connsiteX10" fmla="*/ 0 w 1731757"/>
                <a:gd name="connsiteY10" fmla="*/ 450275 h 2810014"/>
                <a:gd name="connsiteX0" fmla="*/ 0 w 1719072"/>
                <a:gd name="connsiteY0" fmla="*/ 450275 h 2804709"/>
                <a:gd name="connsiteX1" fmla="*/ 352831 w 1719072"/>
                <a:gd name="connsiteY1" fmla="*/ 0 h 2804709"/>
                <a:gd name="connsiteX2" fmla="*/ 915203 w 1719072"/>
                <a:gd name="connsiteY2" fmla="*/ 628955 h 2804709"/>
                <a:gd name="connsiteX3" fmla="*/ 976607 w 1719072"/>
                <a:gd name="connsiteY3" fmla="*/ 636573 h 2804709"/>
                <a:gd name="connsiteX4" fmla="*/ 1141448 w 1719072"/>
                <a:gd name="connsiteY4" fmla="*/ 817374 h 2804709"/>
                <a:gd name="connsiteX5" fmla="*/ 1141671 w 1719072"/>
                <a:gd name="connsiteY5" fmla="*/ 872793 h 2804709"/>
                <a:gd name="connsiteX6" fmla="*/ 1302935 w 1719072"/>
                <a:gd name="connsiteY6" fmla="*/ 1064703 h 2804709"/>
                <a:gd name="connsiteX7" fmla="*/ 1678305 w 1719072"/>
                <a:gd name="connsiteY7" fmla="*/ 2804709 h 2804709"/>
                <a:gd name="connsiteX8" fmla="*/ 1151533 w 1719072"/>
                <a:gd name="connsiteY8" fmla="*/ 2690492 h 2804709"/>
                <a:gd name="connsiteX9" fmla="*/ 832717 w 1719072"/>
                <a:gd name="connsiteY9" fmla="*/ 1387200 h 2804709"/>
                <a:gd name="connsiteX10" fmla="*/ 0 w 1719072"/>
                <a:gd name="connsiteY10" fmla="*/ 450275 h 2804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9072" h="2804709">
                  <a:moveTo>
                    <a:pt x="0" y="450275"/>
                  </a:moveTo>
                  <a:cubicBezTo>
                    <a:pt x="123747" y="301936"/>
                    <a:pt x="227984" y="151446"/>
                    <a:pt x="352831" y="0"/>
                  </a:cubicBezTo>
                  <a:lnTo>
                    <a:pt x="915203" y="628955"/>
                  </a:lnTo>
                  <a:lnTo>
                    <a:pt x="976607" y="636573"/>
                  </a:lnTo>
                  <a:lnTo>
                    <a:pt x="1141448" y="817374"/>
                  </a:lnTo>
                  <a:cubicBezTo>
                    <a:pt x="1141522" y="835847"/>
                    <a:pt x="1141597" y="854320"/>
                    <a:pt x="1141671" y="872793"/>
                  </a:cubicBezTo>
                  <a:lnTo>
                    <a:pt x="1302935" y="1064703"/>
                  </a:lnTo>
                  <a:cubicBezTo>
                    <a:pt x="1607412" y="1476603"/>
                    <a:pt x="1809661" y="2139358"/>
                    <a:pt x="1678305" y="2804709"/>
                  </a:cubicBezTo>
                  <a:lnTo>
                    <a:pt x="1151533" y="2690492"/>
                  </a:lnTo>
                  <a:cubicBezTo>
                    <a:pt x="1202108" y="2261429"/>
                    <a:pt x="1151368" y="1810924"/>
                    <a:pt x="832717" y="1387200"/>
                  </a:cubicBezTo>
                  <a:cubicBezTo>
                    <a:pt x="514772" y="1049246"/>
                    <a:pt x="323100" y="779919"/>
                    <a:pt x="0" y="450275"/>
                  </a:cubicBez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T110N_BA2">
              <a:extLst>
                <a:ext uri="{FF2B5EF4-FFF2-40B4-BE49-F238E27FC236}">
                  <a16:creationId xmlns:a16="http://schemas.microsoft.com/office/drawing/2014/main" id="{58541EEF-E95D-428C-9D1E-09C1987452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24352" y="5765678"/>
              <a:ext cx="314894" cy="476517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140867 w 4144733"/>
                <a:gd name="connsiteY0" fmla="*/ 76130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0" fmla="*/ 1013792 w 4017658"/>
                <a:gd name="connsiteY0" fmla="*/ 761302 h 6198437"/>
                <a:gd name="connsiteX1" fmla="*/ 0 w 4017658"/>
                <a:gd name="connsiteY1" fmla="*/ 442651 h 6198437"/>
                <a:gd name="connsiteX2" fmla="*/ 30479 w 4017658"/>
                <a:gd name="connsiteY2" fmla="*/ 393463 h 6198437"/>
                <a:gd name="connsiteX3" fmla="*/ 266366 w 4017658"/>
                <a:gd name="connsiteY3" fmla="*/ 319342 h 6198437"/>
                <a:gd name="connsiteX4" fmla="*/ 306821 w 4017658"/>
                <a:gd name="connsiteY4" fmla="*/ 352592 h 6198437"/>
                <a:gd name="connsiteX5" fmla="*/ 503363 w 4017658"/>
                <a:gd name="connsiteY5" fmla="*/ 288171 h 6198437"/>
                <a:gd name="connsiteX6" fmla="*/ 462575 w 4017658"/>
                <a:gd name="connsiteY6" fmla="*/ 119840 h 6198437"/>
                <a:gd name="connsiteX7" fmla="*/ 845818 w 4017658"/>
                <a:gd name="connsiteY7" fmla="*/ 0 h 6198437"/>
                <a:gd name="connsiteX8" fmla="*/ 894116 w 4017658"/>
                <a:gd name="connsiteY8" fmla="*/ 165560 h 6198437"/>
                <a:gd name="connsiteX9" fmla="*/ 2657667 w 4017658"/>
                <a:gd name="connsiteY9" fmla="*/ 680900 h 6198437"/>
                <a:gd name="connsiteX10" fmla="*/ 3207797 w 4017658"/>
                <a:gd name="connsiteY10" fmla="*/ 1291242 h 6198437"/>
                <a:gd name="connsiteX11" fmla="*/ 3269201 w 4017658"/>
                <a:gd name="connsiteY11" fmla="*/ 1298860 h 6198437"/>
                <a:gd name="connsiteX12" fmla="*/ 3434042 w 4017658"/>
                <a:gd name="connsiteY12" fmla="*/ 1479661 h 6198437"/>
                <a:gd name="connsiteX13" fmla="*/ 3434265 w 4017658"/>
                <a:gd name="connsiteY13" fmla="*/ 1535080 h 6198437"/>
                <a:gd name="connsiteX14" fmla="*/ 3595529 w 4017658"/>
                <a:gd name="connsiteY14" fmla="*/ 1726990 h 6198437"/>
                <a:gd name="connsiteX15" fmla="*/ 3975517 w 4017658"/>
                <a:gd name="connsiteY15" fmla="*/ 3519512 h 6198437"/>
                <a:gd name="connsiteX16" fmla="*/ 3783438 w 4017658"/>
                <a:gd name="connsiteY16" fmla="*/ 4385669 h 6198437"/>
                <a:gd name="connsiteX17" fmla="*/ 3930888 w 4017658"/>
                <a:gd name="connsiteY17" fmla="*/ 4428964 h 6198437"/>
                <a:gd name="connsiteX18" fmla="*/ 3826971 w 4017658"/>
                <a:gd name="connsiteY18" fmla="*/ 4865439 h 6198437"/>
                <a:gd name="connsiteX19" fmla="*/ 3682368 w 4017658"/>
                <a:gd name="connsiteY19" fmla="*/ 4824545 h 6198437"/>
                <a:gd name="connsiteX20" fmla="*/ 2568941 w 4017658"/>
                <a:gd name="connsiteY20" fmla="*/ 6198437 h 6198437"/>
                <a:gd name="connsiteX21" fmla="*/ 2377943 w 4017658"/>
                <a:gd name="connsiteY21" fmla="*/ 5626725 h 6198437"/>
                <a:gd name="connsiteX22" fmla="*/ 3164078 w 4017658"/>
                <a:gd name="connsiteY22" fmla="*/ 4596953 h 6198437"/>
                <a:gd name="connsiteX23" fmla="*/ 3444127 w 4017658"/>
                <a:gd name="connsiteY23" fmla="*/ 3352779 h 6198437"/>
                <a:gd name="connsiteX24" fmla="*/ 3125311 w 4017658"/>
                <a:gd name="connsiteY24" fmla="*/ 2049487 h 6198437"/>
                <a:gd name="connsiteX25" fmla="*/ 2308058 w 4017658"/>
                <a:gd name="connsiteY25" fmla="*/ 1163055 h 6198437"/>
                <a:gd name="connsiteX26" fmla="*/ 1013792 w 4017658"/>
                <a:gd name="connsiteY26" fmla="*/ 761302 h 6198437"/>
                <a:gd name="connsiteX0" fmla="*/ 983313 w 3987179"/>
                <a:gd name="connsiteY0" fmla="*/ 761302 h 6198437"/>
                <a:gd name="connsiteX1" fmla="*/ 0 w 3987179"/>
                <a:gd name="connsiteY1" fmla="*/ 393463 h 6198437"/>
                <a:gd name="connsiteX2" fmla="*/ 235887 w 3987179"/>
                <a:gd name="connsiteY2" fmla="*/ 319342 h 6198437"/>
                <a:gd name="connsiteX3" fmla="*/ 276342 w 3987179"/>
                <a:gd name="connsiteY3" fmla="*/ 352592 h 6198437"/>
                <a:gd name="connsiteX4" fmla="*/ 472884 w 3987179"/>
                <a:gd name="connsiteY4" fmla="*/ 288171 h 6198437"/>
                <a:gd name="connsiteX5" fmla="*/ 432096 w 3987179"/>
                <a:gd name="connsiteY5" fmla="*/ 119840 h 6198437"/>
                <a:gd name="connsiteX6" fmla="*/ 815339 w 3987179"/>
                <a:gd name="connsiteY6" fmla="*/ 0 h 6198437"/>
                <a:gd name="connsiteX7" fmla="*/ 863637 w 3987179"/>
                <a:gd name="connsiteY7" fmla="*/ 165560 h 6198437"/>
                <a:gd name="connsiteX8" fmla="*/ 2627188 w 3987179"/>
                <a:gd name="connsiteY8" fmla="*/ 680900 h 6198437"/>
                <a:gd name="connsiteX9" fmla="*/ 3177318 w 3987179"/>
                <a:gd name="connsiteY9" fmla="*/ 1291242 h 6198437"/>
                <a:gd name="connsiteX10" fmla="*/ 3238722 w 3987179"/>
                <a:gd name="connsiteY10" fmla="*/ 1298860 h 6198437"/>
                <a:gd name="connsiteX11" fmla="*/ 3403563 w 3987179"/>
                <a:gd name="connsiteY11" fmla="*/ 1479661 h 6198437"/>
                <a:gd name="connsiteX12" fmla="*/ 3403786 w 3987179"/>
                <a:gd name="connsiteY12" fmla="*/ 1535080 h 6198437"/>
                <a:gd name="connsiteX13" fmla="*/ 3565050 w 3987179"/>
                <a:gd name="connsiteY13" fmla="*/ 1726990 h 6198437"/>
                <a:gd name="connsiteX14" fmla="*/ 3945038 w 3987179"/>
                <a:gd name="connsiteY14" fmla="*/ 3519512 h 6198437"/>
                <a:gd name="connsiteX15" fmla="*/ 3752959 w 3987179"/>
                <a:gd name="connsiteY15" fmla="*/ 4385669 h 6198437"/>
                <a:gd name="connsiteX16" fmla="*/ 3900409 w 3987179"/>
                <a:gd name="connsiteY16" fmla="*/ 4428964 h 6198437"/>
                <a:gd name="connsiteX17" fmla="*/ 3796492 w 3987179"/>
                <a:gd name="connsiteY17" fmla="*/ 4865439 h 6198437"/>
                <a:gd name="connsiteX18" fmla="*/ 3651889 w 3987179"/>
                <a:gd name="connsiteY18" fmla="*/ 4824545 h 6198437"/>
                <a:gd name="connsiteX19" fmla="*/ 2538462 w 3987179"/>
                <a:gd name="connsiteY19" fmla="*/ 6198437 h 6198437"/>
                <a:gd name="connsiteX20" fmla="*/ 2347464 w 3987179"/>
                <a:gd name="connsiteY20" fmla="*/ 5626725 h 6198437"/>
                <a:gd name="connsiteX21" fmla="*/ 3133599 w 3987179"/>
                <a:gd name="connsiteY21" fmla="*/ 4596953 h 6198437"/>
                <a:gd name="connsiteX22" fmla="*/ 3413648 w 3987179"/>
                <a:gd name="connsiteY22" fmla="*/ 3352779 h 6198437"/>
                <a:gd name="connsiteX23" fmla="*/ 3094832 w 3987179"/>
                <a:gd name="connsiteY23" fmla="*/ 2049487 h 6198437"/>
                <a:gd name="connsiteX24" fmla="*/ 2277579 w 3987179"/>
                <a:gd name="connsiteY24" fmla="*/ 1163055 h 6198437"/>
                <a:gd name="connsiteX25" fmla="*/ 983313 w 3987179"/>
                <a:gd name="connsiteY25" fmla="*/ 761302 h 6198437"/>
                <a:gd name="connsiteX0" fmla="*/ 747426 w 3751292"/>
                <a:gd name="connsiteY0" fmla="*/ 761302 h 6198437"/>
                <a:gd name="connsiteX1" fmla="*/ 0 w 3751292"/>
                <a:gd name="connsiteY1" fmla="*/ 319342 h 6198437"/>
                <a:gd name="connsiteX2" fmla="*/ 40455 w 3751292"/>
                <a:gd name="connsiteY2" fmla="*/ 352592 h 6198437"/>
                <a:gd name="connsiteX3" fmla="*/ 236997 w 3751292"/>
                <a:gd name="connsiteY3" fmla="*/ 288171 h 6198437"/>
                <a:gd name="connsiteX4" fmla="*/ 196209 w 3751292"/>
                <a:gd name="connsiteY4" fmla="*/ 119840 h 6198437"/>
                <a:gd name="connsiteX5" fmla="*/ 579452 w 3751292"/>
                <a:gd name="connsiteY5" fmla="*/ 0 h 6198437"/>
                <a:gd name="connsiteX6" fmla="*/ 627750 w 3751292"/>
                <a:gd name="connsiteY6" fmla="*/ 165560 h 6198437"/>
                <a:gd name="connsiteX7" fmla="*/ 2391301 w 3751292"/>
                <a:gd name="connsiteY7" fmla="*/ 680900 h 6198437"/>
                <a:gd name="connsiteX8" fmla="*/ 2941431 w 3751292"/>
                <a:gd name="connsiteY8" fmla="*/ 1291242 h 6198437"/>
                <a:gd name="connsiteX9" fmla="*/ 3002835 w 3751292"/>
                <a:gd name="connsiteY9" fmla="*/ 1298860 h 6198437"/>
                <a:gd name="connsiteX10" fmla="*/ 3167676 w 3751292"/>
                <a:gd name="connsiteY10" fmla="*/ 1479661 h 6198437"/>
                <a:gd name="connsiteX11" fmla="*/ 3167899 w 3751292"/>
                <a:gd name="connsiteY11" fmla="*/ 1535080 h 6198437"/>
                <a:gd name="connsiteX12" fmla="*/ 3329163 w 3751292"/>
                <a:gd name="connsiteY12" fmla="*/ 1726990 h 6198437"/>
                <a:gd name="connsiteX13" fmla="*/ 3709151 w 3751292"/>
                <a:gd name="connsiteY13" fmla="*/ 3519512 h 6198437"/>
                <a:gd name="connsiteX14" fmla="*/ 3517072 w 3751292"/>
                <a:gd name="connsiteY14" fmla="*/ 4385669 h 6198437"/>
                <a:gd name="connsiteX15" fmla="*/ 3664522 w 3751292"/>
                <a:gd name="connsiteY15" fmla="*/ 4428964 h 6198437"/>
                <a:gd name="connsiteX16" fmla="*/ 3560605 w 3751292"/>
                <a:gd name="connsiteY16" fmla="*/ 4865439 h 6198437"/>
                <a:gd name="connsiteX17" fmla="*/ 3416002 w 3751292"/>
                <a:gd name="connsiteY17" fmla="*/ 4824545 h 6198437"/>
                <a:gd name="connsiteX18" fmla="*/ 2302575 w 3751292"/>
                <a:gd name="connsiteY18" fmla="*/ 6198437 h 6198437"/>
                <a:gd name="connsiteX19" fmla="*/ 2111577 w 3751292"/>
                <a:gd name="connsiteY19" fmla="*/ 5626725 h 6198437"/>
                <a:gd name="connsiteX20" fmla="*/ 2897712 w 3751292"/>
                <a:gd name="connsiteY20" fmla="*/ 4596953 h 6198437"/>
                <a:gd name="connsiteX21" fmla="*/ 3177761 w 3751292"/>
                <a:gd name="connsiteY21" fmla="*/ 3352779 h 6198437"/>
                <a:gd name="connsiteX22" fmla="*/ 2858945 w 3751292"/>
                <a:gd name="connsiteY22" fmla="*/ 2049487 h 6198437"/>
                <a:gd name="connsiteX23" fmla="*/ 2041692 w 3751292"/>
                <a:gd name="connsiteY23" fmla="*/ 1163055 h 6198437"/>
                <a:gd name="connsiteX24" fmla="*/ 747426 w 3751292"/>
                <a:gd name="connsiteY24" fmla="*/ 761302 h 6198437"/>
                <a:gd name="connsiteX0" fmla="*/ 706971 w 3710837"/>
                <a:gd name="connsiteY0" fmla="*/ 761302 h 6198437"/>
                <a:gd name="connsiteX1" fmla="*/ 0 w 3710837"/>
                <a:gd name="connsiteY1" fmla="*/ 352592 h 6198437"/>
                <a:gd name="connsiteX2" fmla="*/ 196542 w 3710837"/>
                <a:gd name="connsiteY2" fmla="*/ 288171 h 6198437"/>
                <a:gd name="connsiteX3" fmla="*/ 155754 w 3710837"/>
                <a:gd name="connsiteY3" fmla="*/ 119840 h 6198437"/>
                <a:gd name="connsiteX4" fmla="*/ 538997 w 3710837"/>
                <a:gd name="connsiteY4" fmla="*/ 0 h 6198437"/>
                <a:gd name="connsiteX5" fmla="*/ 587295 w 3710837"/>
                <a:gd name="connsiteY5" fmla="*/ 165560 h 6198437"/>
                <a:gd name="connsiteX6" fmla="*/ 2350846 w 3710837"/>
                <a:gd name="connsiteY6" fmla="*/ 680900 h 6198437"/>
                <a:gd name="connsiteX7" fmla="*/ 2900976 w 3710837"/>
                <a:gd name="connsiteY7" fmla="*/ 1291242 h 6198437"/>
                <a:gd name="connsiteX8" fmla="*/ 2962380 w 3710837"/>
                <a:gd name="connsiteY8" fmla="*/ 1298860 h 6198437"/>
                <a:gd name="connsiteX9" fmla="*/ 3127221 w 3710837"/>
                <a:gd name="connsiteY9" fmla="*/ 1479661 h 6198437"/>
                <a:gd name="connsiteX10" fmla="*/ 3127444 w 3710837"/>
                <a:gd name="connsiteY10" fmla="*/ 1535080 h 6198437"/>
                <a:gd name="connsiteX11" fmla="*/ 3288708 w 3710837"/>
                <a:gd name="connsiteY11" fmla="*/ 1726990 h 6198437"/>
                <a:gd name="connsiteX12" fmla="*/ 3668696 w 3710837"/>
                <a:gd name="connsiteY12" fmla="*/ 3519512 h 6198437"/>
                <a:gd name="connsiteX13" fmla="*/ 3476617 w 3710837"/>
                <a:gd name="connsiteY13" fmla="*/ 4385669 h 6198437"/>
                <a:gd name="connsiteX14" fmla="*/ 3624067 w 3710837"/>
                <a:gd name="connsiteY14" fmla="*/ 4428964 h 6198437"/>
                <a:gd name="connsiteX15" fmla="*/ 3520150 w 3710837"/>
                <a:gd name="connsiteY15" fmla="*/ 4865439 h 6198437"/>
                <a:gd name="connsiteX16" fmla="*/ 3375547 w 3710837"/>
                <a:gd name="connsiteY16" fmla="*/ 4824545 h 6198437"/>
                <a:gd name="connsiteX17" fmla="*/ 2262120 w 3710837"/>
                <a:gd name="connsiteY17" fmla="*/ 6198437 h 6198437"/>
                <a:gd name="connsiteX18" fmla="*/ 2071122 w 3710837"/>
                <a:gd name="connsiteY18" fmla="*/ 5626725 h 6198437"/>
                <a:gd name="connsiteX19" fmla="*/ 2857257 w 3710837"/>
                <a:gd name="connsiteY19" fmla="*/ 4596953 h 6198437"/>
                <a:gd name="connsiteX20" fmla="*/ 3137306 w 3710837"/>
                <a:gd name="connsiteY20" fmla="*/ 3352779 h 6198437"/>
                <a:gd name="connsiteX21" fmla="*/ 2818490 w 3710837"/>
                <a:gd name="connsiteY21" fmla="*/ 2049487 h 6198437"/>
                <a:gd name="connsiteX22" fmla="*/ 2001237 w 3710837"/>
                <a:gd name="connsiteY22" fmla="*/ 1163055 h 6198437"/>
                <a:gd name="connsiteX23" fmla="*/ 706971 w 3710837"/>
                <a:gd name="connsiteY23" fmla="*/ 761302 h 6198437"/>
                <a:gd name="connsiteX0" fmla="*/ 551217 w 3555083"/>
                <a:gd name="connsiteY0" fmla="*/ 761302 h 6198437"/>
                <a:gd name="connsiteX1" fmla="*/ 40788 w 3555083"/>
                <a:gd name="connsiteY1" fmla="*/ 288171 h 6198437"/>
                <a:gd name="connsiteX2" fmla="*/ 0 w 3555083"/>
                <a:gd name="connsiteY2" fmla="*/ 119840 h 6198437"/>
                <a:gd name="connsiteX3" fmla="*/ 383243 w 3555083"/>
                <a:gd name="connsiteY3" fmla="*/ 0 h 6198437"/>
                <a:gd name="connsiteX4" fmla="*/ 431541 w 3555083"/>
                <a:gd name="connsiteY4" fmla="*/ 165560 h 6198437"/>
                <a:gd name="connsiteX5" fmla="*/ 2195092 w 3555083"/>
                <a:gd name="connsiteY5" fmla="*/ 680900 h 6198437"/>
                <a:gd name="connsiteX6" fmla="*/ 2745222 w 3555083"/>
                <a:gd name="connsiteY6" fmla="*/ 1291242 h 6198437"/>
                <a:gd name="connsiteX7" fmla="*/ 2806626 w 3555083"/>
                <a:gd name="connsiteY7" fmla="*/ 1298860 h 6198437"/>
                <a:gd name="connsiteX8" fmla="*/ 2971467 w 3555083"/>
                <a:gd name="connsiteY8" fmla="*/ 1479661 h 6198437"/>
                <a:gd name="connsiteX9" fmla="*/ 2971690 w 3555083"/>
                <a:gd name="connsiteY9" fmla="*/ 1535080 h 6198437"/>
                <a:gd name="connsiteX10" fmla="*/ 3132954 w 3555083"/>
                <a:gd name="connsiteY10" fmla="*/ 1726990 h 6198437"/>
                <a:gd name="connsiteX11" fmla="*/ 3512942 w 3555083"/>
                <a:gd name="connsiteY11" fmla="*/ 3519512 h 6198437"/>
                <a:gd name="connsiteX12" fmla="*/ 3320863 w 3555083"/>
                <a:gd name="connsiteY12" fmla="*/ 4385669 h 6198437"/>
                <a:gd name="connsiteX13" fmla="*/ 3468313 w 3555083"/>
                <a:gd name="connsiteY13" fmla="*/ 4428964 h 6198437"/>
                <a:gd name="connsiteX14" fmla="*/ 3364396 w 3555083"/>
                <a:gd name="connsiteY14" fmla="*/ 4865439 h 6198437"/>
                <a:gd name="connsiteX15" fmla="*/ 3219793 w 3555083"/>
                <a:gd name="connsiteY15" fmla="*/ 4824545 h 6198437"/>
                <a:gd name="connsiteX16" fmla="*/ 2106366 w 3555083"/>
                <a:gd name="connsiteY16" fmla="*/ 6198437 h 6198437"/>
                <a:gd name="connsiteX17" fmla="*/ 1915368 w 3555083"/>
                <a:gd name="connsiteY17" fmla="*/ 5626725 h 6198437"/>
                <a:gd name="connsiteX18" fmla="*/ 2701503 w 3555083"/>
                <a:gd name="connsiteY18" fmla="*/ 4596953 h 6198437"/>
                <a:gd name="connsiteX19" fmla="*/ 2981552 w 3555083"/>
                <a:gd name="connsiteY19" fmla="*/ 3352779 h 6198437"/>
                <a:gd name="connsiteX20" fmla="*/ 2662736 w 3555083"/>
                <a:gd name="connsiteY20" fmla="*/ 2049487 h 6198437"/>
                <a:gd name="connsiteX21" fmla="*/ 1845483 w 3555083"/>
                <a:gd name="connsiteY21" fmla="*/ 1163055 h 6198437"/>
                <a:gd name="connsiteX22" fmla="*/ 551217 w 3555083"/>
                <a:gd name="connsiteY22" fmla="*/ 761302 h 6198437"/>
                <a:gd name="connsiteX0" fmla="*/ 551217 w 3555083"/>
                <a:gd name="connsiteY0" fmla="*/ 761302 h 6198437"/>
                <a:gd name="connsiteX1" fmla="*/ 0 w 3555083"/>
                <a:gd name="connsiteY1" fmla="*/ 119840 h 6198437"/>
                <a:gd name="connsiteX2" fmla="*/ 383243 w 3555083"/>
                <a:gd name="connsiteY2" fmla="*/ 0 h 6198437"/>
                <a:gd name="connsiteX3" fmla="*/ 431541 w 3555083"/>
                <a:gd name="connsiteY3" fmla="*/ 165560 h 6198437"/>
                <a:gd name="connsiteX4" fmla="*/ 2195092 w 3555083"/>
                <a:gd name="connsiteY4" fmla="*/ 680900 h 6198437"/>
                <a:gd name="connsiteX5" fmla="*/ 2745222 w 3555083"/>
                <a:gd name="connsiteY5" fmla="*/ 1291242 h 6198437"/>
                <a:gd name="connsiteX6" fmla="*/ 2806626 w 3555083"/>
                <a:gd name="connsiteY6" fmla="*/ 1298860 h 6198437"/>
                <a:gd name="connsiteX7" fmla="*/ 2971467 w 3555083"/>
                <a:gd name="connsiteY7" fmla="*/ 1479661 h 6198437"/>
                <a:gd name="connsiteX8" fmla="*/ 2971690 w 3555083"/>
                <a:gd name="connsiteY8" fmla="*/ 1535080 h 6198437"/>
                <a:gd name="connsiteX9" fmla="*/ 3132954 w 3555083"/>
                <a:gd name="connsiteY9" fmla="*/ 1726990 h 6198437"/>
                <a:gd name="connsiteX10" fmla="*/ 3512942 w 3555083"/>
                <a:gd name="connsiteY10" fmla="*/ 3519512 h 6198437"/>
                <a:gd name="connsiteX11" fmla="*/ 3320863 w 3555083"/>
                <a:gd name="connsiteY11" fmla="*/ 4385669 h 6198437"/>
                <a:gd name="connsiteX12" fmla="*/ 3468313 w 3555083"/>
                <a:gd name="connsiteY12" fmla="*/ 4428964 h 6198437"/>
                <a:gd name="connsiteX13" fmla="*/ 3364396 w 3555083"/>
                <a:gd name="connsiteY13" fmla="*/ 4865439 h 6198437"/>
                <a:gd name="connsiteX14" fmla="*/ 3219793 w 3555083"/>
                <a:gd name="connsiteY14" fmla="*/ 4824545 h 6198437"/>
                <a:gd name="connsiteX15" fmla="*/ 2106366 w 3555083"/>
                <a:gd name="connsiteY15" fmla="*/ 6198437 h 6198437"/>
                <a:gd name="connsiteX16" fmla="*/ 1915368 w 3555083"/>
                <a:gd name="connsiteY16" fmla="*/ 5626725 h 6198437"/>
                <a:gd name="connsiteX17" fmla="*/ 2701503 w 3555083"/>
                <a:gd name="connsiteY17" fmla="*/ 4596953 h 6198437"/>
                <a:gd name="connsiteX18" fmla="*/ 2981552 w 3555083"/>
                <a:gd name="connsiteY18" fmla="*/ 3352779 h 6198437"/>
                <a:gd name="connsiteX19" fmla="*/ 2662736 w 3555083"/>
                <a:gd name="connsiteY19" fmla="*/ 2049487 h 6198437"/>
                <a:gd name="connsiteX20" fmla="*/ 1845483 w 3555083"/>
                <a:gd name="connsiteY20" fmla="*/ 1163055 h 6198437"/>
                <a:gd name="connsiteX21" fmla="*/ 551217 w 3555083"/>
                <a:gd name="connsiteY21" fmla="*/ 761302 h 6198437"/>
                <a:gd name="connsiteX0" fmla="*/ 167974 w 3171840"/>
                <a:gd name="connsiteY0" fmla="*/ 761302 h 6198437"/>
                <a:gd name="connsiteX1" fmla="*/ 0 w 3171840"/>
                <a:gd name="connsiteY1" fmla="*/ 0 h 6198437"/>
                <a:gd name="connsiteX2" fmla="*/ 48298 w 3171840"/>
                <a:gd name="connsiteY2" fmla="*/ 165560 h 6198437"/>
                <a:gd name="connsiteX3" fmla="*/ 1811849 w 3171840"/>
                <a:gd name="connsiteY3" fmla="*/ 680900 h 6198437"/>
                <a:gd name="connsiteX4" fmla="*/ 2361979 w 3171840"/>
                <a:gd name="connsiteY4" fmla="*/ 1291242 h 6198437"/>
                <a:gd name="connsiteX5" fmla="*/ 2423383 w 3171840"/>
                <a:gd name="connsiteY5" fmla="*/ 1298860 h 6198437"/>
                <a:gd name="connsiteX6" fmla="*/ 2588224 w 3171840"/>
                <a:gd name="connsiteY6" fmla="*/ 1479661 h 6198437"/>
                <a:gd name="connsiteX7" fmla="*/ 2588447 w 3171840"/>
                <a:gd name="connsiteY7" fmla="*/ 1535080 h 6198437"/>
                <a:gd name="connsiteX8" fmla="*/ 2749711 w 3171840"/>
                <a:gd name="connsiteY8" fmla="*/ 1726990 h 6198437"/>
                <a:gd name="connsiteX9" fmla="*/ 3129699 w 3171840"/>
                <a:gd name="connsiteY9" fmla="*/ 3519512 h 6198437"/>
                <a:gd name="connsiteX10" fmla="*/ 2937620 w 3171840"/>
                <a:gd name="connsiteY10" fmla="*/ 4385669 h 6198437"/>
                <a:gd name="connsiteX11" fmla="*/ 3085070 w 3171840"/>
                <a:gd name="connsiteY11" fmla="*/ 4428964 h 6198437"/>
                <a:gd name="connsiteX12" fmla="*/ 2981153 w 3171840"/>
                <a:gd name="connsiteY12" fmla="*/ 4865439 h 6198437"/>
                <a:gd name="connsiteX13" fmla="*/ 2836550 w 3171840"/>
                <a:gd name="connsiteY13" fmla="*/ 4824545 h 6198437"/>
                <a:gd name="connsiteX14" fmla="*/ 1723123 w 3171840"/>
                <a:gd name="connsiteY14" fmla="*/ 6198437 h 6198437"/>
                <a:gd name="connsiteX15" fmla="*/ 1532125 w 3171840"/>
                <a:gd name="connsiteY15" fmla="*/ 5626725 h 6198437"/>
                <a:gd name="connsiteX16" fmla="*/ 2318260 w 3171840"/>
                <a:gd name="connsiteY16" fmla="*/ 4596953 h 6198437"/>
                <a:gd name="connsiteX17" fmla="*/ 2598309 w 3171840"/>
                <a:gd name="connsiteY17" fmla="*/ 3352779 h 6198437"/>
                <a:gd name="connsiteX18" fmla="*/ 2279493 w 3171840"/>
                <a:gd name="connsiteY18" fmla="*/ 2049487 h 6198437"/>
                <a:gd name="connsiteX19" fmla="*/ 1462240 w 3171840"/>
                <a:gd name="connsiteY19" fmla="*/ 1163055 h 6198437"/>
                <a:gd name="connsiteX20" fmla="*/ 167974 w 3171840"/>
                <a:gd name="connsiteY20" fmla="*/ 761302 h 6198437"/>
                <a:gd name="connsiteX0" fmla="*/ 119676 w 3123542"/>
                <a:gd name="connsiteY0" fmla="*/ 648673 h 6085808"/>
                <a:gd name="connsiteX1" fmla="*/ 0 w 3123542"/>
                <a:gd name="connsiteY1" fmla="*/ 52931 h 6085808"/>
                <a:gd name="connsiteX2" fmla="*/ 1763551 w 3123542"/>
                <a:gd name="connsiteY2" fmla="*/ 568271 h 6085808"/>
                <a:gd name="connsiteX3" fmla="*/ 2313681 w 3123542"/>
                <a:gd name="connsiteY3" fmla="*/ 1178613 h 6085808"/>
                <a:gd name="connsiteX4" fmla="*/ 2375085 w 3123542"/>
                <a:gd name="connsiteY4" fmla="*/ 1186231 h 6085808"/>
                <a:gd name="connsiteX5" fmla="*/ 2539926 w 3123542"/>
                <a:gd name="connsiteY5" fmla="*/ 1367032 h 6085808"/>
                <a:gd name="connsiteX6" fmla="*/ 2540149 w 3123542"/>
                <a:gd name="connsiteY6" fmla="*/ 1422451 h 6085808"/>
                <a:gd name="connsiteX7" fmla="*/ 2701413 w 3123542"/>
                <a:gd name="connsiteY7" fmla="*/ 1614361 h 6085808"/>
                <a:gd name="connsiteX8" fmla="*/ 3081401 w 3123542"/>
                <a:gd name="connsiteY8" fmla="*/ 3406883 h 6085808"/>
                <a:gd name="connsiteX9" fmla="*/ 2889322 w 3123542"/>
                <a:gd name="connsiteY9" fmla="*/ 4273040 h 6085808"/>
                <a:gd name="connsiteX10" fmla="*/ 3036772 w 3123542"/>
                <a:gd name="connsiteY10" fmla="*/ 4316335 h 6085808"/>
                <a:gd name="connsiteX11" fmla="*/ 2932855 w 3123542"/>
                <a:gd name="connsiteY11" fmla="*/ 4752810 h 6085808"/>
                <a:gd name="connsiteX12" fmla="*/ 2788252 w 3123542"/>
                <a:gd name="connsiteY12" fmla="*/ 4711916 h 6085808"/>
                <a:gd name="connsiteX13" fmla="*/ 1674825 w 3123542"/>
                <a:gd name="connsiteY13" fmla="*/ 6085808 h 6085808"/>
                <a:gd name="connsiteX14" fmla="*/ 1483827 w 3123542"/>
                <a:gd name="connsiteY14" fmla="*/ 5514096 h 6085808"/>
                <a:gd name="connsiteX15" fmla="*/ 2269962 w 3123542"/>
                <a:gd name="connsiteY15" fmla="*/ 4484324 h 6085808"/>
                <a:gd name="connsiteX16" fmla="*/ 2550011 w 3123542"/>
                <a:gd name="connsiteY16" fmla="*/ 3240150 h 6085808"/>
                <a:gd name="connsiteX17" fmla="*/ 2231195 w 3123542"/>
                <a:gd name="connsiteY17" fmla="*/ 1936858 h 6085808"/>
                <a:gd name="connsiteX18" fmla="*/ 1413942 w 3123542"/>
                <a:gd name="connsiteY18" fmla="*/ 1050426 h 6085808"/>
                <a:gd name="connsiteX19" fmla="*/ 119676 w 3123542"/>
                <a:gd name="connsiteY19" fmla="*/ 648673 h 6085808"/>
                <a:gd name="connsiteX0" fmla="*/ 0 w 3003866"/>
                <a:gd name="connsiteY0" fmla="*/ 80402 h 5517537"/>
                <a:gd name="connsiteX1" fmla="*/ 1643875 w 3003866"/>
                <a:gd name="connsiteY1" fmla="*/ 0 h 5517537"/>
                <a:gd name="connsiteX2" fmla="*/ 2194005 w 3003866"/>
                <a:gd name="connsiteY2" fmla="*/ 610342 h 5517537"/>
                <a:gd name="connsiteX3" fmla="*/ 2255409 w 3003866"/>
                <a:gd name="connsiteY3" fmla="*/ 617960 h 5517537"/>
                <a:gd name="connsiteX4" fmla="*/ 2420250 w 3003866"/>
                <a:gd name="connsiteY4" fmla="*/ 798761 h 5517537"/>
                <a:gd name="connsiteX5" fmla="*/ 2420473 w 3003866"/>
                <a:gd name="connsiteY5" fmla="*/ 854180 h 5517537"/>
                <a:gd name="connsiteX6" fmla="*/ 2581737 w 3003866"/>
                <a:gd name="connsiteY6" fmla="*/ 1046090 h 5517537"/>
                <a:gd name="connsiteX7" fmla="*/ 2961725 w 3003866"/>
                <a:gd name="connsiteY7" fmla="*/ 2838612 h 5517537"/>
                <a:gd name="connsiteX8" fmla="*/ 2769646 w 3003866"/>
                <a:gd name="connsiteY8" fmla="*/ 3704769 h 5517537"/>
                <a:gd name="connsiteX9" fmla="*/ 2917096 w 3003866"/>
                <a:gd name="connsiteY9" fmla="*/ 3748064 h 5517537"/>
                <a:gd name="connsiteX10" fmla="*/ 2813179 w 3003866"/>
                <a:gd name="connsiteY10" fmla="*/ 4184539 h 5517537"/>
                <a:gd name="connsiteX11" fmla="*/ 2668576 w 3003866"/>
                <a:gd name="connsiteY11" fmla="*/ 4143645 h 5517537"/>
                <a:gd name="connsiteX12" fmla="*/ 1555149 w 3003866"/>
                <a:gd name="connsiteY12" fmla="*/ 5517537 h 5517537"/>
                <a:gd name="connsiteX13" fmla="*/ 1364151 w 3003866"/>
                <a:gd name="connsiteY13" fmla="*/ 4945825 h 5517537"/>
                <a:gd name="connsiteX14" fmla="*/ 2150286 w 3003866"/>
                <a:gd name="connsiteY14" fmla="*/ 3916053 h 5517537"/>
                <a:gd name="connsiteX15" fmla="*/ 2430335 w 3003866"/>
                <a:gd name="connsiteY15" fmla="*/ 2671879 h 5517537"/>
                <a:gd name="connsiteX16" fmla="*/ 2111519 w 3003866"/>
                <a:gd name="connsiteY16" fmla="*/ 1368587 h 5517537"/>
                <a:gd name="connsiteX17" fmla="*/ 1294266 w 3003866"/>
                <a:gd name="connsiteY17" fmla="*/ 482155 h 5517537"/>
                <a:gd name="connsiteX18" fmla="*/ 0 w 3003866"/>
                <a:gd name="connsiteY18" fmla="*/ 80402 h 5517537"/>
                <a:gd name="connsiteX0" fmla="*/ 13536 w 1723136"/>
                <a:gd name="connsiteY0" fmla="*/ 483325 h 5518707"/>
                <a:gd name="connsiteX1" fmla="*/ 363145 w 1723136"/>
                <a:gd name="connsiteY1" fmla="*/ 1170 h 5518707"/>
                <a:gd name="connsiteX2" fmla="*/ 913275 w 1723136"/>
                <a:gd name="connsiteY2" fmla="*/ 611512 h 5518707"/>
                <a:gd name="connsiteX3" fmla="*/ 974679 w 1723136"/>
                <a:gd name="connsiteY3" fmla="*/ 619130 h 5518707"/>
                <a:gd name="connsiteX4" fmla="*/ 1139520 w 1723136"/>
                <a:gd name="connsiteY4" fmla="*/ 799931 h 5518707"/>
                <a:gd name="connsiteX5" fmla="*/ 1139743 w 1723136"/>
                <a:gd name="connsiteY5" fmla="*/ 855350 h 5518707"/>
                <a:gd name="connsiteX6" fmla="*/ 1301007 w 1723136"/>
                <a:gd name="connsiteY6" fmla="*/ 1047260 h 5518707"/>
                <a:gd name="connsiteX7" fmla="*/ 1680995 w 1723136"/>
                <a:gd name="connsiteY7" fmla="*/ 2839782 h 5518707"/>
                <a:gd name="connsiteX8" fmla="*/ 1488916 w 1723136"/>
                <a:gd name="connsiteY8" fmla="*/ 3705939 h 5518707"/>
                <a:gd name="connsiteX9" fmla="*/ 1636366 w 1723136"/>
                <a:gd name="connsiteY9" fmla="*/ 3749234 h 5518707"/>
                <a:gd name="connsiteX10" fmla="*/ 1532449 w 1723136"/>
                <a:gd name="connsiteY10" fmla="*/ 4185709 h 5518707"/>
                <a:gd name="connsiteX11" fmla="*/ 1387846 w 1723136"/>
                <a:gd name="connsiteY11" fmla="*/ 4144815 h 5518707"/>
                <a:gd name="connsiteX12" fmla="*/ 274419 w 1723136"/>
                <a:gd name="connsiteY12" fmla="*/ 5518707 h 5518707"/>
                <a:gd name="connsiteX13" fmla="*/ 83421 w 1723136"/>
                <a:gd name="connsiteY13" fmla="*/ 4946995 h 5518707"/>
                <a:gd name="connsiteX14" fmla="*/ 869556 w 1723136"/>
                <a:gd name="connsiteY14" fmla="*/ 3917223 h 5518707"/>
                <a:gd name="connsiteX15" fmla="*/ 1149605 w 1723136"/>
                <a:gd name="connsiteY15" fmla="*/ 2673049 h 5518707"/>
                <a:gd name="connsiteX16" fmla="*/ 830789 w 1723136"/>
                <a:gd name="connsiteY16" fmla="*/ 1369757 h 5518707"/>
                <a:gd name="connsiteX17" fmla="*/ 13536 w 1723136"/>
                <a:gd name="connsiteY17" fmla="*/ 483325 h 5518707"/>
                <a:gd name="connsiteX0" fmla="*/ 0 w 1709600"/>
                <a:gd name="connsiteY0" fmla="*/ 483078 h 5518460"/>
                <a:gd name="connsiteX1" fmla="*/ 349609 w 1709600"/>
                <a:gd name="connsiteY1" fmla="*/ 923 h 5518460"/>
                <a:gd name="connsiteX2" fmla="*/ 899739 w 1709600"/>
                <a:gd name="connsiteY2" fmla="*/ 611265 h 5518460"/>
                <a:gd name="connsiteX3" fmla="*/ 961143 w 1709600"/>
                <a:gd name="connsiteY3" fmla="*/ 618883 h 5518460"/>
                <a:gd name="connsiteX4" fmla="*/ 1125984 w 1709600"/>
                <a:gd name="connsiteY4" fmla="*/ 799684 h 5518460"/>
                <a:gd name="connsiteX5" fmla="*/ 1126207 w 1709600"/>
                <a:gd name="connsiteY5" fmla="*/ 855103 h 5518460"/>
                <a:gd name="connsiteX6" fmla="*/ 1287471 w 1709600"/>
                <a:gd name="connsiteY6" fmla="*/ 1047013 h 5518460"/>
                <a:gd name="connsiteX7" fmla="*/ 1667459 w 1709600"/>
                <a:gd name="connsiteY7" fmla="*/ 2839535 h 5518460"/>
                <a:gd name="connsiteX8" fmla="*/ 1475380 w 1709600"/>
                <a:gd name="connsiteY8" fmla="*/ 3705692 h 5518460"/>
                <a:gd name="connsiteX9" fmla="*/ 1622830 w 1709600"/>
                <a:gd name="connsiteY9" fmla="*/ 3748987 h 5518460"/>
                <a:gd name="connsiteX10" fmla="*/ 1518913 w 1709600"/>
                <a:gd name="connsiteY10" fmla="*/ 4185462 h 5518460"/>
                <a:gd name="connsiteX11" fmla="*/ 1374310 w 1709600"/>
                <a:gd name="connsiteY11" fmla="*/ 4144568 h 5518460"/>
                <a:gd name="connsiteX12" fmla="*/ 260883 w 1709600"/>
                <a:gd name="connsiteY12" fmla="*/ 5518460 h 5518460"/>
                <a:gd name="connsiteX13" fmla="*/ 69885 w 1709600"/>
                <a:gd name="connsiteY13" fmla="*/ 4946748 h 5518460"/>
                <a:gd name="connsiteX14" fmla="*/ 856020 w 1709600"/>
                <a:gd name="connsiteY14" fmla="*/ 3916976 h 5518460"/>
                <a:gd name="connsiteX15" fmla="*/ 1136069 w 1709600"/>
                <a:gd name="connsiteY15" fmla="*/ 2672802 h 5518460"/>
                <a:gd name="connsiteX16" fmla="*/ 817253 w 1709600"/>
                <a:gd name="connsiteY16" fmla="*/ 1369510 h 5518460"/>
                <a:gd name="connsiteX17" fmla="*/ 0 w 1709600"/>
                <a:gd name="connsiteY17" fmla="*/ 483078 h 5518460"/>
                <a:gd name="connsiteX0" fmla="*/ 0 w 1732009"/>
                <a:gd name="connsiteY0" fmla="*/ 467166 h 5518500"/>
                <a:gd name="connsiteX1" fmla="*/ 372018 w 1732009"/>
                <a:gd name="connsiteY1" fmla="*/ 963 h 5518500"/>
                <a:gd name="connsiteX2" fmla="*/ 922148 w 1732009"/>
                <a:gd name="connsiteY2" fmla="*/ 611305 h 5518500"/>
                <a:gd name="connsiteX3" fmla="*/ 983552 w 1732009"/>
                <a:gd name="connsiteY3" fmla="*/ 618923 h 5518500"/>
                <a:gd name="connsiteX4" fmla="*/ 1148393 w 1732009"/>
                <a:gd name="connsiteY4" fmla="*/ 799724 h 5518500"/>
                <a:gd name="connsiteX5" fmla="*/ 1148616 w 1732009"/>
                <a:gd name="connsiteY5" fmla="*/ 855143 h 5518500"/>
                <a:gd name="connsiteX6" fmla="*/ 1309880 w 1732009"/>
                <a:gd name="connsiteY6" fmla="*/ 1047053 h 5518500"/>
                <a:gd name="connsiteX7" fmla="*/ 1689868 w 1732009"/>
                <a:gd name="connsiteY7" fmla="*/ 2839575 h 5518500"/>
                <a:gd name="connsiteX8" fmla="*/ 1497789 w 1732009"/>
                <a:gd name="connsiteY8" fmla="*/ 3705732 h 5518500"/>
                <a:gd name="connsiteX9" fmla="*/ 1645239 w 1732009"/>
                <a:gd name="connsiteY9" fmla="*/ 3749027 h 5518500"/>
                <a:gd name="connsiteX10" fmla="*/ 1541322 w 1732009"/>
                <a:gd name="connsiteY10" fmla="*/ 4185502 h 5518500"/>
                <a:gd name="connsiteX11" fmla="*/ 1396719 w 1732009"/>
                <a:gd name="connsiteY11" fmla="*/ 4144608 h 5518500"/>
                <a:gd name="connsiteX12" fmla="*/ 283292 w 1732009"/>
                <a:gd name="connsiteY12" fmla="*/ 5518500 h 5518500"/>
                <a:gd name="connsiteX13" fmla="*/ 92294 w 1732009"/>
                <a:gd name="connsiteY13" fmla="*/ 4946788 h 5518500"/>
                <a:gd name="connsiteX14" fmla="*/ 878429 w 1732009"/>
                <a:gd name="connsiteY14" fmla="*/ 3917016 h 5518500"/>
                <a:gd name="connsiteX15" fmla="*/ 1158478 w 1732009"/>
                <a:gd name="connsiteY15" fmla="*/ 2672842 h 5518500"/>
                <a:gd name="connsiteX16" fmla="*/ 839662 w 1732009"/>
                <a:gd name="connsiteY16" fmla="*/ 1369550 h 5518500"/>
                <a:gd name="connsiteX17" fmla="*/ 0 w 1732009"/>
                <a:gd name="connsiteY17" fmla="*/ 467166 h 5518500"/>
                <a:gd name="connsiteX0" fmla="*/ 0 w 1732009"/>
                <a:gd name="connsiteY0" fmla="*/ 466203 h 5517537"/>
                <a:gd name="connsiteX1" fmla="*/ 372018 w 1732009"/>
                <a:gd name="connsiteY1" fmla="*/ 0 h 5517537"/>
                <a:gd name="connsiteX2" fmla="*/ 922148 w 1732009"/>
                <a:gd name="connsiteY2" fmla="*/ 610342 h 5517537"/>
                <a:gd name="connsiteX3" fmla="*/ 983552 w 1732009"/>
                <a:gd name="connsiteY3" fmla="*/ 617960 h 5517537"/>
                <a:gd name="connsiteX4" fmla="*/ 1148393 w 1732009"/>
                <a:gd name="connsiteY4" fmla="*/ 798761 h 5517537"/>
                <a:gd name="connsiteX5" fmla="*/ 1148616 w 1732009"/>
                <a:gd name="connsiteY5" fmla="*/ 854180 h 5517537"/>
                <a:gd name="connsiteX6" fmla="*/ 1309880 w 1732009"/>
                <a:gd name="connsiteY6" fmla="*/ 1046090 h 5517537"/>
                <a:gd name="connsiteX7" fmla="*/ 1689868 w 1732009"/>
                <a:gd name="connsiteY7" fmla="*/ 2838612 h 5517537"/>
                <a:gd name="connsiteX8" fmla="*/ 1497789 w 1732009"/>
                <a:gd name="connsiteY8" fmla="*/ 3704769 h 5517537"/>
                <a:gd name="connsiteX9" fmla="*/ 1645239 w 1732009"/>
                <a:gd name="connsiteY9" fmla="*/ 3748064 h 5517537"/>
                <a:gd name="connsiteX10" fmla="*/ 1541322 w 1732009"/>
                <a:gd name="connsiteY10" fmla="*/ 4184539 h 5517537"/>
                <a:gd name="connsiteX11" fmla="*/ 1396719 w 1732009"/>
                <a:gd name="connsiteY11" fmla="*/ 4143645 h 5517537"/>
                <a:gd name="connsiteX12" fmla="*/ 283292 w 1732009"/>
                <a:gd name="connsiteY12" fmla="*/ 5517537 h 5517537"/>
                <a:gd name="connsiteX13" fmla="*/ 92294 w 1732009"/>
                <a:gd name="connsiteY13" fmla="*/ 4945825 h 5517537"/>
                <a:gd name="connsiteX14" fmla="*/ 878429 w 1732009"/>
                <a:gd name="connsiteY14" fmla="*/ 3916053 h 5517537"/>
                <a:gd name="connsiteX15" fmla="*/ 1158478 w 1732009"/>
                <a:gd name="connsiteY15" fmla="*/ 2671879 h 5517537"/>
                <a:gd name="connsiteX16" fmla="*/ 839662 w 1732009"/>
                <a:gd name="connsiteY16" fmla="*/ 1368587 h 5517537"/>
                <a:gd name="connsiteX17" fmla="*/ 0 w 1732009"/>
                <a:gd name="connsiteY17" fmla="*/ 466203 h 5517537"/>
                <a:gd name="connsiteX0" fmla="*/ 0 w 1739354"/>
                <a:gd name="connsiteY0" fmla="*/ 442272 h 5517537"/>
                <a:gd name="connsiteX1" fmla="*/ 379363 w 1739354"/>
                <a:gd name="connsiteY1" fmla="*/ 0 h 5517537"/>
                <a:gd name="connsiteX2" fmla="*/ 929493 w 1739354"/>
                <a:gd name="connsiteY2" fmla="*/ 610342 h 5517537"/>
                <a:gd name="connsiteX3" fmla="*/ 990897 w 1739354"/>
                <a:gd name="connsiteY3" fmla="*/ 617960 h 5517537"/>
                <a:gd name="connsiteX4" fmla="*/ 1155738 w 1739354"/>
                <a:gd name="connsiteY4" fmla="*/ 798761 h 5517537"/>
                <a:gd name="connsiteX5" fmla="*/ 1155961 w 1739354"/>
                <a:gd name="connsiteY5" fmla="*/ 854180 h 5517537"/>
                <a:gd name="connsiteX6" fmla="*/ 1317225 w 1739354"/>
                <a:gd name="connsiteY6" fmla="*/ 1046090 h 5517537"/>
                <a:gd name="connsiteX7" fmla="*/ 1697213 w 1739354"/>
                <a:gd name="connsiteY7" fmla="*/ 2838612 h 5517537"/>
                <a:gd name="connsiteX8" fmla="*/ 1505134 w 1739354"/>
                <a:gd name="connsiteY8" fmla="*/ 3704769 h 5517537"/>
                <a:gd name="connsiteX9" fmla="*/ 1652584 w 1739354"/>
                <a:gd name="connsiteY9" fmla="*/ 3748064 h 5517537"/>
                <a:gd name="connsiteX10" fmla="*/ 1548667 w 1739354"/>
                <a:gd name="connsiteY10" fmla="*/ 4184539 h 5517537"/>
                <a:gd name="connsiteX11" fmla="*/ 1404064 w 1739354"/>
                <a:gd name="connsiteY11" fmla="*/ 4143645 h 5517537"/>
                <a:gd name="connsiteX12" fmla="*/ 290637 w 1739354"/>
                <a:gd name="connsiteY12" fmla="*/ 5517537 h 5517537"/>
                <a:gd name="connsiteX13" fmla="*/ 99639 w 1739354"/>
                <a:gd name="connsiteY13" fmla="*/ 4945825 h 5517537"/>
                <a:gd name="connsiteX14" fmla="*/ 885774 w 1739354"/>
                <a:gd name="connsiteY14" fmla="*/ 3916053 h 5517537"/>
                <a:gd name="connsiteX15" fmla="*/ 1165823 w 1739354"/>
                <a:gd name="connsiteY15" fmla="*/ 2671879 h 5517537"/>
                <a:gd name="connsiteX16" fmla="*/ 847007 w 1739354"/>
                <a:gd name="connsiteY16" fmla="*/ 1368587 h 5517537"/>
                <a:gd name="connsiteX17" fmla="*/ 0 w 1739354"/>
                <a:gd name="connsiteY17" fmla="*/ 442272 h 5517537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747368 w 1639715"/>
                <a:gd name="connsiteY0" fmla="*/ 1387200 h 5536150"/>
                <a:gd name="connsiteX1" fmla="*/ 267482 w 1639715"/>
                <a:gd name="connsiteY1" fmla="*/ 0 h 5536150"/>
                <a:gd name="connsiteX2" fmla="*/ 829854 w 1639715"/>
                <a:gd name="connsiteY2" fmla="*/ 628955 h 5536150"/>
                <a:gd name="connsiteX3" fmla="*/ 891258 w 1639715"/>
                <a:gd name="connsiteY3" fmla="*/ 636573 h 5536150"/>
                <a:gd name="connsiteX4" fmla="*/ 1056099 w 1639715"/>
                <a:gd name="connsiteY4" fmla="*/ 817374 h 5536150"/>
                <a:gd name="connsiteX5" fmla="*/ 1056322 w 1639715"/>
                <a:gd name="connsiteY5" fmla="*/ 872793 h 5536150"/>
                <a:gd name="connsiteX6" fmla="*/ 1217586 w 1639715"/>
                <a:gd name="connsiteY6" fmla="*/ 1064703 h 5536150"/>
                <a:gd name="connsiteX7" fmla="*/ 1597574 w 1639715"/>
                <a:gd name="connsiteY7" fmla="*/ 2857225 h 5536150"/>
                <a:gd name="connsiteX8" fmla="*/ 1405495 w 1639715"/>
                <a:gd name="connsiteY8" fmla="*/ 3723382 h 5536150"/>
                <a:gd name="connsiteX9" fmla="*/ 1552945 w 1639715"/>
                <a:gd name="connsiteY9" fmla="*/ 3766677 h 5536150"/>
                <a:gd name="connsiteX10" fmla="*/ 1449028 w 1639715"/>
                <a:gd name="connsiteY10" fmla="*/ 4203152 h 5536150"/>
                <a:gd name="connsiteX11" fmla="*/ 1304425 w 1639715"/>
                <a:gd name="connsiteY11" fmla="*/ 4162258 h 5536150"/>
                <a:gd name="connsiteX12" fmla="*/ 190998 w 1639715"/>
                <a:gd name="connsiteY12" fmla="*/ 5536150 h 5536150"/>
                <a:gd name="connsiteX13" fmla="*/ 0 w 1639715"/>
                <a:gd name="connsiteY13" fmla="*/ 4964438 h 5536150"/>
                <a:gd name="connsiteX14" fmla="*/ 786135 w 1639715"/>
                <a:gd name="connsiteY14" fmla="*/ 3934666 h 5536150"/>
                <a:gd name="connsiteX15" fmla="*/ 1066184 w 1639715"/>
                <a:gd name="connsiteY15" fmla="*/ 2690492 h 5536150"/>
                <a:gd name="connsiteX16" fmla="*/ 747368 w 1639715"/>
                <a:gd name="connsiteY16" fmla="*/ 1387200 h 5536150"/>
                <a:gd name="connsiteX0" fmla="*/ 747368 w 1639715"/>
                <a:gd name="connsiteY0" fmla="*/ 758245 h 4907195"/>
                <a:gd name="connsiteX1" fmla="*/ 829854 w 1639715"/>
                <a:gd name="connsiteY1" fmla="*/ 0 h 4907195"/>
                <a:gd name="connsiteX2" fmla="*/ 891258 w 1639715"/>
                <a:gd name="connsiteY2" fmla="*/ 7618 h 4907195"/>
                <a:gd name="connsiteX3" fmla="*/ 1056099 w 1639715"/>
                <a:gd name="connsiteY3" fmla="*/ 188419 h 4907195"/>
                <a:gd name="connsiteX4" fmla="*/ 1056322 w 1639715"/>
                <a:gd name="connsiteY4" fmla="*/ 243838 h 4907195"/>
                <a:gd name="connsiteX5" fmla="*/ 1217586 w 1639715"/>
                <a:gd name="connsiteY5" fmla="*/ 435748 h 4907195"/>
                <a:gd name="connsiteX6" fmla="*/ 1597574 w 1639715"/>
                <a:gd name="connsiteY6" fmla="*/ 2228270 h 4907195"/>
                <a:gd name="connsiteX7" fmla="*/ 1405495 w 1639715"/>
                <a:gd name="connsiteY7" fmla="*/ 3094427 h 4907195"/>
                <a:gd name="connsiteX8" fmla="*/ 1552945 w 1639715"/>
                <a:gd name="connsiteY8" fmla="*/ 3137722 h 4907195"/>
                <a:gd name="connsiteX9" fmla="*/ 1449028 w 1639715"/>
                <a:gd name="connsiteY9" fmla="*/ 3574197 h 4907195"/>
                <a:gd name="connsiteX10" fmla="*/ 1304425 w 1639715"/>
                <a:gd name="connsiteY10" fmla="*/ 3533303 h 4907195"/>
                <a:gd name="connsiteX11" fmla="*/ 190998 w 1639715"/>
                <a:gd name="connsiteY11" fmla="*/ 4907195 h 4907195"/>
                <a:gd name="connsiteX12" fmla="*/ 0 w 1639715"/>
                <a:gd name="connsiteY12" fmla="*/ 4335483 h 4907195"/>
                <a:gd name="connsiteX13" fmla="*/ 786135 w 1639715"/>
                <a:gd name="connsiteY13" fmla="*/ 3305711 h 4907195"/>
                <a:gd name="connsiteX14" fmla="*/ 1066184 w 1639715"/>
                <a:gd name="connsiteY14" fmla="*/ 2061537 h 4907195"/>
                <a:gd name="connsiteX15" fmla="*/ 747368 w 1639715"/>
                <a:gd name="connsiteY15" fmla="*/ 758245 h 4907195"/>
                <a:gd name="connsiteX0" fmla="*/ 747368 w 1639715"/>
                <a:gd name="connsiteY0" fmla="*/ 750627 h 4899577"/>
                <a:gd name="connsiteX1" fmla="*/ 891258 w 1639715"/>
                <a:gd name="connsiteY1" fmla="*/ 0 h 4899577"/>
                <a:gd name="connsiteX2" fmla="*/ 1056099 w 1639715"/>
                <a:gd name="connsiteY2" fmla="*/ 180801 h 4899577"/>
                <a:gd name="connsiteX3" fmla="*/ 1056322 w 1639715"/>
                <a:gd name="connsiteY3" fmla="*/ 236220 h 4899577"/>
                <a:gd name="connsiteX4" fmla="*/ 1217586 w 1639715"/>
                <a:gd name="connsiteY4" fmla="*/ 428130 h 4899577"/>
                <a:gd name="connsiteX5" fmla="*/ 1597574 w 1639715"/>
                <a:gd name="connsiteY5" fmla="*/ 2220652 h 4899577"/>
                <a:gd name="connsiteX6" fmla="*/ 1405495 w 1639715"/>
                <a:gd name="connsiteY6" fmla="*/ 3086809 h 4899577"/>
                <a:gd name="connsiteX7" fmla="*/ 1552945 w 1639715"/>
                <a:gd name="connsiteY7" fmla="*/ 3130104 h 4899577"/>
                <a:gd name="connsiteX8" fmla="*/ 1449028 w 1639715"/>
                <a:gd name="connsiteY8" fmla="*/ 3566579 h 4899577"/>
                <a:gd name="connsiteX9" fmla="*/ 1304425 w 1639715"/>
                <a:gd name="connsiteY9" fmla="*/ 3525685 h 4899577"/>
                <a:gd name="connsiteX10" fmla="*/ 190998 w 1639715"/>
                <a:gd name="connsiteY10" fmla="*/ 4899577 h 4899577"/>
                <a:gd name="connsiteX11" fmla="*/ 0 w 1639715"/>
                <a:gd name="connsiteY11" fmla="*/ 4327865 h 4899577"/>
                <a:gd name="connsiteX12" fmla="*/ 786135 w 1639715"/>
                <a:gd name="connsiteY12" fmla="*/ 3298093 h 4899577"/>
                <a:gd name="connsiteX13" fmla="*/ 1066184 w 1639715"/>
                <a:gd name="connsiteY13" fmla="*/ 2053919 h 4899577"/>
                <a:gd name="connsiteX14" fmla="*/ 747368 w 1639715"/>
                <a:gd name="connsiteY14" fmla="*/ 750627 h 4899577"/>
                <a:gd name="connsiteX0" fmla="*/ 747368 w 1639715"/>
                <a:gd name="connsiteY0" fmla="*/ 569826 h 4718776"/>
                <a:gd name="connsiteX1" fmla="*/ 1056099 w 1639715"/>
                <a:gd name="connsiteY1" fmla="*/ 0 h 4718776"/>
                <a:gd name="connsiteX2" fmla="*/ 1056322 w 1639715"/>
                <a:gd name="connsiteY2" fmla="*/ 55419 h 4718776"/>
                <a:gd name="connsiteX3" fmla="*/ 1217586 w 1639715"/>
                <a:gd name="connsiteY3" fmla="*/ 247329 h 4718776"/>
                <a:gd name="connsiteX4" fmla="*/ 1597574 w 1639715"/>
                <a:gd name="connsiteY4" fmla="*/ 2039851 h 4718776"/>
                <a:gd name="connsiteX5" fmla="*/ 1405495 w 1639715"/>
                <a:gd name="connsiteY5" fmla="*/ 2906008 h 4718776"/>
                <a:gd name="connsiteX6" fmla="*/ 1552945 w 1639715"/>
                <a:gd name="connsiteY6" fmla="*/ 2949303 h 4718776"/>
                <a:gd name="connsiteX7" fmla="*/ 1449028 w 1639715"/>
                <a:gd name="connsiteY7" fmla="*/ 3385778 h 4718776"/>
                <a:gd name="connsiteX8" fmla="*/ 1304425 w 1639715"/>
                <a:gd name="connsiteY8" fmla="*/ 3344884 h 4718776"/>
                <a:gd name="connsiteX9" fmla="*/ 190998 w 1639715"/>
                <a:gd name="connsiteY9" fmla="*/ 4718776 h 4718776"/>
                <a:gd name="connsiteX10" fmla="*/ 0 w 1639715"/>
                <a:gd name="connsiteY10" fmla="*/ 4147064 h 4718776"/>
                <a:gd name="connsiteX11" fmla="*/ 786135 w 1639715"/>
                <a:gd name="connsiteY11" fmla="*/ 3117292 h 4718776"/>
                <a:gd name="connsiteX12" fmla="*/ 1066184 w 1639715"/>
                <a:gd name="connsiteY12" fmla="*/ 1873118 h 4718776"/>
                <a:gd name="connsiteX13" fmla="*/ 747368 w 1639715"/>
                <a:gd name="connsiteY13" fmla="*/ 569826 h 4718776"/>
                <a:gd name="connsiteX0" fmla="*/ 747368 w 1639715"/>
                <a:gd name="connsiteY0" fmla="*/ 514407 h 4663357"/>
                <a:gd name="connsiteX1" fmla="*/ 1056322 w 1639715"/>
                <a:gd name="connsiteY1" fmla="*/ 0 h 4663357"/>
                <a:gd name="connsiteX2" fmla="*/ 1217586 w 1639715"/>
                <a:gd name="connsiteY2" fmla="*/ 191910 h 4663357"/>
                <a:gd name="connsiteX3" fmla="*/ 1597574 w 1639715"/>
                <a:gd name="connsiteY3" fmla="*/ 1984432 h 4663357"/>
                <a:gd name="connsiteX4" fmla="*/ 1405495 w 1639715"/>
                <a:gd name="connsiteY4" fmla="*/ 2850589 h 4663357"/>
                <a:gd name="connsiteX5" fmla="*/ 1552945 w 1639715"/>
                <a:gd name="connsiteY5" fmla="*/ 2893884 h 4663357"/>
                <a:gd name="connsiteX6" fmla="*/ 1449028 w 1639715"/>
                <a:gd name="connsiteY6" fmla="*/ 3330359 h 4663357"/>
                <a:gd name="connsiteX7" fmla="*/ 1304425 w 1639715"/>
                <a:gd name="connsiteY7" fmla="*/ 3289465 h 4663357"/>
                <a:gd name="connsiteX8" fmla="*/ 190998 w 1639715"/>
                <a:gd name="connsiteY8" fmla="*/ 4663357 h 4663357"/>
                <a:gd name="connsiteX9" fmla="*/ 0 w 1639715"/>
                <a:gd name="connsiteY9" fmla="*/ 4091645 h 4663357"/>
                <a:gd name="connsiteX10" fmla="*/ 786135 w 1639715"/>
                <a:gd name="connsiteY10" fmla="*/ 3061873 h 4663357"/>
                <a:gd name="connsiteX11" fmla="*/ 1066184 w 1639715"/>
                <a:gd name="connsiteY11" fmla="*/ 1817699 h 4663357"/>
                <a:gd name="connsiteX12" fmla="*/ 747368 w 1639715"/>
                <a:gd name="connsiteY12" fmla="*/ 514407 h 4663357"/>
                <a:gd name="connsiteX0" fmla="*/ 747368 w 1639715"/>
                <a:gd name="connsiteY0" fmla="*/ 413750 h 4562700"/>
                <a:gd name="connsiteX1" fmla="*/ 1217586 w 1639715"/>
                <a:gd name="connsiteY1" fmla="*/ 91253 h 4562700"/>
                <a:gd name="connsiteX2" fmla="*/ 1597574 w 1639715"/>
                <a:gd name="connsiteY2" fmla="*/ 1883775 h 4562700"/>
                <a:gd name="connsiteX3" fmla="*/ 1405495 w 1639715"/>
                <a:gd name="connsiteY3" fmla="*/ 2749932 h 4562700"/>
                <a:gd name="connsiteX4" fmla="*/ 1552945 w 1639715"/>
                <a:gd name="connsiteY4" fmla="*/ 2793227 h 4562700"/>
                <a:gd name="connsiteX5" fmla="*/ 1449028 w 1639715"/>
                <a:gd name="connsiteY5" fmla="*/ 3229702 h 4562700"/>
                <a:gd name="connsiteX6" fmla="*/ 1304425 w 1639715"/>
                <a:gd name="connsiteY6" fmla="*/ 3188808 h 4562700"/>
                <a:gd name="connsiteX7" fmla="*/ 190998 w 1639715"/>
                <a:gd name="connsiteY7" fmla="*/ 4562700 h 4562700"/>
                <a:gd name="connsiteX8" fmla="*/ 0 w 1639715"/>
                <a:gd name="connsiteY8" fmla="*/ 3990988 h 4562700"/>
                <a:gd name="connsiteX9" fmla="*/ 786135 w 1639715"/>
                <a:gd name="connsiteY9" fmla="*/ 2961216 h 4562700"/>
                <a:gd name="connsiteX10" fmla="*/ 1066184 w 1639715"/>
                <a:gd name="connsiteY10" fmla="*/ 1717042 h 4562700"/>
                <a:gd name="connsiteX11" fmla="*/ 747368 w 1639715"/>
                <a:gd name="connsiteY11" fmla="*/ 413750 h 4562700"/>
                <a:gd name="connsiteX0" fmla="*/ 1066184 w 1639715"/>
                <a:gd name="connsiteY0" fmla="*/ 1626274 h 4471932"/>
                <a:gd name="connsiteX1" fmla="*/ 1217586 w 1639715"/>
                <a:gd name="connsiteY1" fmla="*/ 485 h 4471932"/>
                <a:gd name="connsiteX2" fmla="*/ 1597574 w 1639715"/>
                <a:gd name="connsiteY2" fmla="*/ 1793007 h 4471932"/>
                <a:gd name="connsiteX3" fmla="*/ 1405495 w 1639715"/>
                <a:gd name="connsiteY3" fmla="*/ 2659164 h 4471932"/>
                <a:gd name="connsiteX4" fmla="*/ 1552945 w 1639715"/>
                <a:gd name="connsiteY4" fmla="*/ 2702459 h 4471932"/>
                <a:gd name="connsiteX5" fmla="*/ 1449028 w 1639715"/>
                <a:gd name="connsiteY5" fmla="*/ 3138934 h 4471932"/>
                <a:gd name="connsiteX6" fmla="*/ 1304425 w 1639715"/>
                <a:gd name="connsiteY6" fmla="*/ 3098040 h 4471932"/>
                <a:gd name="connsiteX7" fmla="*/ 190998 w 1639715"/>
                <a:gd name="connsiteY7" fmla="*/ 4471932 h 4471932"/>
                <a:gd name="connsiteX8" fmla="*/ 0 w 1639715"/>
                <a:gd name="connsiteY8" fmla="*/ 3900220 h 4471932"/>
                <a:gd name="connsiteX9" fmla="*/ 786135 w 1639715"/>
                <a:gd name="connsiteY9" fmla="*/ 2870448 h 4471932"/>
                <a:gd name="connsiteX10" fmla="*/ 1066184 w 1639715"/>
                <a:gd name="connsiteY10" fmla="*/ 1626274 h 4471932"/>
                <a:gd name="connsiteX0" fmla="*/ 1066184 w 1597574"/>
                <a:gd name="connsiteY0" fmla="*/ 75715 h 2921373"/>
                <a:gd name="connsiteX1" fmla="*/ 1597574 w 1597574"/>
                <a:gd name="connsiteY1" fmla="*/ 242448 h 2921373"/>
                <a:gd name="connsiteX2" fmla="*/ 1405495 w 1597574"/>
                <a:gd name="connsiteY2" fmla="*/ 1108605 h 2921373"/>
                <a:gd name="connsiteX3" fmla="*/ 1552945 w 1597574"/>
                <a:gd name="connsiteY3" fmla="*/ 1151900 h 2921373"/>
                <a:gd name="connsiteX4" fmla="*/ 1449028 w 1597574"/>
                <a:gd name="connsiteY4" fmla="*/ 1588375 h 2921373"/>
                <a:gd name="connsiteX5" fmla="*/ 1304425 w 1597574"/>
                <a:gd name="connsiteY5" fmla="*/ 1547481 h 2921373"/>
                <a:gd name="connsiteX6" fmla="*/ 190998 w 1597574"/>
                <a:gd name="connsiteY6" fmla="*/ 2921373 h 2921373"/>
                <a:gd name="connsiteX7" fmla="*/ 0 w 1597574"/>
                <a:gd name="connsiteY7" fmla="*/ 2349661 h 2921373"/>
                <a:gd name="connsiteX8" fmla="*/ 786135 w 1597574"/>
                <a:gd name="connsiteY8" fmla="*/ 1319889 h 2921373"/>
                <a:gd name="connsiteX9" fmla="*/ 1066184 w 1597574"/>
                <a:gd name="connsiteY9" fmla="*/ 75715 h 2921373"/>
                <a:gd name="connsiteX0" fmla="*/ 1066184 w 1607247"/>
                <a:gd name="connsiteY0" fmla="*/ 81725 h 2927383"/>
                <a:gd name="connsiteX1" fmla="*/ 1607247 w 1607247"/>
                <a:gd name="connsiteY1" fmla="*/ 222219 h 2927383"/>
                <a:gd name="connsiteX2" fmla="*/ 1405495 w 1607247"/>
                <a:gd name="connsiteY2" fmla="*/ 1114615 h 2927383"/>
                <a:gd name="connsiteX3" fmla="*/ 1552945 w 1607247"/>
                <a:gd name="connsiteY3" fmla="*/ 1157910 h 2927383"/>
                <a:gd name="connsiteX4" fmla="*/ 1449028 w 1607247"/>
                <a:gd name="connsiteY4" fmla="*/ 1594385 h 2927383"/>
                <a:gd name="connsiteX5" fmla="*/ 1304425 w 1607247"/>
                <a:gd name="connsiteY5" fmla="*/ 1553491 h 2927383"/>
                <a:gd name="connsiteX6" fmla="*/ 190998 w 1607247"/>
                <a:gd name="connsiteY6" fmla="*/ 2927383 h 2927383"/>
                <a:gd name="connsiteX7" fmla="*/ 0 w 1607247"/>
                <a:gd name="connsiteY7" fmla="*/ 2355671 h 2927383"/>
                <a:gd name="connsiteX8" fmla="*/ 786135 w 1607247"/>
                <a:gd name="connsiteY8" fmla="*/ 1325899 h 2927383"/>
                <a:gd name="connsiteX9" fmla="*/ 1066184 w 1607247"/>
                <a:gd name="connsiteY9" fmla="*/ 81725 h 2927383"/>
                <a:gd name="connsiteX0" fmla="*/ 1066184 w 1607247"/>
                <a:gd name="connsiteY0" fmla="*/ 64806 h 2910464"/>
                <a:gd name="connsiteX1" fmla="*/ 1607247 w 1607247"/>
                <a:gd name="connsiteY1" fmla="*/ 205300 h 2910464"/>
                <a:gd name="connsiteX2" fmla="*/ 1405495 w 1607247"/>
                <a:gd name="connsiteY2" fmla="*/ 1097696 h 2910464"/>
                <a:gd name="connsiteX3" fmla="*/ 1552945 w 1607247"/>
                <a:gd name="connsiteY3" fmla="*/ 1140991 h 2910464"/>
                <a:gd name="connsiteX4" fmla="*/ 1449028 w 1607247"/>
                <a:gd name="connsiteY4" fmla="*/ 1577466 h 2910464"/>
                <a:gd name="connsiteX5" fmla="*/ 1304425 w 1607247"/>
                <a:gd name="connsiteY5" fmla="*/ 1536572 h 2910464"/>
                <a:gd name="connsiteX6" fmla="*/ 190998 w 1607247"/>
                <a:gd name="connsiteY6" fmla="*/ 2910464 h 2910464"/>
                <a:gd name="connsiteX7" fmla="*/ 0 w 1607247"/>
                <a:gd name="connsiteY7" fmla="*/ 2338752 h 2910464"/>
                <a:gd name="connsiteX8" fmla="*/ 786135 w 1607247"/>
                <a:gd name="connsiteY8" fmla="*/ 1308980 h 2910464"/>
                <a:gd name="connsiteX9" fmla="*/ 1066184 w 1607247"/>
                <a:gd name="connsiteY9" fmla="*/ 64806 h 2910464"/>
                <a:gd name="connsiteX0" fmla="*/ 1066184 w 1607247"/>
                <a:gd name="connsiteY0" fmla="*/ 0 h 2845658"/>
                <a:gd name="connsiteX1" fmla="*/ 1607247 w 1607247"/>
                <a:gd name="connsiteY1" fmla="*/ 140494 h 2845658"/>
                <a:gd name="connsiteX2" fmla="*/ 1405495 w 1607247"/>
                <a:gd name="connsiteY2" fmla="*/ 1032890 h 2845658"/>
                <a:gd name="connsiteX3" fmla="*/ 1552945 w 1607247"/>
                <a:gd name="connsiteY3" fmla="*/ 1076185 h 2845658"/>
                <a:gd name="connsiteX4" fmla="*/ 1449028 w 1607247"/>
                <a:gd name="connsiteY4" fmla="*/ 1512660 h 2845658"/>
                <a:gd name="connsiteX5" fmla="*/ 1304425 w 1607247"/>
                <a:gd name="connsiteY5" fmla="*/ 1471766 h 2845658"/>
                <a:gd name="connsiteX6" fmla="*/ 190998 w 1607247"/>
                <a:gd name="connsiteY6" fmla="*/ 2845658 h 2845658"/>
                <a:gd name="connsiteX7" fmla="*/ 0 w 1607247"/>
                <a:gd name="connsiteY7" fmla="*/ 2273946 h 2845658"/>
                <a:gd name="connsiteX8" fmla="*/ 786135 w 1607247"/>
                <a:gd name="connsiteY8" fmla="*/ 1244174 h 2845658"/>
                <a:gd name="connsiteX9" fmla="*/ 1066184 w 1607247"/>
                <a:gd name="connsiteY9" fmla="*/ 0 h 2845658"/>
                <a:gd name="connsiteX0" fmla="*/ 1061348 w 1607247"/>
                <a:gd name="connsiteY0" fmla="*/ 0 h 2840410"/>
                <a:gd name="connsiteX1" fmla="*/ 1607247 w 1607247"/>
                <a:gd name="connsiteY1" fmla="*/ 135246 h 2840410"/>
                <a:gd name="connsiteX2" fmla="*/ 1405495 w 1607247"/>
                <a:gd name="connsiteY2" fmla="*/ 1027642 h 2840410"/>
                <a:gd name="connsiteX3" fmla="*/ 1552945 w 1607247"/>
                <a:gd name="connsiteY3" fmla="*/ 1070937 h 2840410"/>
                <a:gd name="connsiteX4" fmla="*/ 1449028 w 1607247"/>
                <a:gd name="connsiteY4" fmla="*/ 1507412 h 2840410"/>
                <a:gd name="connsiteX5" fmla="*/ 1304425 w 1607247"/>
                <a:gd name="connsiteY5" fmla="*/ 1466518 h 2840410"/>
                <a:gd name="connsiteX6" fmla="*/ 190998 w 1607247"/>
                <a:gd name="connsiteY6" fmla="*/ 2840410 h 2840410"/>
                <a:gd name="connsiteX7" fmla="*/ 0 w 1607247"/>
                <a:gd name="connsiteY7" fmla="*/ 2268698 h 2840410"/>
                <a:gd name="connsiteX8" fmla="*/ 786135 w 1607247"/>
                <a:gd name="connsiteY8" fmla="*/ 1238926 h 2840410"/>
                <a:gd name="connsiteX9" fmla="*/ 1061348 w 1607247"/>
                <a:gd name="connsiteY9" fmla="*/ 0 h 2840410"/>
                <a:gd name="connsiteX0" fmla="*/ 1061348 w 1607247"/>
                <a:gd name="connsiteY0" fmla="*/ 0 h 2840410"/>
                <a:gd name="connsiteX1" fmla="*/ 1607247 w 1607247"/>
                <a:gd name="connsiteY1" fmla="*/ 135246 h 2840410"/>
                <a:gd name="connsiteX2" fmla="*/ 1405495 w 1607247"/>
                <a:gd name="connsiteY2" fmla="*/ 1027642 h 2840410"/>
                <a:gd name="connsiteX3" fmla="*/ 1552945 w 1607247"/>
                <a:gd name="connsiteY3" fmla="*/ 1070937 h 2840410"/>
                <a:gd name="connsiteX4" fmla="*/ 1449028 w 1607247"/>
                <a:gd name="connsiteY4" fmla="*/ 1507412 h 2840410"/>
                <a:gd name="connsiteX5" fmla="*/ 1304425 w 1607247"/>
                <a:gd name="connsiteY5" fmla="*/ 1466518 h 2840410"/>
                <a:gd name="connsiteX6" fmla="*/ 190998 w 1607247"/>
                <a:gd name="connsiteY6" fmla="*/ 2840410 h 2840410"/>
                <a:gd name="connsiteX7" fmla="*/ 0 w 1607247"/>
                <a:gd name="connsiteY7" fmla="*/ 2268698 h 2840410"/>
                <a:gd name="connsiteX8" fmla="*/ 786135 w 1607247"/>
                <a:gd name="connsiteY8" fmla="*/ 1238926 h 2840410"/>
                <a:gd name="connsiteX9" fmla="*/ 1061348 w 1607247"/>
                <a:gd name="connsiteY9" fmla="*/ 0 h 2840410"/>
                <a:gd name="connsiteX0" fmla="*/ 1061348 w 1602411"/>
                <a:gd name="connsiteY0" fmla="*/ 0 h 2840410"/>
                <a:gd name="connsiteX1" fmla="*/ 1602411 w 1602411"/>
                <a:gd name="connsiteY1" fmla="*/ 124751 h 2840410"/>
                <a:gd name="connsiteX2" fmla="*/ 1405495 w 1602411"/>
                <a:gd name="connsiteY2" fmla="*/ 1027642 h 2840410"/>
                <a:gd name="connsiteX3" fmla="*/ 1552945 w 1602411"/>
                <a:gd name="connsiteY3" fmla="*/ 1070937 h 2840410"/>
                <a:gd name="connsiteX4" fmla="*/ 1449028 w 1602411"/>
                <a:gd name="connsiteY4" fmla="*/ 1507412 h 2840410"/>
                <a:gd name="connsiteX5" fmla="*/ 1304425 w 1602411"/>
                <a:gd name="connsiteY5" fmla="*/ 1466518 h 2840410"/>
                <a:gd name="connsiteX6" fmla="*/ 190998 w 1602411"/>
                <a:gd name="connsiteY6" fmla="*/ 2840410 h 2840410"/>
                <a:gd name="connsiteX7" fmla="*/ 0 w 1602411"/>
                <a:gd name="connsiteY7" fmla="*/ 2268698 h 2840410"/>
                <a:gd name="connsiteX8" fmla="*/ 786135 w 1602411"/>
                <a:gd name="connsiteY8" fmla="*/ 1238926 h 2840410"/>
                <a:gd name="connsiteX9" fmla="*/ 1061348 w 1602411"/>
                <a:gd name="connsiteY9" fmla="*/ 0 h 284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2411" h="2840410">
                  <a:moveTo>
                    <a:pt x="1061348" y="0"/>
                  </a:moveTo>
                  <a:lnTo>
                    <a:pt x="1602411" y="124751"/>
                  </a:lnTo>
                  <a:lnTo>
                    <a:pt x="1405495" y="1027642"/>
                  </a:lnTo>
                  <a:lnTo>
                    <a:pt x="1552945" y="1070937"/>
                  </a:lnTo>
                  <a:lnTo>
                    <a:pt x="1449028" y="1507412"/>
                  </a:lnTo>
                  <a:lnTo>
                    <a:pt x="1304425" y="1466518"/>
                  </a:lnTo>
                  <a:cubicBezTo>
                    <a:pt x="1133931" y="2018956"/>
                    <a:pt x="808542" y="2542565"/>
                    <a:pt x="190998" y="2840410"/>
                  </a:cubicBezTo>
                  <a:lnTo>
                    <a:pt x="0" y="2268698"/>
                  </a:lnTo>
                  <a:cubicBezTo>
                    <a:pt x="583520" y="1949699"/>
                    <a:pt x="662710" y="1567422"/>
                    <a:pt x="786135" y="1238926"/>
                  </a:cubicBezTo>
                  <a:cubicBezTo>
                    <a:pt x="852175" y="921426"/>
                    <a:pt x="995308" y="317500"/>
                    <a:pt x="1061348" y="0"/>
                  </a:cubicBez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T110S">
              <a:extLst>
                <a:ext uri="{FF2B5EF4-FFF2-40B4-BE49-F238E27FC236}">
                  <a16:creationId xmlns:a16="http://schemas.microsoft.com/office/drawing/2014/main" id="{2730697D-DC81-4965-831C-D7A568FFA4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54460" y="6004941"/>
              <a:ext cx="808915" cy="331522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192327 w 5884232"/>
                <a:gd name="connsiteY40" fmla="*/ 5064132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0 w 5842672"/>
                <a:gd name="connsiteY0" fmla="*/ 3281515 h 6734288"/>
                <a:gd name="connsiteX1" fmla="*/ 209347 w 5842672"/>
                <a:gd name="connsiteY1" fmla="*/ 2374266 h 6734288"/>
                <a:gd name="connsiteX2" fmla="*/ 176616 w 5842672"/>
                <a:gd name="connsiteY2" fmla="*/ 2331944 h 6734288"/>
                <a:gd name="connsiteX3" fmla="*/ 248873 w 5842672"/>
                <a:gd name="connsiteY3" fmla="*/ 2067448 h 6734288"/>
                <a:gd name="connsiteX4" fmla="*/ 284589 w 5842672"/>
                <a:gd name="connsiteY4" fmla="*/ 2050403 h 6734288"/>
                <a:gd name="connsiteX5" fmla="*/ 1291946 w 5842672"/>
                <a:gd name="connsiteY5" fmla="*/ 647002 h 6734288"/>
                <a:gd name="connsiteX6" fmla="*/ 1504862 w 5842672"/>
                <a:gd name="connsiteY6" fmla="*/ 547251 h 6734288"/>
                <a:gd name="connsiteX7" fmla="*/ 1484801 w 5842672"/>
                <a:gd name="connsiteY7" fmla="*/ 432260 h 6734288"/>
                <a:gd name="connsiteX8" fmla="*/ 1680566 w 5842672"/>
                <a:gd name="connsiteY8" fmla="*/ 380302 h 6734288"/>
                <a:gd name="connsiteX9" fmla="*/ 1697939 w 5842672"/>
                <a:gd name="connsiteY9" fmla="*/ 481442 h 6734288"/>
                <a:gd name="connsiteX10" fmla="*/ 1825014 w 5842672"/>
                <a:gd name="connsiteY10" fmla="*/ 442651 h 6734288"/>
                <a:gd name="connsiteX11" fmla="*/ 1855493 w 5842672"/>
                <a:gd name="connsiteY11" fmla="*/ 393463 h 6734288"/>
                <a:gd name="connsiteX12" fmla="*/ 2091380 w 5842672"/>
                <a:gd name="connsiteY12" fmla="*/ 319342 h 6734288"/>
                <a:gd name="connsiteX13" fmla="*/ 2131835 w 5842672"/>
                <a:gd name="connsiteY13" fmla="*/ 352592 h 6734288"/>
                <a:gd name="connsiteX14" fmla="*/ 2328377 w 5842672"/>
                <a:gd name="connsiteY14" fmla="*/ 288171 h 6734288"/>
                <a:gd name="connsiteX15" fmla="*/ 2287589 w 5842672"/>
                <a:gd name="connsiteY15" fmla="*/ 119840 h 6734288"/>
                <a:gd name="connsiteX16" fmla="*/ 2670832 w 5842672"/>
                <a:gd name="connsiteY16" fmla="*/ 0 h 6734288"/>
                <a:gd name="connsiteX17" fmla="*/ 2719130 w 5842672"/>
                <a:gd name="connsiteY17" fmla="*/ 165560 h 6734288"/>
                <a:gd name="connsiteX18" fmla="*/ 4482681 w 5842672"/>
                <a:gd name="connsiteY18" fmla="*/ 680900 h 6734288"/>
                <a:gd name="connsiteX19" fmla="*/ 5032811 w 5842672"/>
                <a:gd name="connsiteY19" fmla="*/ 1291242 h 6734288"/>
                <a:gd name="connsiteX20" fmla="*/ 5094215 w 5842672"/>
                <a:gd name="connsiteY20" fmla="*/ 1298860 h 6734288"/>
                <a:gd name="connsiteX21" fmla="*/ 5259056 w 5842672"/>
                <a:gd name="connsiteY21" fmla="*/ 1479661 h 6734288"/>
                <a:gd name="connsiteX22" fmla="*/ 5259279 w 5842672"/>
                <a:gd name="connsiteY22" fmla="*/ 1535080 h 6734288"/>
                <a:gd name="connsiteX23" fmla="*/ 5420543 w 5842672"/>
                <a:gd name="connsiteY23" fmla="*/ 1726990 h 6734288"/>
                <a:gd name="connsiteX24" fmla="*/ 5800531 w 5842672"/>
                <a:gd name="connsiteY24" fmla="*/ 3519512 h 6734288"/>
                <a:gd name="connsiteX25" fmla="*/ 5608452 w 5842672"/>
                <a:gd name="connsiteY25" fmla="*/ 4385669 h 6734288"/>
                <a:gd name="connsiteX26" fmla="*/ 5738668 w 5842672"/>
                <a:gd name="connsiteY26" fmla="*/ 4452156 h 6734288"/>
                <a:gd name="connsiteX27" fmla="*/ 5669219 w 5842672"/>
                <a:gd name="connsiteY27" fmla="*/ 4870077 h 6734288"/>
                <a:gd name="connsiteX28" fmla="*/ 5511690 w 5842672"/>
                <a:gd name="connsiteY28" fmla="*/ 4807792 h 6734288"/>
                <a:gd name="connsiteX29" fmla="*/ 4368292 w 5842672"/>
                <a:gd name="connsiteY29" fmla="*/ 6212288 h 6734288"/>
                <a:gd name="connsiteX30" fmla="*/ 4172161 w 5842672"/>
                <a:gd name="connsiteY30" fmla="*/ 5643346 h 6734288"/>
                <a:gd name="connsiteX31" fmla="*/ 4989092 w 5842672"/>
                <a:gd name="connsiteY31" fmla="*/ 4596953 h 6734288"/>
                <a:gd name="connsiteX32" fmla="*/ 5269141 w 5842672"/>
                <a:gd name="connsiteY32" fmla="*/ 3352779 h 6734288"/>
                <a:gd name="connsiteX33" fmla="*/ 4950325 w 5842672"/>
                <a:gd name="connsiteY33" fmla="*/ 2049487 h 6734288"/>
                <a:gd name="connsiteX34" fmla="*/ 4133072 w 5842672"/>
                <a:gd name="connsiteY34" fmla="*/ 1163055 h 6734288"/>
                <a:gd name="connsiteX35" fmla="*/ 2838806 w 5842672"/>
                <a:gd name="connsiteY35" fmla="*/ 761302 h 6734288"/>
                <a:gd name="connsiteX36" fmla="*/ 1840586 w 5842672"/>
                <a:gd name="connsiteY36" fmla="*/ 1081342 h 6734288"/>
                <a:gd name="connsiteX37" fmla="*/ 831666 w 5842672"/>
                <a:gd name="connsiteY37" fmla="*/ 2111591 h 6734288"/>
                <a:gd name="connsiteX38" fmla="*/ 530331 w 5842672"/>
                <a:gd name="connsiteY38" fmla="*/ 3464807 h 6734288"/>
                <a:gd name="connsiteX39" fmla="*/ 1150767 w 5842672"/>
                <a:gd name="connsiteY39" fmla="*/ 5064132 h 6734288"/>
                <a:gd name="connsiteX40" fmla="*/ 1507122 w 5842672"/>
                <a:gd name="connsiteY40" fmla="*/ 5436198 h 6734288"/>
                <a:gd name="connsiteX41" fmla="*/ 1569356 w 5842672"/>
                <a:gd name="connsiteY41" fmla="*/ 5418743 h 6734288"/>
                <a:gd name="connsiteX42" fmla="*/ 1673083 w 5842672"/>
                <a:gd name="connsiteY42" fmla="*/ 5533432 h 6734288"/>
                <a:gd name="connsiteX43" fmla="*/ 1652338 w 5842672"/>
                <a:gd name="connsiteY43" fmla="*/ 5598255 h 6734288"/>
                <a:gd name="connsiteX44" fmla="*/ 1742159 w 5842672"/>
                <a:gd name="connsiteY44" fmla="*/ 5692347 h 6734288"/>
                <a:gd name="connsiteX45" fmla="*/ 3042761 w 5842672"/>
                <a:gd name="connsiteY45" fmla="*/ 6017548 h 6734288"/>
                <a:gd name="connsiteX46" fmla="*/ 4167932 w 5842672"/>
                <a:gd name="connsiteY46" fmla="*/ 5644651 h 6734288"/>
                <a:gd name="connsiteX47" fmla="*/ 4364629 w 5842672"/>
                <a:gd name="connsiteY47" fmla="*/ 6217653 h 6734288"/>
                <a:gd name="connsiteX48" fmla="*/ 3026133 w 5842672"/>
                <a:gd name="connsiteY48" fmla="*/ 6660358 h 6734288"/>
                <a:gd name="connsiteX49" fmla="*/ 2648109 w 5842672"/>
                <a:gd name="connsiteY49" fmla="*/ 6682796 h 6734288"/>
                <a:gd name="connsiteX50" fmla="*/ 2569737 w 5842672"/>
                <a:gd name="connsiteY50" fmla="*/ 6590550 h 6734288"/>
                <a:gd name="connsiteX51" fmla="*/ 1887187 w 5842672"/>
                <a:gd name="connsiteY51" fmla="*/ 6734288 h 6734288"/>
                <a:gd name="connsiteX52" fmla="*/ 1537087 w 5842672"/>
                <a:gd name="connsiteY52" fmla="*/ 6346215 h 6734288"/>
                <a:gd name="connsiteX53" fmla="*/ 1500207 w 5842672"/>
                <a:gd name="connsiteY53" fmla="*/ 6338736 h 6734288"/>
                <a:gd name="connsiteX54" fmla="*/ 1343464 w 5842672"/>
                <a:gd name="connsiteY54" fmla="*/ 6164212 h 6734288"/>
                <a:gd name="connsiteX55" fmla="*/ 1329635 w 5842672"/>
                <a:gd name="connsiteY55" fmla="*/ 6184157 h 6734288"/>
                <a:gd name="connsiteX56" fmla="*/ 1304280 w 5842672"/>
                <a:gd name="connsiteY56" fmla="*/ 6151747 h 6734288"/>
                <a:gd name="connsiteX57" fmla="*/ 1262789 w 5842672"/>
                <a:gd name="connsiteY57" fmla="*/ 6209090 h 6734288"/>
                <a:gd name="connsiteX58" fmla="*/ 1147538 w 5842672"/>
                <a:gd name="connsiteY58" fmla="*/ 6081936 h 6734288"/>
                <a:gd name="connsiteX59" fmla="*/ 1191333 w 5842672"/>
                <a:gd name="connsiteY59" fmla="*/ 6032071 h 6734288"/>
                <a:gd name="connsiteX60" fmla="*/ 958526 w 5842672"/>
                <a:gd name="connsiteY60" fmla="*/ 5782751 h 6734288"/>
                <a:gd name="connsiteX61" fmla="*/ 972356 w 5842672"/>
                <a:gd name="connsiteY61" fmla="*/ 5755327 h 6734288"/>
                <a:gd name="connsiteX62" fmla="*/ 776428 w 5842672"/>
                <a:gd name="connsiteY62" fmla="*/ 5548391 h 6734288"/>
                <a:gd name="connsiteX63" fmla="*/ 0 w 5842672"/>
                <a:gd name="connsiteY63" fmla="*/ 3281515 h 6734288"/>
                <a:gd name="connsiteX0" fmla="*/ 0 w 5842672"/>
                <a:gd name="connsiteY0" fmla="*/ 3281515 h 6734288"/>
                <a:gd name="connsiteX1" fmla="*/ 209347 w 5842672"/>
                <a:gd name="connsiteY1" fmla="*/ 2374266 h 6734288"/>
                <a:gd name="connsiteX2" fmla="*/ 176616 w 5842672"/>
                <a:gd name="connsiteY2" fmla="*/ 2331944 h 6734288"/>
                <a:gd name="connsiteX3" fmla="*/ 248873 w 5842672"/>
                <a:gd name="connsiteY3" fmla="*/ 2067448 h 6734288"/>
                <a:gd name="connsiteX4" fmla="*/ 284589 w 5842672"/>
                <a:gd name="connsiteY4" fmla="*/ 2050403 h 6734288"/>
                <a:gd name="connsiteX5" fmla="*/ 1291946 w 5842672"/>
                <a:gd name="connsiteY5" fmla="*/ 647002 h 6734288"/>
                <a:gd name="connsiteX6" fmla="*/ 1504862 w 5842672"/>
                <a:gd name="connsiteY6" fmla="*/ 547251 h 6734288"/>
                <a:gd name="connsiteX7" fmla="*/ 1484801 w 5842672"/>
                <a:gd name="connsiteY7" fmla="*/ 432260 h 6734288"/>
                <a:gd name="connsiteX8" fmla="*/ 1680566 w 5842672"/>
                <a:gd name="connsiteY8" fmla="*/ 380302 h 6734288"/>
                <a:gd name="connsiteX9" fmla="*/ 1697939 w 5842672"/>
                <a:gd name="connsiteY9" fmla="*/ 481442 h 6734288"/>
                <a:gd name="connsiteX10" fmla="*/ 1825014 w 5842672"/>
                <a:gd name="connsiteY10" fmla="*/ 442651 h 6734288"/>
                <a:gd name="connsiteX11" fmla="*/ 1855493 w 5842672"/>
                <a:gd name="connsiteY11" fmla="*/ 393463 h 6734288"/>
                <a:gd name="connsiteX12" fmla="*/ 2091380 w 5842672"/>
                <a:gd name="connsiteY12" fmla="*/ 319342 h 6734288"/>
                <a:gd name="connsiteX13" fmla="*/ 2131835 w 5842672"/>
                <a:gd name="connsiteY13" fmla="*/ 352592 h 6734288"/>
                <a:gd name="connsiteX14" fmla="*/ 2328377 w 5842672"/>
                <a:gd name="connsiteY14" fmla="*/ 288171 h 6734288"/>
                <a:gd name="connsiteX15" fmla="*/ 2287589 w 5842672"/>
                <a:gd name="connsiteY15" fmla="*/ 119840 h 6734288"/>
                <a:gd name="connsiteX16" fmla="*/ 2670832 w 5842672"/>
                <a:gd name="connsiteY16" fmla="*/ 0 h 6734288"/>
                <a:gd name="connsiteX17" fmla="*/ 2719130 w 5842672"/>
                <a:gd name="connsiteY17" fmla="*/ 165560 h 6734288"/>
                <a:gd name="connsiteX18" fmla="*/ 4482681 w 5842672"/>
                <a:gd name="connsiteY18" fmla="*/ 680900 h 6734288"/>
                <a:gd name="connsiteX19" fmla="*/ 5032811 w 5842672"/>
                <a:gd name="connsiteY19" fmla="*/ 1291242 h 6734288"/>
                <a:gd name="connsiteX20" fmla="*/ 5094215 w 5842672"/>
                <a:gd name="connsiteY20" fmla="*/ 1298860 h 6734288"/>
                <a:gd name="connsiteX21" fmla="*/ 5259056 w 5842672"/>
                <a:gd name="connsiteY21" fmla="*/ 1479661 h 6734288"/>
                <a:gd name="connsiteX22" fmla="*/ 5259279 w 5842672"/>
                <a:gd name="connsiteY22" fmla="*/ 1535080 h 6734288"/>
                <a:gd name="connsiteX23" fmla="*/ 5420543 w 5842672"/>
                <a:gd name="connsiteY23" fmla="*/ 1726990 h 6734288"/>
                <a:gd name="connsiteX24" fmla="*/ 5800531 w 5842672"/>
                <a:gd name="connsiteY24" fmla="*/ 3519512 h 6734288"/>
                <a:gd name="connsiteX25" fmla="*/ 5608452 w 5842672"/>
                <a:gd name="connsiteY25" fmla="*/ 4385669 h 6734288"/>
                <a:gd name="connsiteX26" fmla="*/ 5738668 w 5842672"/>
                <a:gd name="connsiteY26" fmla="*/ 4452156 h 6734288"/>
                <a:gd name="connsiteX27" fmla="*/ 5669219 w 5842672"/>
                <a:gd name="connsiteY27" fmla="*/ 4870077 h 6734288"/>
                <a:gd name="connsiteX28" fmla="*/ 5511690 w 5842672"/>
                <a:gd name="connsiteY28" fmla="*/ 4807792 h 6734288"/>
                <a:gd name="connsiteX29" fmla="*/ 4368292 w 5842672"/>
                <a:gd name="connsiteY29" fmla="*/ 6212288 h 6734288"/>
                <a:gd name="connsiteX30" fmla="*/ 4172161 w 5842672"/>
                <a:gd name="connsiteY30" fmla="*/ 5643346 h 6734288"/>
                <a:gd name="connsiteX31" fmla="*/ 4989092 w 5842672"/>
                <a:gd name="connsiteY31" fmla="*/ 4596953 h 6734288"/>
                <a:gd name="connsiteX32" fmla="*/ 5269141 w 5842672"/>
                <a:gd name="connsiteY32" fmla="*/ 3352779 h 6734288"/>
                <a:gd name="connsiteX33" fmla="*/ 4950325 w 5842672"/>
                <a:gd name="connsiteY33" fmla="*/ 2049487 h 6734288"/>
                <a:gd name="connsiteX34" fmla="*/ 4133072 w 5842672"/>
                <a:gd name="connsiteY34" fmla="*/ 1163055 h 6734288"/>
                <a:gd name="connsiteX35" fmla="*/ 2838806 w 5842672"/>
                <a:gd name="connsiteY35" fmla="*/ 761302 h 6734288"/>
                <a:gd name="connsiteX36" fmla="*/ 1840586 w 5842672"/>
                <a:gd name="connsiteY36" fmla="*/ 1081342 h 6734288"/>
                <a:gd name="connsiteX37" fmla="*/ 831666 w 5842672"/>
                <a:gd name="connsiteY37" fmla="*/ 2111591 h 6734288"/>
                <a:gd name="connsiteX38" fmla="*/ 1150767 w 5842672"/>
                <a:gd name="connsiteY38" fmla="*/ 5064132 h 6734288"/>
                <a:gd name="connsiteX39" fmla="*/ 1507122 w 5842672"/>
                <a:gd name="connsiteY39" fmla="*/ 5436198 h 6734288"/>
                <a:gd name="connsiteX40" fmla="*/ 1569356 w 5842672"/>
                <a:gd name="connsiteY40" fmla="*/ 5418743 h 6734288"/>
                <a:gd name="connsiteX41" fmla="*/ 1673083 w 5842672"/>
                <a:gd name="connsiteY41" fmla="*/ 5533432 h 6734288"/>
                <a:gd name="connsiteX42" fmla="*/ 1652338 w 5842672"/>
                <a:gd name="connsiteY42" fmla="*/ 5598255 h 6734288"/>
                <a:gd name="connsiteX43" fmla="*/ 1742159 w 5842672"/>
                <a:gd name="connsiteY43" fmla="*/ 5692347 h 6734288"/>
                <a:gd name="connsiteX44" fmla="*/ 3042761 w 5842672"/>
                <a:gd name="connsiteY44" fmla="*/ 6017548 h 6734288"/>
                <a:gd name="connsiteX45" fmla="*/ 4167932 w 5842672"/>
                <a:gd name="connsiteY45" fmla="*/ 5644651 h 6734288"/>
                <a:gd name="connsiteX46" fmla="*/ 4364629 w 5842672"/>
                <a:gd name="connsiteY46" fmla="*/ 6217653 h 6734288"/>
                <a:gd name="connsiteX47" fmla="*/ 3026133 w 5842672"/>
                <a:gd name="connsiteY47" fmla="*/ 6660358 h 6734288"/>
                <a:gd name="connsiteX48" fmla="*/ 2648109 w 5842672"/>
                <a:gd name="connsiteY48" fmla="*/ 6682796 h 6734288"/>
                <a:gd name="connsiteX49" fmla="*/ 2569737 w 5842672"/>
                <a:gd name="connsiteY49" fmla="*/ 6590550 h 6734288"/>
                <a:gd name="connsiteX50" fmla="*/ 1887187 w 5842672"/>
                <a:gd name="connsiteY50" fmla="*/ 6734288 h 6734288"/>
                <a:gd name="connsiteX51" fmla="*/ 1537087 w 5842672"/>
                <a:gd name="connsiteY51" fmla="*/ 6346215 h 6734288"/>
                <a:gd name="connsiteX52" fmla="*/ 1500207 w 5842672"/>
                <a:gd name="connsiteY52" fmla="*/ 6338736 h 6734288"/>
                <a:gd name="connsiteX53" fmla="*/ 1343464 w 5842672"/>
                <a:gd name="connsiteY53" fmla="*/ 6164212 h 6734288"/>
                <a:gd name="connsiteX54" fmla="*/ 1329635 w 5842672"/>
                <a:gd name="connsiteY54" fmla="*/ 6184157 h 6734288"/>
                <a:gd name="connsiteX55" fmla="*/ 1304280 w 5842672"/>
                <a:gd name="connsiteY55" fmla="*/ 6151747 h 6734288"/>
                <a:gd name="connsiteX56" fmla="*/ 1262789 w 5842672"/>
                <a:gd name="connsiteY56" fmla="*/ 6209090 h 6734288"/>
                <a:gd name="connsiteX57" fmla="*/ 1147538 w 5842672"/>
                <a:gd name="connsiteY57" fmla="*/ 6081936 h 6734288"/>
                <a:gd name="connsiteX58" fmla="*/ 1191333 w 5842672"/>
                <a:gd name="connsiteY58" fmla="*/ 6032071 h 6734288"/>
                <a:gd name="connsiteX59" fmla="*/ 958526 w 5842672"/>
                <a:gd name="connsiteY59" fmla="*/ 5782751 h 6734288"/>
                <a:gd name="connsiteX60" fmla="*/ 972356 w 5842672"/>
                <a:gd name="connsiteY60" fmla="*/ 5755327 h 6734288"/>
                <a:gd name="connsiteX61" fmla="*/ 776428 w 5842672"/>
                <a:gd name="connsiteY61" fmla="*/ 5548391 h 6734288"/>
                <a:gd name="connsiteX62" fmla="*/ 0 w 5842672"/>
                <a:gd name="connsiteY62" fmla="*/ 3281515 h 6734288"/>
                <a:gd name="connsiteX0" fmla="*/ 599812 w 5666056"/>
                <a:gd name="connsiteY0" fmla="*/ 5548391 h 6734288"/>
                <a:gd name="connsiteX1" fmla="*/ 32731 w 5666056"/>
                <a:gd name="connsiteY1" fmla="*/ 2374266 h 6734288"/>
                <a:gd name="connsiteX2" fmla="*/ 0 w 5666056"/>
                <a:gd name="connsiteY2" fmla="*/ 2331944 h 6734288"/>
                <a:gd name="connsiteX3" fmla="*/ 72257 w 5666056"/>
                <a:gd name="connsiteY3" fmla="*/ 2067448 h 6734288"/>
                <a:gd name="connsiteX4" fmla="*/ 107973 w 5666056"/>
                <a:gd name="connsiteY4" fmla="*/ 2050403 h 6734288"/>
                <a:gd name="connsiteX5" fmla="*/ 1115330 w 5666056"/>
                <a:gd name="connsiteY5" fmla="*/ 647002 h 6734288"/>
                <a:gd name="connsiteX6" fmla="*/ 1328246 w 5666056"/>
                <a:gd name="connsiteY6" fmla="*/ 547251 h 6734288"/>
                <a:gd name="connsiteX7" fmla="*/ 1308185 w 5666056"/>
                <a:gd name="connsiteY7" fmla="*/ 432260 h 6734288"/>
                <a:gd name="connsiteX8" fmla="*/ 1503950 w 5666056"/>
                <a:gd name="connsiteY8" fmla="*/ 380302 h 6734288"/>
                <a:gd name="connsiteX9" fmla="*/ 1521323 w 5666056"/>
                <a:gd name="connsiteY9" fmla="*/ 481442 h 6734288"/>
                <a:gd name="connsiteX10" fmla="*/ 1648398 w 5666056"/>
                <a:gd name="connsiteY10" fmla="*/ 442651 h 6734288"/>
                <a:gd name="connsiteX11" fmla="*/ 1678877 w 5666056"/>
                <a:gd name="connsiteY11" fmla="*/ 393463 h 6734288"/>
                <a:gd name="connsiteX12" fmla="*/ 1914764 w 5666056"/>
                <a:gd name="connsiteY12" fmla="*/ 319342 h 6734288"/>
                <a:gd name="connsiteX13" fmla="*/ 1955219 w 5666056"/>
                <a:gd name="connsiteY13" fmla="*/ 352592 h 6734288"/>
                <a:gd name="connsiteX14" fmla="*/ 2151761 w 5666056"/>
                <a:gd name="connsiteY14" fmla="*/ 288171 h 6734288"/>
                <a:gd name="connsiteX15" fmla="*/ 2110973 w 5666056"/>
                <a:gd name="connsiteY15" fmla="*/ 119840 h 6734288"/>
                <a:gd name="connsiteX16" fmla="*/ 2494216 w 5666056"/>
                <a:gd name="connsiteY16" fmla="*/ 0 h 6734288"/>
                <a:gd name="connsiteX17" fmla="*/ 2542514 w 5666056"/>
                <a:gd name="connsiteY17" fmla="*/ 165560 h 6734288"/>
                <a:gd name="connsiteX18" fmla="*/ 4306065 w 5666056"/>
                <a:gd name="connsiteY18" fmla="*/ 680900 h 6734288"/>
                <a:gd name="connsiteX19" fmla="*/ 4856195 w 5666056"/>
                <a:gd name="connsiteY19" fmla="*/ 1291242 h 6734288"/>
                <a:gd name="connsiteX20" fmla="*/ 4917599 w 5666056"/>
                <a:gd name="connsiteY20" fmla="*/ 1298860 h 6734288"/>
                <a:gd name="connsiteX21" fmla="*/ 5082440 w 5666056"/>
                <a:gd name="connsiteY21" fmla="*/ 1479661 h 6734288"/>
                <a:gd name="connsiteX22" fmla="*/ 5082663 w 5666056"/>
                <a:gd name="connsiteY22" fmla="*/ 1535080 h 6734288"/>
                <a:gd name="connsiteX23" fmla="*/ 5243927 w 5666056"/>
                <a:gd name="connsiteY23" fmla="*/ 1726990 h 6734288"/>
                <a:gd name="connsiteX24" fmla="*/ 5623915 w 5666056"/>
                <a:gd name="connsiteY24" fmla="*/ 3519512 h 6734288"/>
                <a:gd name="connsiteX25" fmla="*/ 5431836 w 5666056"/>
                <a:gd name="connsiteY25" fmla="*/ 4385669 h 6734288"/>
                <a:gd name="connsiteX26" fmla="*/ 5562052 w 5666056"/>
                <a:gd name="connsiteY26" fmla="*/ 4452156 h 6734288"/>
                <a:gd name="connsiteX27" fmla="*/ 5492603 w 5666056"/>
                <a:gd name="connsiteY27" fmla="*/ 4870077 h 6734288"/>
                <a:gd name="connsiteX28" fmla="*/ 5335074 w 5666056"/>
                <a:gd name="connsiteY28" fmla="*/ 4807792 h 6734288"/>
                <a:gd name="connsiteX29" fmla="*/ 4191676 w 5666056"/>
                <a:gd name="connsiteY29" fmla="*/ 6212288 h 6734288"/>
                <a:gd name="connsiteX30" fmla="*/ 3995545 w 5666056"/>
                <a:gd name="connsiteY30" fmla="*/ 5643346 h 6734288"/>
                <a:gd name="connsiteX31" fmla="*/ 4812476 w 5666056"/>
                <a:gd name="connsiteY31" fmla="*/ 4596953 h 6734288"/>
                <a:gd name="connsiteX32" fmla="*/ 5092525 w 5666056"/>
                <a:gd name="connsiteY32" fmla="*/ 3352779 h 6734288"/>
                <a:gd name="connsiteX33" fmla="*/ 4773709 w 5666056"/>
                <a:gd name="connsiteY33" fmla="*/ 2049487 h 6734288"/>
                <a:gd name="connsiteX34" fmla="*/ 3956456 w 5666056"/>
                <a:gd name="connsiteY34" fmla="*/ 1163055 h 6734288"/>
                <a:gd name="connsiteX35" fmla="*/ 2662190 w 5666056"/>
                <a:gd name="connsiteY35" fmla="*/ 761302 h 6734288"/>
                <a:gd name="connsiteX36" fmla="*/ 1663970 w 5666056"/>
                <a:gd name="connsiteY36" fmla="*/ 1081342 h 6734288"/>
                <a:gd name="connsiteX37" fmla="*/ 655050 w 5666056"/>
                <a:gd name="connsiteY37" fmla="*/ 2111591 h 6734288"/>
                <a:gd name="connsiteX38" fmla="*/ 974151 w 5666056"/>
                <a:gd name="connsiteY38" fmla="*/ 5064132 h 6734288"/>
                <a:gd name="connsiteX39" fmla="*/ 1330506 w 5666056"/>
                <a:gd name="connsiteY39" fmla="*/ 5436198 h 6734288"/>
                <a:gd name="connsiteX40" fmla="*/ 1392740 w 5666056"/>
                <a:gd name="connsiteY40" fmla="*/ 5418743 h 6734288"/>
                <a:gd name="connsiteX41" fmla="*/ 1496467 w 5666056"/>
                <a:gd name="connsiteY41" fmla="*/ 5533432 h 6734288"/>
                <a:gd name="connsiteX42" fmla="*/ 1475722 w 5666056"/>
                <a:gd name="connsiteY42" fmla="*/ 5598255 h 6734288"/>
                <a:gd name="connsiteX43" fmla="*/ 1565543 w 5666056"/>
                <a:gd name="connsiteY43" fmla="*/ 5692347 h 6734288"/>
                <a:gd name="connsiteX44" fmla="*/ 2866145 w 5666056"/>
                <a:gd name="connsiteY44" fmla="*/ 6017548 h 6734288"/>
                <a:gd name="connsiteX45" fmla="*/ 3991316 w 5666056"/>
                <a:gd name="connsiteY45" fmla="*/ 5644651 h 6734288"/>
                <a:gd name="connsiteX46" fmla="*/ 4188013 w 5666056"/>
                <a:gd name="connsiteY46" fmla="*/ 6217653 h 6734288"/>
                <a:gd name="connsiteX47" fmla="*/ 2849517 w 5666056"/>
                <a:gd name="connsiteY47" fmla="*/ 6660358 h 6734288"/>
                <a:gd name="connsiteX48" fmla="*/ 2471493 w 5666056"/>
                <a:gd name="connsiteY48" fmla="*/ 6682796 h 6734288"/>
                <a:gd name="connsiteX49" fmla="*/ 2393121 w 5666056"/>
                <a:gd name="connsiteY49" fmla="*/ 6590550 h 6734288"/>
                <a:gd name="connsiteX50" fmla="*/ 1710571 w 5666056"/>
                <a:gd name="connsiteY50" fmla="*/ 6734288 h 6734288"/>
                <a:gd name="connsiteX51" fmla="*/ 1360471 w 5666056"/>
                <a:gd name="connsiteY51" fmla="*/ 6346215 h 6734288"/>
                <a:gd name="connsiteX52" fmla="*/ 1323591 w 5666056"/>
                <a:gd name="connsiteY52" fmla="*/ 6338736 h 6734288"/>
                <a:gd name="connsiteX53" fmla="*/ 1166848 w 5666056"/>
                <a:gd name="connsiteY53" fmla="*/ 6164212 h 6734288"/>
                <a:gd name="connsiteX54" fmla="*/ 1153019 w 5666056"/>
                <a:gd name="connsiteY54" fmla="*/ 6184157 h 6734288"/>
                <a:gd name="connsiteX55" fmla="*/ 1127664 w 5666056"/>
                <a:gd name="connsiteY55" fmla="*/ 6151747 h 6734288"/>
                <a:gd name="connsiteX56" fmla="*/ 1086173 w 5666056"/>
                <a:gd name="connsiteY56" fmla="*/ 6209090 h 6734288"/>
                <a:gd name="connsiteX57" fmla="*/ 970922 w 5666056"/>
                <a:gd name="connsiteY57" fmla="*/ 6081936 h 6734288"/>
                <a:gd name="connsiteX58" fmla="*/ 1014717 w 5666056"/>
                <a:gd name="connsiteY58" fmla="*/ 6032071 h 6734288"/>
                <a:gd name="connsiteX59" fmla="*/ 781910 w 5666056"/>
                <a:gd name="connsiteY59" fmla="*/ 5782751 h 6734288"/>
                <a:gd name="connsiteX60" fmla="*/ 795740 w 5666056"/>
                <a:gd name="connsiteY60" fmla="*/ 5755327 h 6734288"/>
                <a:gd name="connsiteX61" fmla="*/ 599812 w 5666056"/>
                <a:gd name="connsiteY61" fmla="*/ 5548391 h 6734288"/>
                <a:gd name="connsiteX0" fmla="*/ 599812 w 5666056"/>
                <a:gd name="connsiteY0" fmla="*/ 5548391 h 6734288"/>
                <a:gd name="connsiteX1" fmla="*/ 0 w 5666056"/>
                <a:gd name="connsiteY1" fmla="*/ 2331944 h 6734288"/>
                <a:gd name="connsiteX2" fmla="*/ 72257 w 5666056"/>
                <a:gd name="connsiteY2" fmla="*/ 2067448 h 6734288"/>
                <a:gd name="connsiteX3" fmla="*/ 107973 w 5666056"/>
                <a:gd name="connsiteY3" fmla="*/ 2050403 h 6734288"/>
                <a:gd name="connsiteX4" fmla="*/ 1115330 w 5666056"/>
                <a:gd name="connsiteY4" fmla="*/ 647002 h 6734288"/>
                <a:gd name="connsiteX5" fmla="*/ 1328246 w 5666056"/>
                <a:gd name="connsiteY5" fmla="*/ 547251 h 6734288"/>
                <a:gd name="connsiteX6" fmla="*/ 1308185 w 5666056"/>
                <a:gd name="connsiteY6" fmla="*/ 432260 h 6734288"/>
                <a:gd name="connsiteX7" fmla="*/ 1503950 w 5666056"/>
                <a:gd name="connsiteY7" fmla="*/ 380302 h 6734288"/>
                <a:gd name="connsiteX8" fmla="*/ 1521323 w 5666056"/>
                <a:gd name="connsiteY8" fmla="*/ 481442 h 6734288"/>
                <a:gd name="connsiteX9" fmla="*/ 1648398 w 5666056"/>
                <a:gd name="connsiteY9" fmla="*/ 442651 h 6734288"/>
                <a:gd name="connsiteX10" fmla="*/ 1678877 w 5666056"/>
                <a:gd name="connsiteY10" fmla="*/ 393463 h 6734288"/>
                <a:gd name="connsiteX11" fmla="*/ 1914764 w 5666056"/>
                <a:gd name="connsiteY11" fmla="*/ 319342 h 6734288"/>
                <a:gd name="connsiteX12" fmla="*/ 1955219 w 5666056"/>
                <a:gd name="connsiteY12" fmla="*/ 352592 h 6734288"/>
                <a:gd name="connsiteX13" fmla="*/ 2151761 w 5666056"/>
                <a:gd name="connsiteY13" fmla="*/ 288171 h 6734288"/>
                <a:gd name="connsiteX14" fmla="*/ 2110973 w 5666056"/>
                <a:gd name="connsiteY14" fmla="*/ 119840 h 6734288"/>
                <a:gd name="connsiteX15" fmla="*/ 2494216 w 5666056"/>
                <a:gd name="connsiteY15" fmla="*/ 0 h 6734288"/>
                <a:gd name="connsiteX16" fmla="*/ 2542514 w 5666056"/>
                <a:gd name="connsiteY16" fmla="*/ 165560 h 6734288"/>
                <a:gd name="connsiteX17" fmla="*/ 4306065 w 5666056"/>
                <a:gd name="connsiteY17" fmla="*/ 680900 h 6734288"/>
                <a:gd name="connsiteX18" fmla="*/ 4856195 w 5666056"/>
                <a:gd name="connsiteY18" fmla="*/ 1291242 h 6734288"/>
                <a:gd name="connsiteX19" fmla="*/ 4917599 w 5666056"/>
                <a:gd name="connsiteY19" fmla="*/ 1298860 h 6734288"/>
                <a:gd name="connsiteX20" fmla="*/ 5082440 w 5666056"/>
                <a:gd name="connsiteY20" fmla="*/ 1479661 h 6734288"/>
                <a:gd name="connsiteX21" fmla="*/ 5082663 w 5666056"/>
                <a:gd name="connsiteY21" fmla="*/ 1535080 h 6734288"/>
                <a:gd name="connsiteX22" fmla="*/ 5243927 w 5666056"/>
                <a:gd name="connsiteY22" fmla="*/ 1726990 h 6734288"/>
                <a:gd name="connsiteX23" fmla="*/ 5623915 w 5666056"/>
                <a:gd name="connsiteY23" fmla="*/ 3519512 h 6734288"/>
                <a:gd name="connsiteX24" fmla="*/ 5431836 w 5666056"/>
                <a:gd name="connsiteY24" fmla="*/ 4385669 h 6734288"/>
                <a:gd name="connsiteX25" fmla="*/ 5562052 w 5666056"/>
                <a:gd name="connsiteY25" fmla="*/ 4452156 h 6734288"/>
                <a:gd name="connsiteX26" fmla="*/ 5492603 w 5666056"/>
                <a:gd name="connsiteY26" fmla="*/ 4870077 h 6734288"/>
                <a:gd name="connsiteX27" fmla="*/ 5335074 w 5666056"/>
                <a:gd name="connsiteY27" fmla="*/ 4807792 h 6734288"/>
                <a:gd name="connsiteX28" fmla="*/ 4191676 w 5666056"/>
                <a:gd name="connsiteY28" fmla="*/ 6212288 h 6734288"/>
                <a:gd name="connsiteX29" fmla="*/ 3995545 w 5666056"/>
                <a:gd name="connsiteY29" fmla="*/ 5643346 h 6734288"/>
                <a:gd name="connsiteX30" fmla="*/ 4812476 w 5666056"/>
                <a:gd name="connsiteY30" fmla="*/ 4596953 h 6734288"/>
                <a:gd name="connsiteX31" fmla="*/ 5092525 w 5666056"/>
                <a:gd name="connsiteY31" fmla="*/ 3352779 h 6734288"/>
                <a:gd name="connsiteX32" fmla="*/ 4773709 w 5666056"/>
                <a:gd name="connsiteY32" fmla="*/ 2049487 h 6734288"/>
                <a:gd name="connsiteX33" fmla="*/ 3956456 w 5666056"/>
                <a:gd name="connsiteY33" fmla="*/ 1163055 h 6734288"/>
                <a:gd name="connsiteX34" fmla="*/ 2662190 w 5666056"/>
                <a:gd name="connsiteY34" fmla="*/ 761302 h 6734288"/>
                <a:gd name="connsiteX35" fmla="*/ 1663970 w 5666056"/>
                <a:gd name="connsiteY35" fmla="*/ 1081342 h 6734288"/>
                <a:gd name="connsiteX36" fmla="*/ 655050 w 5666056"/>
                <a:gd name="connsiteY36" fmla="*/ 2111591 h 6734288"/>
                <a:gd name="connsiteX37" fmla="*/ 974151 w 5666056"/>
                <a:gd name="connsiteY37" fmla="*/ 5064132 h 6734288"/>
                <a:gd name="connsiteX38" fmla="*/ 1330506 w 5666056"/>
                <a:gd name="connsiteY38" fmla="*/ 5436198 h 6734288"/>
                <a:gd name="connsiteX39" fmla="*/ 1392740 w 5666056"/>
                <a:gd name="connsiteY39" fmla="*/ 5418743 h 6734288"/>
                <a:gd name="connsiteX40" fmla="*/ 1496467 w 5666056"/>
                <a:gd name="connsiteY40" fmla="*/ 5533432 h 6734288"/>
                <a:gd name="connsiteX41" fmla="*/ 1475722 w 5666056"/>
                <a:gd name="connsiteY41" fmla="*/ 5598255 h 6734288"/>
                <a:gd name="connsiteX42" fmla="*/ 1565543 w 5666056"/>
                <a:gd name="connsiteY42" fmla="*/ 5692347 h 6734288"/>
                <a:gd name="connsiteX43" fmla="*/ 2866145 w 5666056"/>
                <a:gd name="connsiteY43" fmla="*/ 6017548 h 6734288"/>
                <a:gd name="connsiteX44" fmla="*/ 3991316 w 5666056"/>
                <a:gd name="connsiteY44" fmla="*/ 5644651 h 6734288"/>
                <a:gd name="connsiteX45" fmla="*/ 4188013 w 5666056"/>
                <a:gd name="connsiteY45" fmla="*/ 6217653 h 6734288"/>
                <a:gd name="connsiteX46" fmla="*/ 2849517 w 5666056"/>
                <a:gd name="connsiteY46" fmla="*/ 6660358 h 6734288"/>
                <a:gd name="connsiteX47" fmla="*/ 2471493 w 5666056"/>
                <a:gd name="connsiteY47" fmla="*/ 6682796 h 6734288"/>
                <a:gd name="connsiteX48" fmla="*/ 2393121 w 5666056"/>
                <a:gd name="connsiteY48" fmla="*/ 6590550 h 6734288"/>
                <a:gd name="connsiteX49" fmla="*/ 1710571 w 5666056"/>
                <a:gd name="connsiteY49" fmla="*/ 6734288 h 6734288"/>
                <a:gd name="connsiteX50" fmla="*/ 1360471 w 5666056"/>
                <a:gd name="connsiteY50" fmla="*/ 6346215 h 6734288"/>
                <a:gd name="connsiteX51" fmla="*/ 1323591 w 5666056"/>
                <a:gd name="connsiteY51" fmla="*/ 6338736 h 6734288"/>
                <a:gd name="connsiteX52" fmla="*/ 1166848 w 5666056"/>
                <a:gd name="connsiteY52" fmla="*/ 6164212 h 6734288"/>
                <a:gd name="connsiteX53" fmla="*/ 1153019 w 5666056"/>
                <a:gd name="connsiteY53" fmla="*/ 6184157 h 6734288"/>
                <a:gd name="connsiteX54" fmla="*/ 1127664 w 5666056"/>
                <a:gd name="connsiteY54" fmla="*/ 6151747 h 6734288"/>
                <a:gd name="connsiteX55" fmla="*/ 1086173 w 5666056"/>
                <a:gd name="connsiteY55" fmla="*/ 6209090 h 6734288"/>
                <a:gd name="connsiteX56" fmla="*/ 970922 w 5666056"/>
                <a:gd name="connsiteY56" fmla="*/ 6081936 h 6734288"/>
                <a:gd name="connsiteX57" fmla="*/ 1014717 w 5666056"/>
                <a:gd name="connsiteY57" fmla="*/ 6032071 h 6734288"/>
                <a:gd name="connsiteX58" fmla="*/ 781910 w 5666056"/>
                <a:gd name="connsiteY58" fmla="*/ 5782751 h 6734288"/>
                <a:gd name="connsiteX59" fmla="*/ 795740 w 5666056"/>
                <a:gd name="connsiteY59" fmla="*/ 5755327 h 6734288"/>
                <a:gd name="connsiteX60" fmla="*/ 599812 w 5666056"/>
                <a:gd name="connsiteY60" fmla="*/ 5548391 h 6734288"/>
                <a:gd name="connsiteX0" fmla="*/ 527555 w 5593799"/>
                <a:gd name="connsiteY0" fmla="*/ 5548391 h 6734288"/>
                <a:gd name="connsiteX1" fmla="*/ 0 w 5593799"/>
                <a:gd name="connsiteY1" fmla="*/ 2067448 h 6734288"/>
                <a:gd name="connsiteX2" fmla="*/ 35716 w 5593799"/>
                <a:gd name="connsiteY2" fmla="*/ 2050403 h 6734288"/>
                <a:gd name="connsiteX3" fmla="*/ 1043073 w 5593799"/>
                <a:gd name="connsiteY3" fmla="*/ 647002 h 6734288"/>
                <a:gd name="connsiteX4" fmla="*/ 1255989 w 5593799"/>
                <a:gd name="connsiteY4" fmla="*/ 547251 h 6734288"/>
                <a:gd name="connsiteX5" fmla="*/ 1235928 w 5593799"/>
                <a:gd name="connsiteY5" fmla="*/ 432260 h 6734288"/>
                <a:gd name="connsiteX6" fmla="*/ 1431693 w 5593799"/>
                <a:gd name="connsiteY6" fmla="*/ 380302 h 6734288"/>
                <a:gd name="connsiteX7" fmla="*/ 1449066 w 5593799"/>
                <a:gd name="connsiteY7" fmla="*/ 481442 h 6734288"/>
                <a:gd name="connsiteX8" fmla="*/ 1576141 w 5593799"/>
                <a:gd name="connsiteY8" fmla="*/ 442651 h 6734288"/>
                <a:gd name="connsiteX9" fmla="*/ 1606620 w 5593799"/>
                <a:gd name="connsiteY9" fmla="*/ 393463 h 6734288"/>
                <a:gd name="connsiteX10" fmla="*/ 1842507 w 5593799"/>
                <a:gd name="connsiteY10" fmla="*/ 319342 h 6734288"/>
                <a:gd name="connsiteX11" fmla="*/ 1882962 w 5593799"/>
                <a:gd name="connsiteY11" fmla="*/ 352592 h 6734288"/>
                <a:gd name="connsiteX12" fmla="*/ 2079504 w 5593799"/>
                <a:gd name="connsiteY12" fmla="*/ 288171 h 6734288"/>
                <a:gd name="connsiteX13" fmla="*/ 2038716 w 5593799"/>
                <a:gd name="connsiteY13" fmla="*/ 119840 h 6734288"/>
                <a:gd name="connsiteX14" fmla="*/ 2421959 w 5593799"/>
                <a:gd name="connsiteY14" fmla="*/ 0 h 6734288"/>
                <a:gd name="connsiteX15" fmla="*/ 2470257 w 5593799"/>
                <a:gd name="connsiteY15" fmla="*/ 165560 h 6734288"/>
                <a:gd name="connsiteX16" fmla="*/ 4233808 w 5593799"/>
                <a:gd name="connsiteY16" fmla="*/ 680900 h 6734288"/>
                <a:gd name="connsiteX17" fmla="*/ 4783938 w 5593799"/>
                <a:gd name="connsiteY17" fmla="*/ 1291242 h 6734288"/>
                <a:gd name="connsiteX18" fmla="*/ 4845342 w 5593799"/>
                <a:gd name="connsiteY18" fmla="*/ 1298860 h 6734288"/>
                <a:gd name="connsiteX19" fmla="*/ 5010183 w 5593799"/>
                <a:gd name="connsiteY19" fmla="*/ 1479661 h 6734288"/>
                <a:gd name="connsiteX20" fmla="*/ 5010406 w 5593799"/>
                <a:gd name="connsiteY20" fmla="*/ 1535080 h 6734288"/>
                <a:gd name="connsiteX21" fmla="*/ 5171670 w 5593799"/>
                <a:gd name="connsiteY21" fmla="*/ 1726990 h 6734288"/>
                <a:gd name="connsiteX22" fmla="*/ 5551658 w 5593799"/>
                <a:gd name="connsiteY22" fmla="*/ 3519512 h 6734288"/>
                <a:gd name="connsiteX23" fmla="*/ 5359579 w 5593799"/>
                <a:gd name="connsiteY23" fmla="*/ 4385669 h 6734288"/>
                <a:gd name="connsiteX24" fmla="*/ 5489795 w 5593799"/>
                <a:gd name="connsiteY24" fmla="*/ 4452156 h 6734288"/>
                <a:gd name="connsiteX25" fmla="*/ 5420346 w 5593799"/>
                <a:gd name="connsiteY25" fmla="*/ 4870077 h 6734288"/>
                <a:gd name="connsiteX26" fmla="*/ 5262817 w 5593799"/>
                <a:gd name="connsiteY26" fmla="*/ 4807792 h 6734288"/>
                <a:gd name="connsiteX27" fmla="*/ 4119419 w 5593799"/>
                <a:gd name="connsiteY27" fmla="*/ 6212288 h 6734288"/>
                <a:gd name="connsiteX28" fmla="*/ 3923288 w 5593799"/>
                <a:gd name="connsiteY28" fmla="*/ 5643346 h 6734288"/>
                <a:gd name="connsiteX29" fmla="*/ 4740219 w 5593799"/>
                <a:gd name="connsiteY29" fmla="*/ 4596953 h 6734288"/>
                <a:gd name="connsiteX30" fmla="*/ 5020268 w 5593799"/>
                <a:gd name="connsiteY30" fmla="*/ 3352779 h 6734288"/>
                <a:gd name="connsiteX31" fmla="*/ 4701452 w 5593799"/>
                <a:gd name="connsiteY31" fmla="*/ 2049487 h 6734288"/>
                <a:gd name="connsiteX32" fmla="*/ 3884199 w 5593799"/>
                <a:gd name="connsiteY32" fmla="*/ 1163055 h 6734288"/>
                <a:gd name="connsiteX33" fmla="*/ 2589933 w 5593799"/>
                <a:gd name="connsiteY33" fmla="*/ 761302 h 6734288"/>
                <a:gd name="connsiteX34" fmla="*/ 1591713 w 5593799"/>
                <a:gd name="connsiteY34" fmla="*/ 1081342 h 6734288"/>
                <a:gd name="connsiteX35" fmla="*/ 582793 w 5593799"/>
                <a:gd name="connsiteY35" fmla="*/ 2111591 h 6734288"/>
                <a:gd name="connsiteX36" fmla="*/ 901894 w 5593799"/>
                <a:gd name="connsiteY36" fmla="*/ 5064132 h 6734288"/>
                <a:gd name="connsiteX37" fmla="*/ 1258249 w 5593799"/>
                <a:gd name="connsiteY37" fmla="*/ 5436198 h 6734288"/>
                <a:gd name="connsiteX38" fmla="*/ 1320483 w 5593799"/>
                <a:gd name="connsiteY38" fmla="*/ 5418743 h 6734288"/>
                <a:gd name="connsiteX39" fmla="*/ 1424210 w 5593799"/>
                <a:gd name="connsiteY39" fmla="*/ 5533432 h 6734288"/>
                <a:gd name="connsiteX40" fmla="*/ 1403465 w 5593799"/>
                <a:gd name="connsiteY40" fmla="*/ 5598255 h 6734288"/>
                <a:gd name="connsiteX41" fmla="*/ 1493286 w 5593799"/>
                <a:gd name="connsiteY41" fmla="*/ 5692347 h 6734288"/>
                <a:gd name="connsiteX42" fmla="*/ 2793888 w 5593799"/>
                <a:gd name="connsiteY42" fmla="*/ 6017548 h 6734288"/>
                <a:gd name="connsiteX43" fmla="*/ 3919059 w 5593799"/>
                <a:gd name="connsiteY43" fmla="*/ 5644651 h 6734288"/>
                <a:gd name="connsiteX44" fmla="*/ 4115756 w 5593799"/>
                <a:gd name="connsiteY44" fmla="*/ 6217653 h 6734288"/>
                <a:gd name="connsiteX45" fmla="*/ 2777260 w 5593799"/>
                <a:gd name="connsiteY45" fmla="*/ 6660358 h 6734288"/>
                <a:gd name="connsiteX46" fmla="*/ 2399236 w 5593799"/>
                <a:gd name="connsiteY46" fmla="*/ 6682796 h 6734288"/>
                <a:gd name="connsiteX47" fmla="*/ 2320864 w 5593799"/>
                <a:gd name="connsiteY47" fmla="*/ 6590550 h 6734288"/>
                <a:gd name="connsiteX48" fmla="*/ 1638314 w 5593799"/>
                <a:gd name="connsiteY48" fmla="*/ 6734288 h 6734288"/>
                <a:gd name="connsiteX49" fmla="*/ 1288214 w 5593799"/>
                <a:gd name="connsiteY49" fmla="*/ 6346215 h 6734288"/>
                <a:gd name="connsiteX50" fmla="*/ 1251334 w 5593799"/>
                <a:gd name="connsiteY50" fmla="*/ 6338736 h 6734288"/>
                <a:gd name="connsiteX51" fmla="*/ 1094591 w 5593799"/>
                <a:gd name="connsiteY51" fmla="*/ 6164212 h 6734288"/>
                <a:gd name="connsiteX52" fmla="*/ 1080762 w 5593799"/>
                <a:gd name="connsiteY52" fmla="*/ 6184157 h 6734288"/>
                <a:gd name="connsiteX53" fmla="*/ 1055407 w 5593799"/>
                <a:gd name="connsiteY53" fmla="*/ 6151747 h 6734288"/>
                <a:gd name="connsiteX54" fmla="*/ 1013916 w 5593799"/>
                <a:gd name="connsiteY54" fmla="*/ 6209090 h 6734288"/>
                <a:gd name="connsiteX55" fmla="*/ 898665 w 5593799"/>
                <a:gd name="connsiteY55" fmla="*/ 6081936 h 6734288"/>
                <a:gd name="connsiteX56" fmla="*/ 942460 w 5593799"/>
                <a:gd name="connsiteY56" fmla="*/ 6032071 h 6734288"/>
                <a:gd name="connsiteX57" fmla="*/ 709653 w 5593799"/>
                <a:gd name="connsiteY57" fmla="*/ 5782751 h 6734288"/>
                <a:gd name="connsiteX58" fmla="*/ 723483 w 5593799"/>
                <a:gd name="connsiteY58" fmla="*/ 5755327 h 6734288"/>
                <a:gd name="connsiteX59" fmla="*/ 527555 w 5593799"/>
                <a:gd name="connsiteY59" fmla="*/ 5548391 h 6734288"/>
                <a:gd name="connsiteX0" fmla="*/ 527555 w 5593799"/>
                <a:gd name="connsiteY0" fmla="*/ 5548391 h 6734288"/>
                <a:gd name="connsiteX1" fmla="*/ 0 w 5593799"/>
                <a:gd name="connsiteY1" fmla="*/ 2067448 h 6734288"/>
                <a:gd name="connsiteX2" fmla="*/ 1043073 w 5593799"/>
                <a:gd name="connsiteY2" fmla="*/ 647002 h 6734288"/>
                <a:gd name="connsiteX3" fmla="*/ 1255989 w 5593799"/>
                <a:gd name="connsiteY3" fmla="*/ 547251 h 6734288"/>
                <a:gd name="connsiteX4" fmla="*/ 1235928 w 5593799"/>
                <a:gd name="connsiteY4" fmla="*/ 432260 h 6734288"/>
                <a:gd name="connsiteX5" fmla="*/ 1431693 w 5593799"/>
                <a:gd name="connsiteY5" fmla="*/ 380302 h 6734288"/>
                <a:gd name="connsiteX6" fmla="*/ 1449066 w 5593799"/>
                <a:gd name="connsiteY6" fmla="*/ 481442 h 6734288"/>
                <a:gd name="connsiteX7" fmla="*/ 1576141 w 5593799"/>
                <a:gd name="connsiteY7" fmla="*/ 442651 h 6734288"/>
                <a:gd name="connsiteX8" fmla="*/ 1606620 w 5593799"/>
                <a:gd name="connsiteY8" fmla="*/ 393463 h 6734288"/>
                <a:gd name="connsiteX9" fmla="*/ 1842507 w 5593799"/>
                <a:gd name="connsiteY9" fmla="*/ 319342 h 6734288"/>
                <a:gd name="connsiteX10" fmla="*/ 1882962 w 5593799"/>
                <a:gd name="connsiteY10" fmla="*/ 352592 h 6734288"/>
                <a:gd name="connsiteX11" fmla="*/ 2079504 w 5593799"/>
                <a:gd name="connsiteY11" fmla="*/ 288171 h 6734288"/>
                <a:gd name="connsiteX12" fmla="*/ 2038716 w 5593799"/>
                <a:gd name="connsiteY12" fmla="*/ 119840 h 6734288"/>
                <a:gd name="connsiteX13" fmla="*/ 2421959 w 5593799"/>
                <a:gd name="connsiteY13" fmla="*/ 0 h 6734288"/>
                <a:gd name="connsiteX14" fmla="*/ 2470257 w 5593799"/>
                <a:gd name="connsiteY14" fmla="*/ 165560 h 6734288"/>
                <a:gd name="connsiteX15" fmla="*/ 4233808 w 5593799"/>
                <a:gd name="connsiteY15" fmla="*/ 680900 h 6734288"/>
                <a:gd name="connsiteX16" fmla="*/ 4783938 w 5593799"/>
                <a:gd name="connsiteY16" fmla="*/ 1291242 h 6734288"/>
                <a:gd name="connsiteX17" fmla="*/ 4845342 w 5593799"/>
                <a:gd name="connsiteY17" fmla="*/ 1298860 h 6734288"/>
                <a:gd name="connsiteX18" fmla="*/ 5010183 w 5593799"/>
                <a:gd name="connsiteY18" fmla="*/ 1479661 h 6734288"/>
                <a:gd name="connsiteX19" fmla="*/ 5010406 w 5593799"/>
                <a:gd name="connsiteY19" fmla="*/ 1535080 h 6734288"/>
                <a:gd name="connsiteX20" fmla="*/ 5171670 w 5593799"/>
                <a:gd name="connsiteY20" fmla="*/ 1726990 h 6734288"/>
                <a:gd name="connsiteX21" fmla="*/ 5551658 w 5593799"/>
                <a:gd name="connsiteY21" fmla="*/ 3519512 h 6734288"/>
                <a:gd name="connsiteX22" fmla="*/ 5359579 w 5593799"/>
                <a:gd name="connsiteY22" fmla="*/ 4385669 h 6734288"/>
                <a:gd name="connsiteX23" fmla="*/ 5489795 w 5593799"/>
                <a:gd name="connsiteY23" fmla="*/ 4452156 h 6734288"/>
                <a:gd name="connsiteX24" fmla="*/ 5420346 w 5593799"/>
                <a:gd name="connsiteY24" fmla="*/ 4870077 h 6734288"/>
                <a:gd name="connsiteX25" fmla="*/ 5262817 w 5593799"/>
                <a:gd name="connsiteY25" fmla="*/ 4807792 h 6734288"/>
                <a:gd name="connsiteX26" fmla="*/ 4119419 w 5593799"/>
                <a:gd name="connsiteY26" fmla="*/ 6212288 h 6734288"/>
                <a:gd name="connsiteX27" fmla="*/ 3923288 w 5593799"/>
                <a:gd name="connsiteY27" fmla="*/ 5643346 h 6734288"/>
                <a:gd name="connsiteX28" fmla="*/ 4740219 w 5593799"/>
                <a:gd name="connsiteY28" fmla="*/ 4596953 h 6734288"/>
                <a:gd name="connsiteX29" fmla="*/ 5020268 w 5593799"/>
                <a:gd name="connsiteY29" fmla="*/ 3352779 h 6734288"/>
                <a:gd name="connsiteX30" fmla="*/ 4701452 w 5593799"/>
                <a:gd name="connsiteY30" fmla="*/ 2049487 h 6734288"/>
                <a:gd name="connsiteX31" fmla="*/ 3884199 w 5593799"/>
                <a:gd name="connsiteY31" fmla="*/ 1163055 h 6734288"/>
                <a:gd name="connsiteX32" fmla="*/ 2589933 w 5593799"/>
                <a:gd name="connsiteY32" fmla="*/ 761302 h 6734288"/>
                <a:gd name="connsiteX33" fmla="*/ 1591713 w 5593799"/>
                <a:gd name="connsiteY33" fmla="*/ 1081342 h 6734288"/>
                <a:gd name="connsiteX34" fmla="*/ 582793 w 5593799"/>
                <a:gd name="connsiteY34" fmla="*/ 2111591 h 6734288"/>
                <a:gd name="connsiteX35" fmla="*/ 901894 w 5593799"/>
                <a:gd name="connsiteY35" fmla="*/ 5064132 h 6734288"/>
                <a:gd name="connsiteX36" fmla="*/ 1258249 w 5593799"/>
                <a:gd name="connsiteY36" fmla="*/ 5436198 h 6734288"/>
                <a:gd name="connsiteX37" fmla="*/ 1320483 w 5593799"/>
                <a:gd name="connsiteY37" fmla="*/ 5418743 h 6734288"/>
                <a:gd name="connsiteX38" fmla="*/ 1424210 w 5593799"/>
                <a:gd name="connsiteY38" fmla="*/ 5533432 h 6734288"/>
                <a:gd name="connsiteX39" fmla="*/ 1403465 w 5593799"/>
                <a:gd name="connsiteY39" fmla="*/ 5598255 h 6734288"/>
                <a:gd name="connsiteX40" fmla="*/ 1493286 w 5593799"/>
                <a:gd name="connsiteY40" fmla="*/ 5692347 h 6734288"/>
                <a:gd name="connsiteX41" fmla="*/ 2793888 w 5593799"/>
                <a:gd name="connsiteY41" fmla="*/ 6017548 h 6734288"/>
                <a:gd name="connsiteX42" fmla="*/ 3919059 w 5593799"/>
                <a:gd name="connsiteY42" fmla="*/ 5644651 h 6734288"/>
                <a:gd name="connsiteX43" fmla="*/ 4115756 w 5593799"/>
                <a:gd name="connsiteY43" fmla="*/ 6217653 h 6734288"/>
                <a:gd name="connsiteX44" fmla="*/ 2777260 w 5593799"/>
                <a:gd name="connsiteY44" fmla="*/ 6660358 h 6734288"/>
                <a:gd name="connsiteX45" fmla="*/ 2399236 w 5593799"/>
                <a:gd name="connsiteY45" fmla="*/ 6682796 h 6734288"/>
                <a:gd name="connsiteX46" fmla="*/ 2320864 w 5593799"/>
                <a:gd name="connsiteY46" fmla="*/ 6590550 h 6734288"/>
                <a:gd name="connsiteX47" fmla="*/ 1638314 w 5593799"/>
                <a:gd name="connsiteY47" fmla="*/ 6734288 h 6734288"/>
                <a:gd name="connsiteX48" fmla="*/ 1288214 w 5593799"/>
                <a:gd name="connsiteY48" fmla="*/ 6346215 h 6734288"/>
                <a:gd name="connsiteX49" fmla="*/ 1251334 w 5593799"/>
                <a:gd name="connsiteY49" fmla="*/ 6338736 h 6734288"/>
                <a:gd name="connsiteX50" fmla="*/ 1094591 w 5593799"/>
                <a:gd name="connsiteY50" fmla="*/ 6164212 h 6734288"/>
                <a:gd name="connsiteX51" fmla="*/ 1080762 w 5593799"/>
                <a:gd name="connsiteY51" fmla="*/ 6184157 h 6734288"/>
                <a:gd name="connsiteX52" fmla="*/ 1055407 w 5593799"/>
                <a:gd name="connsiteY52" fmla="*/ 6151747 h 6734288"/>
                <a:gd name="connsiteX53" fmla="*/ 1013916 w 5593799"/>
                <a:gd name="connsiteY53" fmla="*/ 6209090 h 6734288"/>
                <a:gd name="connsiteX54" fmla="*/ 898665 w 5593799"/>
                <a:gd name="connsiteY54" fmla="*/ 6081936 h 6734288"/>
                <a:gd name="connsiteX55" fmla="*/ 942460 w 5593799"/>
                <a:gd name="connsiteY55" fmla="*/ 6032071 h 6734288"/>
                <a:gd name="connsiteX56" fmla="*/ 709653 w 5593799"/>
                <a:gd name="connsiteY56" fmla="*/ 5782751 h 6734288"/>
                <a:gd name="connsiteX57" fmla="*/ 723483 w 5593799"/>
                <a:gd name="connsiteY57" fmla="*/ 5755327 h 6734288"/>
                <a:gd name="connsiteX58" fmla="*/ 527555 w 5593799"/>
                <a:gd name="connsiteY58" fmla="*/ 5548391 h 6734288"/>
                <a:gd name="connsiteX0" fmla="*/ 0 w 5066244"/>
                <a:gd name="connsiteY0" fmla="*/ 5548391 h 6734288"/>
                <a:gd name="connsiteX1" fmla="*/ 515518 w 5066244"/>
                <a:gd name="connsiteY1" fmla="*/ 647002 h 6734288"/>
                <a:gd name="connsiteX2" fmla="*/ 728434 w 5066244"/>
                <a:gd name="connsiteY2" fmla="*/ 547251 h 6734288"/>
                <a:gd name="connsiteX3" fmla="*/ 708373 w 5066244"/>
                <a:gd name="connsiteY3" fmla="*/ 432260 h 6734288"/>
                <a:gd name="connsiteX4" fmla="*/ 904138 w 5066244"/>
                <a:gd name="connsiteY4" fmla="*/ 380302 h 6734288"/>
                <a:gd name="connsiteX5" fmla="*/ 921511 w 5066244"/>
                <a:gd name="connsiteY5" fmla="*/ 481442 h 6734288"/>
                <a:gd name="connsiteX6" fmla="*/ 1048586 w 5066244"/>
                <a:gd name="connsiteY6" fmla="*/ 442651 h 6734288"/>
                <a:gd name="connsiteX7" fmla="*/ 1079065 w 5066244"/>
                <a:gd name="connsiteY7" fmla="*/ 393463 h 6734288"/>
                <a:gd name="connsiteX8" fmla="*/ 1314952 w 5066244"/>
                <a:gd name="connsiteY8" fmla="*/ 319342 h 6734288"/>
                <a:gd name="connsiteX9" fmla="*/ 1355407 w 5066244"/>
                <a:gd name="connsiteY9" fmla="*/ 352592 h 6734288"/>
                <a:gd name="connsiteX10" fmla="*/ 1551949 w 5066244"/>
                <a:gd name="connsiteY10" fmla="*/ 288171 h 6734288"/>
                <a:gd name="connsiteX11" fmla="*/ 1511161 w 5066244"/>
                <a:gd name="connsiteY11" fmla="*/ 119840 h 6734288"/>
                <a:gd name="connsiteX12" fmla="*/ 1894404 w 5066244"/>
                <a:gd name="connsiteY12" fmla="*/ 0 h 6734288"/>
                <a:gd name="connsiteX13" fmla="*/ 1942702 w 5066244"/>
                <a:gd name="connsiteY13" fmla="*/ 165560 h 6734288"/>
                <a:gd name="connsiteX14" fmla="*/ 3706253 w 5066244"/>
                <a:gd name="connsiteY14" fmla="*/ 680900 h 6734288"/>
                <a:gd name="connsiteX15" fmla="*/ 4256383 w 5066244"/>
                <a:gd name="connsiteY15" fmla="*/ 1291242 h 6734288"/>
                <a:gd name="connsiteX16" fmla="*/ 4317787 w 5066244"/>
                <a:gd name="connsiteY16" fmla="*/ 1298860 h 6734288"/>
                <a:gd name="connsiteX17" fmla="*/ 4482628 w 5066244"/>
                <a:gd name="connsiteY17" fmla="*/ 1479661 h 6734288"/>
                <a:gd name="connsiteX18" fmla="*/ 4482851 w 5066244"/>
                <a:gd name="connsiteY18" fmla="*/ 1535080 h 6734288"/>
                <a:gd name="connsiteX19" fmla="*/ 4644115 w 5066244"/>
                <a:gd name="connsiteY19" fmla="*/ 1726990 h 6734288"/>
                <a:gd name="connsiteX20" fmla="*/ 5024103 w 5066244"/>
                <a:gd name="connsiteY20" fmla="*/ 3519512 h 6734288"/>
                <a:gd name="connsiteX21" fmla="*/ 4832024 w 5066244"/>
                <a:gd name="connsiteY21" fmla="*/ 4385669 h 6734288"/>
                <a:gd name="connsiteX22" fmla="*/ 4962240 w 5066244"/>
                <a:gd name="connsiteY22" fmla="*/ 4452156 h 6734288"/>
                <a:gd name="connsiteX23" fmla="*/ 4892791 w 5066244"/>
                <a:gd name="connsiteY23" fmla="*/ 4870077 h 6734288"/>
                <a:gd name="connsiteX24" fmla="*/ 4735262 w 5066244"/>
                <a:gd name="connsiteY24" fmla="*/ 4807792 h 6734288"/>
                <a:gd name="connsiteX25" fmla="*/ 3591864 w 5066244"/>
                <a:gd name="connsiteY25" fmla="*/ 6212288 h 6734288"/>
                <a:gd name="connsiteX26" fmla="*/ 3395733 w 5066244"/>
                <a:gd name="connsiteY26" fmla="*/ 5643346 h 6734288"/>
                <a:gd name="connsiteX27" fmla="*/ 4212664 w 5066244"/>
                <a:gd name="connsiteY27" fmla="*/ 4596953 h 6734288"/>
                <a:gd name="connsiteX28" fmla="*/ 4492713 w 5066244"/>
                <a:gd name="connsiteY28" fmla="*/ 3352779 h 6734288"/>
                <a:gd name="connsiteX29" fmla="*/ 4173897 w 5066244"/>
                <a:gd name="connsiteY29" fmla="*/ 2049487 h 6734288"/>
                <a:gd name="connsiteX30" fmla="*/ 3356644 w 5066244"/>
                <a:gd name="connsiteY30" fmla="*/ 1163055 h 6734288"/>
                <a:gd name="connsiteX31" fmla="*/ 2062378 w 5066244"/>
                <a:gd name="connsiteY31" fmla="*/ 761302 h 6734288"/>
                <a:gd name="connsiteX32" fmla="*/ 1064158 w 5066244"/>
                <a:gd name="connsiteY32" fmla="*/ 1081342 h 6734288"/>
                <a:gd name="connsiteX33" fmla="*/ 55238 w 5066244"/>
                <a:gd name="connsiteY33" fmla="*/ 2111591 h 6734288"/>
                <a:gd name="connsiteX34" fmla="*/ 374339 w 5066244"/>
                <a:gd name="connsiteY34" fmla="*/ 5064132 h 6734288"/>
                <a:gd name="connsiteX35" fmla="*/ 730694 w 5066244"/>
                <a:gd name="connsiteY35" fmla="*/ 5436198 h 6734288"/>
                <a:gd name="connsiteX36" fmla="*/ 792928 w 5066244"/>
                <a:gd name="connsiteY36" fmla="*/ 5418743 h 6734288"/>
                <a:gd name="connsiteX37" fmla="*/ 896655 w 5066244"/>
                <a:gd name="connsiteY37" fmla="*/ 5533432 h 6734288"/>
                <a:gd name="connsiteX38" fmla="*/ 875910 w 5066244"/>
                <a:gd name="connsiteY38" fmla="*/ 5598255 h 6734288"/>
                <a:gd name="connsiteX39" fmla="*/ 965731 w 5066244"/>
                <a:gd name="connsiteY39" fmla="*/ 5692347 h 6734288"/>
                <a:gd name="connsiteX40" fmla="*/ 2266333 w 5066244"/>
                <a:gd name="connsiteY40" fmla="*/ 6017548 h 6734288"/>
                <a:gd name="connsiteX41" fmla="*/ 3391504 w 5066244"/>
                <a:gd name="connsiteY41" fmla="*/ 5644651 h 6734288"/>
                <a:gd name="connsiteX42" fmla="*/ 3588201 w 5066244"/>
                <a:gd name="connsiteY42" fmla="*/ 6217653 h 6734288"/>
                <a:gd name="connsiteX43" fmla="*/ 2249705 w 5066244"/>
                <a:gd name="connsiteY43" fmla="*/ 6660358 h 6734288"/>
                <a:gd name="connsiteX44" fmla="*/ 1871681 w 5066244"/>
                <a:gd name="connsiteY44" fmla="*/ 6682796 h 6734288"/>
                <a:gd name="connsiteX45" fmla="*/ 1793309 w 5066244"/>
                <a:gd name="connsiteY45" fmla="*/ 6590550 h 6734288"/>
                <a:gd name="connsiteX46" fmla="*/ 1110759 w 5066244"/>
                <a:gd name="connsiteY46" fmla="*/ 6734288 h 6734288"/>
                <a:gd name="connsiteX47" fmla="*/ 760659 w 5066244"/>
                <a:gd name="connsiteY47" fmla="*/ 6346215 h 6734288"/>
                <a:gd name="connsiteX48" fmla="*/ 723779 w 5066244"/>
                <a:gd name="connsiteY48" fmla="*/ 6338736 h 6734288"/>
                <a:gd name="connsiteX49" fmla="*/ 567036 w 5066244"/>
                <a:gd name="connsiteY49" fmla="*/ 6164212 h 6734288"/>
                <a:gd name="connsiteX50" fmla="*/ 553207 w 5066244"/>
                <a:gd name="connsiteY50" fmla="*/ 6184157 h 6734288"/>
                <a:gd name="connsiteX51" fmla="*/ 527852 w 5066244"/>
                <a:gd name="connsiteY51" fmla="*/ 6151747 h 6734288"/>
                <a:gd name="connsiteX52" fmla="*/ 486361 w 5066244"/>
                <a:gd name="connsiteY52" fmla="*/ 6209090 h 6734288"/>
                <a:gd name="connsiteX53" fmla="*/ 371110 w 5066244"/>
                <a:gd name="connsiteY53" fmla="*/ 6081936 h 6734288"/>
                <a:gd name="connsiteX54" fmla="*/ 414905 w 5066244"/>
                <a:gd name="connsiteY54" fmla="*/ 6032071 h 6734288"/>
                <a:gd name="connsiteX55" fmla="*/ 182098 w 5066244"/>
                <a:gd name="connsiteY55" fmla="*/ 5782751 h 6734288"/>
                <a:gd name="connsiteX56" fmla="*/ 195928 w 5066244"/>
                <a:gd name="connsiteY56" fmla="*/ 5755327 h 6734288"/>
                <a:gd name="connsiteX57" fmla="*/ 0 w 5066244"/>
                <a:gd name="connsiteY57" fmla="*/ 5548391 h 6734288"/>
                <a:gd name="connsiteX0" fmla="*/ 0 w 5066244"/>
                <a:gd name="connsiteY0" fmla="*/ 5548391 h 6734288"/>
                <a:gd name="connsiteX1" fmla="*/ 515518 w 5066244"/>
                <a:gd name="connsiteY1" fmla="*/ 647002 h 6734288"/>
                <a:gd name="connsiteX2" fmla="*/ 728434 w 5066244"/>
                <a:gd name="connsiteY2" fmla="*/ 547251 h 6734288"/>
                <a:gd name="connsiteX3" fmla="*/ 708373 w 5066244"/>
                <a:gd name="connsiteY3" fmla="*/ 432260 h 6734288"/>
                <a:gd name="connsiteX4" fmla="*/ 904138 w 5066244"/>
                <a:gd name="connsiteY4" fmla="*/ 380302 h 6734288"/>
                <a:gd name="connsiteX5" fmla="*/ 921511 w 5066244"/>
                <a:gd name="connsiteY5" fmla="*/ 481442 h 6734288"/>
                <a:gd name="connsiteX6" fmla="*/ 1048586 w 5066244"/>
                <a:gd name="connsiteY6" fmla="*/ 442651 h 6734288"/>
                <a:gd name="connsiteX7" fmla="*/ 1079065 w 5066244"/>
                <a:gd name="connsiteY7" fmla="*/ 393463 h 6734288"/>
                <a:gd name="connsiteX8" fmla="*/ 1314952 w 5066244"/>
                <a:gd name="connsiteY8" fmla="*/ 319342 h 6734288"/>
                <a:gd name="connsiteX9" fmla="*/ 1355407 w 5066244"/>
                <a:gd name="connsiteY9" fmla="*/ 352592 h 6734288"/>
                <a:gd name="connsiteX10" fmla="*/ 1551949 w 5066244"/>
                <a:gd name="connsiteY10" fmla="*/ 288171 h 6734288"/>
                <a:gd name="connsiteX11" fmla="*/ 1511161 w 5066244"/>
                <a:gd name="connsiteY11" fmla="*/ 119840 h 6734288"/>
                <a:gd name="connsiteX12" fmla="*/ 1894404 w 5066244"/>
                <a:gd name="connsiteY12" fmla="*/ 0 h 6734288"/>
                <a:gd name="connsiteX13" fmla="*/ 1942702 w 5066244"/>
                <a:gd name="connsiteY13" fmla="*/ 165560 h 6734288"/>
                <a:gd name="connsiteX14" fmla="*/ 3706253 w 5066244"/>
                <a:gd name="connsiteY14" fmla="*/ 680900 h 6734288"/>
                <a:gd name="connsiteX15" fmla="*/ 4256383 w 5066244"/>
                <a:gd name="connsiteY15" fmla="*/ 1291242 h 6734288"/>
                <a:gd name="connsiteX16" fmla="*/ 4317787 w 5066244"/>
                <a:gd name="connsiteY16" fmla="*/ 1298860 h 6734288"/>
                <a:gd name="connsiteX17" fmla="*/ 4482628 w 5066244"/>
                <a:gd name="connsiteY17" fmla="*/ 1479661 h 6734288"/>
                <a:gd name="connsiteX18" fmla="*/ 4482851 w 5066244"/>
                <a:gd name="connsiteY18" fmla="*/ 1535080 h 6734288"/>
                <a:gd name="connsiteX19" fmla="*/ 4644115 w 5066244"/>
                <a:gd name="connsiteY19" fmla="*/ 1726990 h 6734288"/>
                <a:gd name="connsiteX20" fmla="*/ 5024103 w 5066244"/>
                <a:gd name="connsiteY20" fmla="*/ 3519512 h 6734288"/>
                <a:gd name="connsiteX21" fmla="*/ 4832024 w 5066244"/>
                <a:gd name="connsiteY21" fmla="*/ 4385669 h 6734288"/>
                <a:gd name="connsiteX22" fmla="*/ 4962240 w 5066244"/>
                <a:gd name="connsiteY22" fmla="*/ 4452156 h 6734288"/>
                <a:gd name="connsiteX23" fmla="*/ 4892791 w 5066244"/>
                <a:gd name="connsiteY23" fmla="*/ 4870077 h 6734288"/>
                <a:gd name="connsiteX24" fmla="*/ 4735262 w 5066244"/>
                <a:gd name="connsiteY24" fmla="*/ 4807792 h 6734288"/>
                <a:gd name="connsiteX25" fmla="*/ 3591864 w 5066244"/>
                <a:gd name="connsiteY25" fmla="*/ 6212288 h 6734288"/>
                <a:gd name="connsiteX26" fmla="*/ 3395733 w 5066244"/>
                <a:gd name="connsiteY26" fmla="*/ 5643346 h 6734288"/>
                <a:gd name="connsiteX27" fmla="*/ 4212664 w 5066244"/>
                <a:gd name="connsiteY27" fmla="*/ 4596953 h 6734288"/>
                <a:gd name="connsiteX28" fmla="*/ 4492713 w 5066244"/>
                <a:gd name="connsiteY28" fmla="*/ 3352779 h 6734288"/>
                <a:gd name="connsiteX29" fmla="*/ 4173897 w 5066244"/>
                <a:gd name="connsiteY29" fmla="*/ 2049487 h 6734288"/>
                <a:gd name="connsiteX30" fmla="*/ 3356644 w 5066244"/>
                <a:gd name="connsiteY30" fmla="*/ 1163055 h 6734288"/>
                <a:gd name="connsiteX31" fmla="*/ 2062378 w 5066244"/>
                <a:gd name="connsiteY31" fmla="*/ 761302 h 6734288"/>
                <a:gd name="connsiteX32" fmla="*/ 1064158 w 5066244"/>
                <a:gd name="connsiteY32" fmla="*/ 1081342 h 6734288"/>
                <a:gd name="connsiteX33" fmla="*/ 374339 w 5066244"/>
                <a:gd name="connsiteY33" fmla="*/ 5064132 h 6734288"/>
                <a:gd name="connsiteX34" fmla="*/ 730694 w 5066244"/>
                <a:gd name="connsiteY34" fmla="*/ 5436198 h 6734288"/>
                <a:gd name="connsiteX35" fmla="*/ 792928 w 5066244"/>
                <a:gd name="connsiteY35" fmla="*/ 5418743 h 6734288"/>
                <a:gd name="connsiteX36" fmla="*/ 896655 w 5066244"/>
                <a:gd name="connsiteY36" fmla="*/ 5533432 h 6734288"/>
                <a:gd name="connsiteX37" fmla="*/ 875910 w 5066244"/>
                <a:gd name="connsiteY37" fmla="*/ 5598255 h 6734288"/>
                <a:gd name="connsiteX38" fmla="*/ 965731 w 5066244"/>
                <a:gd name="connsiteY38" fmla="*/ 5692347 h 6734288"/>
                <a:gd name="connsiteX39" fmla="*/ 2266333 w 5066244"/>
                <a:gd name="connsiteY39" fmla="*/ 6017548 h 6734288"/>
                <a:gd name="connsiteX40" fmla="*/ 3391504 w 5066244"/>
                <a:gd name="connsiteY40" fmla="*/ 5644651 h 6734288"/>
                <a:gd name="connsiteX41" fmla="*/ 3588201 w 5066244"/>
                <a:gd name="connsiteY41" fmla="*/ 6217653 h 6734288"/>
                <a:gd name="connsiteX42" fmla="*/ 2249705 w 5066244"/>
                <a:gd name="connsiteY42" fmla="*/ 6660358 h 6734288"/>
                <a:gd name="connsiteX43" fmla="*/ 1871681 w 5066244"/>
                <a:gd name="connsiteY43" fmla="*/ 6682796 h 6734288"/>
                <a:gd name="connsiteX44" fmla="*/ 1793309 w 5066244"/>
                <a:gd name="connsiteY44" fmla="*/ 6590550 h 6734288"/>
                <a:gd name="connsiteX45" fmla="*/ 1110759 w 5066244"/>
                <a:gd name="connsiteY45" fmla="*/ 6734288 h 6734288"/>
                <a:gd name="connsiteX46" fmla="*/ 760659 w 5066244"/>
                <a:gd name="connsiteY46" fmla="*/ 6346215 h 6734288"/>
                <a:gd name="connsiteX47" fmla="*/ 723779 w 5066244"/>
                <a:gd name="connsiteY47" fmla="*/ 6338736 h 6734288"/>
                <a:gd name="connsiteX48" fmla="*/ 567036 w 5066244"/>
                <a:gd name="connsiteY48" fmla="*/ 6164212 h 6734288"/>
                <a:gd name="connsiteX49" fmla="*/ 553207 w 5066244"/>
                <a:gd name="connsiteY49" fmla="*/ 6184157 h 6734288"/>
                <a:gd name="connsiteX50" fmla="*/ 527852 w 5066244"/>
                <a:gd name="connsiteY50" fmla="*/ 6151747 h 6734288"/>
                <a:gd name="connsiteX51" fmla="*/ 486361 w 5066244"/>
                <a:gd name="connsiteY51" fmla="*/ 6209090 h 6734288"/>
                <a:gd name="connsiteX52" fmla="*/ 371110 w 5066244"/>
                <a:gd name="connsiteY52" fmla="*/ 6081936 h 6734288"/>
                <a:gd name="connsiteX53" fmla="*/ 414905 w 5066244"/>
                <a:gd name="connsiteY53" fmla="*/ 6032071 h 6734288"/>
                <a:gd name="connsiteX54" fmla="*/ 182098 w 5066244"/>
                <a:gd name="connsiteY54" fmla="*/ 5782751 h 6734288"/>
                <a:gd name="connsiteX55" fmla="*/ 195928 w 5066244"/>
                <a:gd name="connsiteY55" fmla="*/ 5755327 h 6734288"/>
                <a:gd name="connsiteX56" fmla="*/ 0 w 5066244"/>
                <a:gd name="connsiteY56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708373 w 5066244"/>
                <a:gd name="connsiteY2" fmla="*/ 432260 h 6734288"/>
                <a:gd name="connsiteX3" fmla="*/ 904138 w 5066244"/>
                <a:gd name="connsiteY3" fmla="*/ 380302 h 6734288"/>
                <a:gd name="connsiteX4" fmla="*/ 921511 w 5066244"/>
                <a:gd name="connsiteY4" fmla="*/ 481442 h 6734288"/>
                <a:gd name="connsiteX5" fmla="*/ 1048586 w 5066244"/>
                <a:gd name="connsiteY5" fmla="*/ 442651 h 6734288"/>
                <a:gd name="connsiteX6" fmla="*/ 1079065 w 5066244"/>
                <a:gd name="connsiteY6" fmla="*/ 393463 h 6734288"/>
                <a:gd name="connsiteX7" fmla="*/ 1314952 w 5066244"/>
                <a:gd name="connsiteY7" fmla="*/ 319342 h 6734288"/>
                <a:gd name="connsiteX8" fmla="*/ 1355407 w 5066244"/>
                <a:gd name="connsiteY8" fmla="*/ 352592 h 6734288"/>
                <a:gd name="connsiteX9" fmla="*/ 1551949 w 5066244"/>
                <a:gd name="connsiteY9" fmla="*/ 288171 h 6734288"/>
                <a:gd name="connsiteX10" fmla="*/ 1511161 w 5066244"/>
                <a:gd name="connsiteY10" fmla="*/ 119840 h 6734288"/>
                <a:gd name="connsiteX11" fmla="*/ 1894404 w 5066244"/>
                <a:gd name="connsiteY11" fmla="*/ 0 h 6734288"/>
                <a:gd name="connsiteX12" fmla="*/ 1942702 w 5066244"/>
                <a:gd name="connsiteY12" fmla="*/ 165560 h 6734288"/>
                <a:gd name="connsiteX13" fmla="*/ 3706253 w 5066244"/>
                <a:gd name="connsiteY13" fmla="*/ 680900 h 6734288"/>
                <a:gd name="connsiteX14" fmla="*/ 4256383 w 5066244"/>
                <a:gd name="connsiteY14" fmla="*/ 1291242 h 6734288"/>
                <a:gd name="connsiteX15" fmla="*/ 4317787 w 5066244"/>
                <a:gd name="connsiteY15" fmla="*/ 1298860 h 6734288"/>
                <a:gd name="connsiteX16" fmla="*/ 4482628 w 5066244"/>
                <a:gd name="connsiteY16" fmla="*/ 1479661 h 6734288"/>
                <a:gd name="connsiteX17" fmla="*/ 4482851 w 5066244"/>
                <a:gd name="connsiteY17" fmla="*/ 1535080 h 6734288"/>
                <a:gd name="connsiteX18" fmla="*/ 4644115 w 5066244"/>
                <a:gd name="connsiteY18" fmla="*/ 1726990 h 6734288"/>
                <a:gd name="connsiteX19" fmla="*/ 5024103 w 5066244"/>
                <a:gd name="connsiteY19" fmla="*/ 3519512 h 6734288"/>
                <a:gd name="connsiteX20" fmla="*/ 4832024 w 5066244"/>
                <a:gd name="connsiteY20" fmla="*/ 4385669 h 6734288"/>
                <a:gd name="connsiteX21" fmla="*/ 4962240 w 5066244"/>
                <a:gd name="connsiteY21" fmla="*/ 4452156 h 6734288"/>
                <a:gd name="connsiteX22" fmla="*/ 4892791 w 5066244"/>
                <a:gd name="connsiteY22" fmla="*/ 4870077 h 6734288"/>
                <a:gd name="connsiteX23" fmla="*/ 4735262 w 5066244"/>
                <a:gd name="connsiteY23" fmla="*/ 4807792 h 6734288"/>
                <a:gd name="connsiteX24" fmla="*/ 3591864 w 5066244"/>
                <a:gd name="connsiteY24" fmla="*/ 6212288 h 6734288"/>
                <a:gd name="connsiteX25" fmla="*/ 3395733 w 5066244"/>
                <a:gd name="connsiteY25" fmla="*/ 5643346 h 6734288"/>
                <a:gd name="connsiteX26" fmla="*/ 4212664 w 5066244"/>
                <a:gd name="connsiteY26" fmla="*/ 4596953 h 6734288"/>
                <a:gd name="connsiteX27" fmla="*/ 4492713 w 5066244"/>
                <a:gd name="connsiteY27" fmla="*/ 3352779 h 6734288"/>
                <a:gd name="connsiteX28" fmla="*/ 4173897 w 5066244"/>
                <a:gd name="connsiteY28" fmla="*/ 2049487 h 6734288"/>
                <a:gd name="connsiteX29" fmla="*/ 3356644 w 5066244"/>
                <a:gd name="connsiteY29" fmla="*/ 1163055 h 6734288"/>
                <a:gd name="connsiteX30" fmla="*/ 2062378 w 5066244"/>
                <a:gd name="connsiteY30" fmla="*/ 761302 h 6734288"/>
                <a:gd name="connsiteX31" fmla="*/ 1064158 w 5066244"/>
                <a:gd name="connsiteY31" fmla="*/ 1081342 h 6734288"/>
                <a:gd name="connsiteX32" fmla="*/ 374339 w 5066244"/>
                <a:gd name="connsiteY32" fmla="*/ 5064132 h 6734288"/>
                <a:gd name="connsiteX33" fmla="*/ 730694 w 5066244"/>
                <a:gd name="connsiteY33" fmla="*/ 5436198 h 6734288"/>
                <a:gd name="connsiteX34" fmla="*/ 792928 w 5066244"/>
                <a:gd name="connsiteY34" fmla="*/ 5418743 h 6734288"/>
                <a:gd name="connsiteX35" fmla="*/ 896655 w 5066244"/>
                <a:gd name="connsiteY35" fmla="*/ 5533432 h 6734288"/>
                <a:gd name="connsiteX36" fmla="*/ 875910 w 5066244"/>
                <a:gd name="connsiteY36" fmla="*/ 5598255 h 6734288"/>
                <a:gd name="connsiteX37" fmla="*/ 965731 w 5066244"/>
                <a:gd name="connsiteY37" fmla="*/ 5692347 h 6734288"/>
                <a:gd name="connsiteX38" fmla="*/ 2266333 w 5066244"/>
                <a:gd name="connsiteY38" fmla="*/ 6017548 h 6734288"/>
                <a:gd name="connsiteX39" fmla="*/ 3391504 w 5066244"/>
                <a:gd name="connsiteY39" fmla="*/ 5644651 h 6734288"/>
                <a:gd name="connsiteX40" fmla="*/ 3588201 w 5066244"/>
                <a:gd name="connsiteY40" fmla="*/ 6217653 h 6734288"/>
                <a:gd name="connsiteX41" fmla="*/ 2249705 w 5066244"/>
                <a:gd name="connsiteY41" fmla="*/ 6660358 h 6734288"/>
                <a:gd name="connsiteX42" fmla="*/ 1871681 w 5066244"/>
                <a:gd name="connsiteY42" fmla="*/ 6682796 h 6734288"/>
                <a:gd name="connsiteX43" fmla="*/ 1793309 w 5066244"/>
                <a:gd name="connsiteY43" fmla="*/ 6590550 h 6734288"/>
                <a:gd name="connsiteX44" fmla="*/ 1110759 w 5066244"/>
                <a:gd name="connsiteY44" fmla="*/ 6734288 h 6734288"/>
                <a:gd name="connsiteX45" fmla="*/ 760659 w 5066244"/>
                <a:gd name="connsiteY45" fmla="*/ 6346215 h 6734288"/>
                <a:gd name="connsiteX46" fmla="*/ 723779 w 5066244"/>
                <a:gd name="connsiteY46" fmla="*/ 6338736 h 6734288"/>
                <a:gd name="connsiteX47" fmla="*/ 567036 w 5066244"/>
                <a:gd name="connsiteY47" fmla="*/ 6164212 h 6734288"/>
                <a:gd name="connsiteX48" fmla="*/ 553207 w 5066244"/>
                <a:gd name="connsiteY48" fmla="*/ 6184157 h 6734288"/>
                <a:gd name="connsiteX49" fmla="*/ 527852 w 5066244"/>
                <a:gd name="connsiteY49" fmla="*/ 6151747 h 6734288"/>
                <a:gd name="connsiteX50" fmla="*/ 486361 w 5066244"/>
                <a:gd name="connsiteY50" fmla="*/ 6209090 h 6734288"/>
                <a:gd name="connsiteX51" fmla="*/ 371110 w 5066244"/>
                <a:gd name="connsiteY51" fmla="*/ 6081936 h 6734288"/>
                <a:gd name="connsiteX52" fmla="*/ 414905 w 5066244"/>
                <a:gd name="connsiteY52" fmla="*/ 6032071 h 6734288"/>
                <a:gd name="connsiteX53" fmla="*/ 182098 w 5066244"/>
                <a:gd name="connsiteY53" fmla="*/ 5782751 h 6734288"/>
                <a:gd name="connsiteX54" fmla="*/ 195928 w 5066244"/>
                <a:gd name="connsiteY54" fmla="*/ 5755327 h 6734288"/>
                <a:gd name="connsiteX55" fmla="*/ 0 w 5066244"/>
                <a:gd name="connsiteY55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921511 w 5066244"/>
                <a:gd name="connsiteY3" fmla="*/ 481442 h 6734288"/>
                <a:gd name="connsiteX4" fmla="*/ 1048586 w 5066244"/>
                <a:gd name="connsiteY4" fmla="*/ 442651 h 6734288"/>
                <a:gd name="connsiteX5" fmla="*/ 1079065 w 5066244"/>
                <a:gd name="connsiteY5" fmla="*/ 393463 h 6734288"/>
                <a:gd name="connsiteX6" fmla="*/ 1314952 w 5066244"/>
                <a:gd name="connsiteY6" fmla="*/ 319342 h 6734288"/>
                <a:gd name="connsiteX7" fmla="*/ 1355407 w 5066244"/>
                <a:gd name="connsiteY7" fmla="*/ 352592 h 6734288"/>
                <a:gd name="connsiteX8" fmla="*/ 1551949 w 5066244"/>
                <a:gd name="connsiteY8" fmla="*/ 288171 h 6734288"/>
                <a:gd name="connsiteX9" fmla="*/ 1511161 w 5066244"/>
                <a:gd name="connsiteY9" fmla="*/ 119840 h 6734288"/>
                <a:gd name="connsiteX10" fmla="*/ 1894404 w 5066244"/>
                <a:gd name="connsiteY10" fmla="*/ 0 h 6734288"/>
                <a:gd name="connsiteX11" fmla="*/ 1942702 w 5066244"/>
                <a:gd name="connsiteY11" fmla="*/ 165560 h 6734288"/>
                <a:gd name="connsiteX12" fmla="*/ 3706253 w 5066244"/>
                <a:gd name="connsiteY12" fmla="*/ 680900 h 6734288"/>
                <a:gd name="connsiteX13" fmla="*/ 4256383 w 5066244"/>
                <a:gd name="connsiteY13" fmla="*/ 1291242 h 6734288"/>
                <a:gd name="connsiteX14" fmla="*/ 4317787 w 5066244"/>
                <a:gd name="connsiteY14" fmla="*/ 1298860 h 6734288"/>
                <a:gd name="connsiteX15" fmla="*/ 4482628 w 5066244"/>
                <a:gd name="connsiteY15" fmla="*/ 1479661 h 6734288"/>
                <a:gd name="connsiteX16" fmla="*/ 4482851 w 5066244"/>
                <a:gd name="connsiteY16" fmla="*/ 1535080 h 6734288"/>
                <a:gd name="connsiteX17" fmla="*/ 4644115 w 5066244"/>
                <a:gd name="connsiteY17" fmla="*/ 1726990 h 6734288"/>
                <a:gd name="connsiteX18" fmla="*/ 5024103 w 5066244"/>
                <a:gd name="connsiteY18" fmla="*/ 3519512 h 6734288"/>
                <a:gd name="connsiteX19" fmla="*/ 4832024 w 5066244"/>
                <a:gd name="connsiteY19" fmla="*/ 4385669 h 6734288"/>
                <a:gd name="connsiteX20" fmla="*/ 4962240 w 5066244"/>
                <a:gd name="connsiteY20" fmla="*/ 4452156 h 6734288"/>
                <a:gd name="connsiteX21" fmla="*/ 4892791 w 5066244"/>
                <a:gd name="connsiteY21" fmla="*/ 4870077 h 6734288"/>
                <a:gd name="connsiteX22" fmla="*/ 4735262 w 5066244"/>
                <a:gd name="connsiteY22" fmla="*/ 4807792 h 6734288"/>
                <a:gd name="connsiteX23" fmla="*/ 3591864 w 5066244"/>
                <a:gd name="connsiteY23" fmla="*/ 6212288 h 6734288"/>
                <a:gd name="connsiteX24" fmla="*/ 3395733 w 5066244"/>
                <a:gd name="connsiteY24" fmla="*/ 5643346 h 6734288"/>
                <a:gd name="connsiteX25" fmla="*/ 4212664 w 5066244"/>
                <a:gd name="connsiteY25" fmla="*/ 4596953 h 6734288"/>
                <a:gd name="connsiteX26" fmla="*/ 4492713 w 5066244"/>
                <a:gd name="connsiteY26" fmla="*/ 3352779 h 6734288"/>
                <a:gd name="connsiteX27" fmla="*/ 4173897 w 5066244"/>
                <a:gd name="connsiteY27" fmla="*/ 2049487 h 6734288"/>
                <a:gd name="connsiteX28" fmla="*/ 3356644 w 5066244"/>
                <a:gd name="connsiteY28" fmla="*/ 1163055 h 6734288"/>
                <a:gd name="connsiteX29" fmla="*/ 2062378 w 5066244"/>
                <a:gd name="connsiteY29" fmla="*/ 761302 h 6734288"/>
                <a:gd name="connsiteX30" fmla="*/ 1064158 w 5066244"/>
                <a:gd name="connsiteY30" fmla="*/ 1081342 h 6734288"/>
                <a:gd name="connsiteX31" fmla="*/ 374339 w 5066244"/>
                <a:gd name="connsiteY31" fmla="*/ 5064132 h 6734288"/>
                <a:gd name="connsiteX32" fmla="*/ 730694 w 5066244"/>
                <a:gd name="connsiteY32" fmla="*/ 5436198 h 6734288"/>
                <a:gd name="connsiteX33" fmla="*/ 792928 w 5066244"/>
                <a:gd name="connsiteY33" fmla="*/ 5418743 h 6734288"/>
                <a:gd name="connsiteX34" fmla="*/ 896655 w 5066244"/>
                <a:gd name="connsiteY34" fmla="*/ 5533432 h 6734288"/>
                <a:gd name="connsiteX35" fmla="*/ 875910 w 5066244"/>
                <a:gd name="connsiteY35" fmla="*/ 5598255 h 6734288"/>
                <a:gd name="connsiteX36" fmla="*/ 965731 w 5066244"/>
                <a:gd name="connsiteY36" fmla="*/ 5692347 h 6734288"/>
                <a:gd name="connsiteX37" fmla="*/ 2266333 w 5066244"/>
                <a:gd name="connsiteY37" fmla="*/ 6017548 h 6734288"/>
                <a:gd name="connsiteX38" fmla="*/ 3391504 w 5066244"/>
                <a:gd name="connsiteY38" fmla="*/ 5644651 h 6734288"/>
                <a:gd name="connsiteX39" fmla="*/ 3588201 w 5066244"/>
                <a:gd name="connsiteY39" fmla="*/ 6217653 h 6734288"/>
                <a:gd name="connsiteX40" fmla="*/ 2249705 w 5066244"/>
                <a:gd name="connsiteY40" fmla="*/ 6660358 h 6734288"/>
                <a:gd name="connsiteX41" fmla="*/ 1871681 w 5066244"/>
                <a:gd name="connsiteY41" fmla="*/ 6682796 h 6734288"/>
                <a:gd name="connsiteX42" fmla="*/ 1793309 w 5066244"/>
                <a:gd name="connsiteY42" fmla="*/ 6590550 h 6734288"/>
                <a:gd name="connsiteX43" fmla="*/ 1110759 w 5066244"/>
                <a:gd name="connsiteY43" fmla="*/ 6734288 h 6734288"/>
                <a:gd name="connsiteX44" fmla="*/ 760659 w 5066244"/>
                <a:gd name="connsiteY44" fmla="*/ 6346215 h 6734288"/>
                <a:gd name="connsiteX45" fmla="*/ 723779 w 5066244"/>
                <a:gd name="connsiteY45" fmla="*/ 6338736 h 6734288"/>
                <a:gd name="connsiteX46" fmla="*/ 567036 w 5066244"/>
                <a:gd name="connsiteY46" fmla="*/ 6164212 h 6734288"/>
                <a:gd name="connsiteX47" fmla="*/ 553207 w 5066244"/>
                <a:gd name="connsiteY47" fmla="*/ 6184157 h 6734288"/>
                <a:gd name="connsiteX48" fmla="*/ 527852 w 5066244"/>
                <a:gd name="connsiteY48" fmla="*/ 6151747 h 6734288"/>
                <a:gd name="connsiteX49" fmla="*/ 486361 w 5066244"/>
                <a:gd name="connsiteY49" fmla="*/ 6209090 h 6734288"/>
                <a:gd name="connsiteX50" fmla="*/ 371110 w 5066244"/>
                <a:gd name="connsiteY50" fmla="*/ 6081936 h 6734288"/>
                <a:gd name="connsiteX51" fmla="*/ 414905 w 5066244"/>
                <a:gd name="connsiteY51" fmla="*/ 6032071 h 6734288"/>
                <a:gd name="connsiteX52" fmla="*/ 182098 w 5066244"/>
                <a:gd name="connsiteY52" fmla="*/ 5782751 h 6734288"/>
                <a:gd name="connsiteX53" fmla="*/ 195928 w 5066244"/>
                <a:gd name="connsiteY53" fmla="*/ 5755327 h 6734288"/>
                <a:gd name="connsiteX54" fmla="*/ 0 w 5066244"/>
                <a:gd name="connsiteY54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921511 w 5066244"/>
                <a:gd name="connsiteY3" fmla="*/ 481442 h 6734288"/>
                <a:gd name="connsiteX4" fmla="*/ 1048586 w 5066244"/>
                <a:gd name="connsiteY4" fmla="*/ 442651 h 6734288"/>
                <a:gd name="connsiteX5" fmla="*/ 1079065 w 5066244"/>
                <a:gd name="connsiteY5" fmla="*/ 393463 h 6734288"/>
                <a:gd name="connsiteX6" fmla="*/ 1314952 w 5066244"/>
                <a:gd name="connsiteY6" fmla="*/ 319342 h 6734288"/>
                <a:gd name="connsiteX7" fmla="*/ 1355407 w 5066244"/>
                <a:gd name="connsiteY7" fmla="*/ 352592 h 6734288"/>
                <a:gd name="connsiteX8" fmla="*/ 1551949 w 5066244"/>
                <a:gd name="connsiteY8" fmla="*/ 288171 h 6734288"/>
                <a:gd name="connsiteX9" fmla="*/ 1511161 w 5066244"/>
                <a:gd name="connsiteY9" fmla="*/ 119840 h 6734288"/>
                <a:gd name="connsiteX10" fmla="*/ 1894404 w 5066244"/>
                <a:gd name="connsiteY10" fmla="*/ 0 h 6734288"/>
                <a:gd name="connsiteX11" fmla="*/ 1942702 w 5066244"/>
                <a:gd name="connsiteY11" fmla="*/ 165560 h 6734288"/>
                <a:gd name="connsiteX12" fmla="*/ 3706253 w 5066244"/>
                <a:gd name="connsiteY12" fmla="*/ 680900 h 6734288"/>
                <a:gd name="connsiteX13" fmla="*/ 4256383 w 5066244"/>
                <a:gd name="connsiteY13" fmla="*/ 1291242 h 6734288"/>
                <a:gd name="connsiteX14" fmla="*/ 4317787 w 5066244"/>
                <a:gd name="connsiteY14" fmla="*/ 1298860 h 6734288"/>
                <a:gd name="connsiteX15" fmla="*/ 4482628 w 5066244"/>
                <a:gd name="connsiteY15" fmla="*/ 1479661 h 6734288"/>
                <a:gd name="connsiteX16" fmla="*/ 4482851 w 5066244"/>
                <a:gd name="connsiteY16" fmla="*/ 1535080 h 6734288"/>
                <a:gd name="connsiteX17" fmla="*/ 4644115 w 5066244"/>
                <a:gd name="connsiteY17" fmla="*/ 1726990 h 6734288"/>
                <a:gd name="connsiteX18" fmla="*/ 5024103 w 5066244"/>
                <a:gd name="connsiteY18" fmla="*/ 3519512 h 6734288"/>
                <a:gd name="connsiteX19" fmla="*/ 4832024 w 5066244"/>
                <a:gd name="connsiteY19" fmla="*/ 4385669 h 6734288"/>
                <a:gd name="connsiteX20" fmla="*/ 4962240 w 5066244"/>
                <a:gd name="connsiteY20" fmla="*/ 4452156 h 6734288"/>
                <a:gd name="connsiteX21" fmla="*/ 4892791 w 5066244"/>
                <a:gd name="connsiteY21" fmla="*/ 4870077 h 6734288"/>
                <a:gd name="connsiteX22" fmla="*/ 4735262 w 5066244"/>
                <a:gd name="connsiteY22" fmla="*/ 4807792 h 6734288"/>
                <a:gd name="connsiteX23" fmla="*/ 3591864 w 5066244"/>
                <a:gd name="connsiteY23" fmla="*/ 6212288 h 6734288"/>
                <a:gd name="connsiteX24" fmla="*/ 3395733 w 5066244"/>
                <a:gd name="connsiteY24" fmla="*/ 5643346 h 6734288"/>
                <a:gd name="connsiteX25" fmla="*/ 4212664 w 5066244"/>
                <a:gd name="connsiteY25" fmla="*/ 4596953 h 6734288"/>
                <a:gd name="connsiteX26" fmla="*/ 4492713 w 5066244"/>
                <a:gd name="connsiteY26" fmla="*/ 3352779 h 6734288"/>
                <a:gd name="connsiteX27" fmla="*/ 4173897 w 5066244"/>
                <a:gd name="connsiteY27" fmla="*/ 2049487 h 6734288"/>
                <a:gd name="connsiteX28" fmla="*/ 3356644 w 5066244"/>
                <a:gd name="connsiteY28" fmla="*/ 1163055 h 6734288"/>
                <a:gd name="connsiteX29" fmla="*/ 2062378 w 5066244"/>
                <a:gd name="connsiteY29" fmla="*/ 761302 h 6734288"/>
                <a:gd name="connsiteX30" fmla="*/ 374339 w 5066244"/>
                <a:gd name="connsiteY30" fmla="*/ 5064132 h 6734288"/>
                <a:gd name="connsiteX31" fmla="*/ 730694 w 5066244"/>
                <a:gd name="connsiteY31" fmla="*/ 5436198 h 6734288"/>
                <a:gd name="connsiteX32" fmla="*/ 792928 w 5066244"/>
                <a:gd name="connsiteY32" fmla="*/ 5418743 h 6734288"/>
                <a:gd name="connsiteX33" fmla="*/ 896655 w 5066244"/>
                <a:gd name="connsiteY33" fmla="*/ 5533432 h 6734288"/>
                <a:gd name="connsiteX34" fmla="*/ 875910 w 5066244"/>
                <a:gd name="connsiteY34" fmla="*/ 5598255 h 6734288"/>
                <a:gd name="connsiteX35" fmla="*/ 965731 w 5066244"/>
                <a:gd name="connsiteY35" fmla="*/ 5692347 h 6734288"/>
                <a:gd name="connsiteX36" fmla="*/ 2266333 w 5066244"/>
                <a:gd name="connsiteY36" fmla="*/ 6017548 h 6734288"/>
                <a:gd name="connsiteX37" fmla="*/ 3391504 w 5066244"/>
                <a:gd name="connsiteY37" fmla="*/ 5644651 h 6734288"/>
                <a:gd name="connsiteX38" fmla="*/ 3588201 w 5066244"/>
                <a:gd name="connsiteY38" fmla="*/ 6217653 h 6734288"/>
                <a:gd name="connsiteX39" fmla="*/ 2249705 w 5066244"/>
                <a:gd name="connsiteY39" fmla="*/ 6660358 h 6734288"/>
                <a:gd name="connsiteX40" fmla="*/ 1871681 w 5066244"/>
                <a:gd name="connsiteY40" fmla="*/ 6682796 h 6734288"/>
                <a:gd name="connsiteX41" fmla="*/ 1793309 w 5066244"/>
                <a:gd name="connsiteY41" fmla="*/ 6590550 h 6734288"/>
                <a:gd name="connsiteX42" fmla="*/ 1110759 w 5066244"/>
                <a:gd name="connsiteY42" fmla="*/ 6734288 h 6734288"/>
                <a:gd name="connsiteX43" fmla="*/ 760659 w 5066244"/>
                <a:gd name="connsiteY43" fmla="*/ 6346215 h 6734288"/>
                <a:gd name="connsiteX44" fmla="*/ 723779 w 5066244"/>
                <a:gd name="connsiteY44" fmla="*/ 6338736 h 6734288"/>
                <a:gd name="connsiteX45" fmla="*/ 567036 w 5066244"/>
                <a:gd name="connsiteY45" fmla="*/ 6164212 h 6734288"/>
                <a:gd name="connsiteX46" fmla="*/ 553207 w 5066244"/>
                <a:gd name="connsiteY46" fmla="*/ 6184157 h 6734288"/>
                <a:gd name="connsiteX47" fmla="*/ 527852 w 5066244"/>
                <a:gd name="connsiteY47" fmla="*/ 6151747 h 6734288"/>
                <a:gd name="connsiteX48" fmla="*/ 486361 w 5066244"/>
                <a:gd name="connsiteY48" fmla="*/ 6209090 h 6734288"/>
                <a:gd name="connsiteX49" fmla="*/ 371110 w 5066244"/>
                <a:gd name="connsiteY49" fmla="*/ 6081936 h 6734288"/>
                <a:gd name="connsiteX50" fmla="*/ 414905 w 5066244"/>
                <a:gd name="connsiteY50" fmla="*/ 6032071 h 6734288"/>
                <a:gd name="connsiteX51" fmla="*/ 182098 w 5066244"/>
                <a:gd name="connsiteY51" fmla="*/ 5782751 h 6734288"/>
                <a:gd name="connsiteX52" fmla="*/ 195928 w 5066244"/>
                <a:gd name="connsiteY52" fmla="*/ 5755327 h 6734288"/>
                <a:gd name="connsiteX53" fmla="*/ 0 w 5066244"/>
                <a:gd name="connsiteY53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51949 w 5066244"/>
                <a:gd name="connsiteY7" fmla="*/ 288171 h 6734288"/>
                <a:gd name="connsiteX8" fmla="*/ 1511161 w 5066244"/>
                <a:gd name="connsiteY8" fmla="*/ 119840 h 6734288"/>
                <a:gd name="connsiteX9" fmla="*/ 1894404 w 5066244"/>
                <a:gd name="connsiteY9" fmla="*/ 0 h 6734288"/>
                <a:gd name="connsiteX10" fmla="*/ 1942702 w 5066244"/>
                <a:gd name="connsiteY10" fmla="*/ 165560 h 6734288"/>
                <a:gd name="connsiteX11" fmla="*/ 3706253 w 5066244"/>
                <a:gd name="connsiteY11" fmla="*/ 680900 h 6734288"/>
                <a:gd name="connsiteX12" fmla="*/ 4256383 w 5066244"/>
                <a:gd name="connsiteY12" fmla="*/ 1291242 h 6734288"/>
                <a:gd name="connsiteX13" fmla="*/ 4317787 w 5066244"/>
                <a:gd name="connsiteY13" fmla="*/ 1298860 h 6734288"/>
                <a:gd name="connsiteX14" fmla="*/ 4482628 w 5066244"/>
                <a:gd name="connsiteY14" fmla="*/ 1479661 h 6734288"/>
                <a:gd name="connsiteX15" fmla="*/ 4482851 w 5066244"/>
                <a:gd name="connsiteY15" fmla="*/ 1535080 h 6734288"/>
                <a:gd name="connsiteX16" fmla="*/ 4644115 w 5066244"/>
                <a:gd name="connsiteY16" fmla="*/ 1726990 h 6734288"/>
                <a:gd name="connsiteX17" fmla="*/ 5024103 w 5066244"/>
                <a:gd name="connsiteY17" fmla="*/ 3519512 h 6734288"/>
                <a:gd name="connsiteX18" fmla="*/ 4832024 w 5066244"/>
                <a:gd name="connsiteY18" fmla="*/ 4385669 h 6734288"/>
                <a:gd name="connsiteX19" fmla="*/ 4962240 w 5066244"/>
                <a:gd name="connsiteY19" fmla="*/ 4452156 h 6734288"/>
                <a:gd name="connsiteX20" fmla="*/ 4892791 w 5066244"/>
                <a:gd name="connsiteY20" fmla="*/ 4870077 h 6734288"/>
                <a:gd name="connsiteX21" fmla="*/ 4735262 w 5066244"/>
                <a:gd name="connsiteY21" fmla="*/ 4807792 h 6734288"/>
                <a:gd name="connsiteX22" fmla="*/ 3591864 w 5066244"/>
                <a:gd name="connsiteY22" fmla="*/ 6212288 h 6734288"/>
                <a:gd name="connsiteX23" fmla="*/ 3395733 w 5066244"/>
                <a:gd name="connsiteY23" fmla="*/ 5643346 h 6734288"/>
                <a:gd name="connsiteX24" fmla="*/ 4212664 w 5066244"/>
                <a:gd name="connsiteY24" fmla="*/ 4596953 h 6734288"/>
                <a:gd name="connsiteX25" fmla="*/ 4492713 w 5066244"/>
                <a:gd name="connsiteY25" fmla="*/ 3352779 h 6734288"/>
                <a:gd name="connsiteX26" fmla="*/ 4173897 w 5066244"/>
                <a:gd name="connsiteY26" fmla="*/ 2049487 h 6734288"/>
                <a:gd name="connsiteX27" fmla="*/ 3356644 w 5066244"/>
                <a:gd name="connsiteY27" fmla="*/ 1163055 h 6734288"/>
                <a:gd name="connsiteX28" fmla="*/ 2062378 w 5066244"/>
                <a:gd name="connsiteY28" fmla="*/ 761302 h 6734288"/>
                <a:gd name="connsiteX29" fmla="*/ 374339 w 5066244"/>
                <a:gd name="connsiteY29" fmla="*/ 5064132 h 6734288"/>
                <a:gd name="connsiteX30" fmla="*/ 730694 w 5066244"/>
                <a:gd name="connsiteY30" fmla="*/ 5436198 h 6734288"/>
                <a:gd name="connsiteX31" fmla="*/ 792928 w 5066244"/>
                <a:gd name="connsiteY31" fmla="*/ 5418743 h 6734288"/>
                <a:gd name="connsiteX32" fmla="*/ 896655 w 5066244"/>
                <a:gd name="connsiteY32" fmla="*/ 5533432 h 6734288"/>
                <a:gd name="connsiteX33" fmla="*/ 875910 w 5066244"/>
                <a:gd name="connsiteY33" fmla="*/ 5598255 h 6734288"/>
                <a:gd name="connsiteX34" fmla="*/ 965731 w 5066244"/>
                <a:gd name="connsiteY34" fmla="*/ 5692347 h 6734288"/>
                <a:gd name="connsiteX35" fmla="*/ 2266333 w 5066244"/>
                <a:gd name="connsiteY35" fmla="*/ 6017548 h 6734288"/>
                <a:gd name="connsiteX36" fmla="*/ 3391504 w 5066244"/>
                <a:gd name="connsiteY36" fmla="*/ 5644651 h 6734288"/>
                <a:gd name="connsiteX37" fmla="*/ 3588201 w 5066244"/>
                <a:gd name="connsiteY37" fmla="*/ 6217653 h 6734288"/>
                <a:gd name="connsiteX38" fmla="*/ 2249705 w 5066244"/>
                <a:gd name="connsiteY38" fmla="*/ 6660358 h 6734288"/>
                <a:gd name="connsiteX39" fmla="*/ 1871681 w 5066244"/>
                <a:gd name="connsiteY39" fmla="*/ 6682796 h 6734288"/>
                <a:gd name="connsiteX40" fmla="*/ 1793309 w 5066244"/>
                <a:gd name="connsiteY40" fmla="*/ 6590550 h 6734288"/>
                <a:gd name="connsiteX41" fmla="*/ 1110759 w 5066244"/>
                <a:gd name="connsiteY41" fmla="*/ 6734288 h 6734288"/>
                <a:gd name="connsiteX42" fmla="*/ 760659 w 5066244"/>
                <a:gd name="connsiteY42" fmla="*/ 6346215 h 6734288"/>
                <a:gd name="connsiteX43" fmla="*/ 723779 w 5066244"/>
                <a:gd name="connsiteY43" fmla="*/ 6338736 h 6734288"/>
                <a:gd name="connsiteX44" fmla="*/ 567036 w 5066244"/>
                <a:gd name="connsiteY44" fmla="*/ 6164212 h 6734288"/>
                <a:gd name="connsiteX45" fmla="*/ 553207 w 5066244"/>
                <a:gd name="connsiteY45" fmla="*/ 6184157 h 6734288"/>
                <a:gd name="connsiteX46" fmla="*/ 527852 w 5066244"/>
                <a:gd name="connsiteY46" fmla="*/ 6151747 h 6734288"/>
                <a:gd name="connsiteX47" fmla="*/ 486361 w 5066244"/>
                <a:gd name="connsiteY47" fmla="*/ 6209090 h 6734288"/>
                <a:gd name="connsiteX48" fmla="*/ 371110 w 5066244"/>
                <a:gd name="connsiteY48" fmla="*/ 6081936 h 6734288"/>
                <a:gd name="connsiteX49" fmla="*/ 414905 w 5066244"/>
                <a:gd name="connsiteY49" fmla="*/ 6032071 h 6734288"/>
                <a:gd name="connsiteX50" fmla="*/ 182098 w 5066244"/>
                <a:gd name="connsiteY50" fmla="*/ 5782751 h 6734288"/>
                <a:gd name="connsiteX51" fmla="*/ 195928 w 5066244"/>
                <a:gd name="connsiteY51" fmla="*/ 5755327 h 6734288"/>
                <a:gd name="connsiteX52" fmla="*/ 0 w 5066244"/>
                <a:gd name="connsiteY52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1048586 w 5066244"/>
                <a:gd name="connsiteY2" fmla="*/ 442651 h 6734288"/>
                <a:gd name="connsiteX3" fmla="*/ 1079065 w 5066244"/>
                <a:gd name="connsiteY3" fmla="*/ 393463 h 6734288"/>
                <a:gd name="connsiteX4" fmla="*/ 1314952 w 5066244"/>
                <a:gd name="connsiteY4" fmla="*/ 319342 h 6734288"/>
                <a:gd name="connsiteX5" fmla="*/ 1355407 w 5066244"/>
                <a:gd name="connsiteY5" fmla="*/ 352592 h 6734288"/>
                <a:gd name="connsiteX6" fmla="*/ 1551949 w 5066244"/>
                <a:gd name="connsiteY6" fmla="*/ 288171 h 6734288"/>
                <a:gd name="connsiteX7" fmla="*/ 1511161 w 5066244"/>
                <a:gd name="connsiteY7" fmla="*/ 119840 h 6734288"/>
                <a:gd name="connsiteX8" fmla="*/ 1894404 w 5066244"/>
                <a:gd name="connsiteY8" fmla="*/ 0 h 6734288"/>
                <a:gd name="connsiteX9" fmla="*/ 1942702 w 5066244"/>
                <a:gd name="connsiteY9" fmla="*/ 165560 h 6734288"/>
                <a:gd name="connsiteX10" fmla="*/ 3706253 w 5066244"/>
                <a:gd name="connsiteY10" fmla="*/ 680900 h 6734288"/>
                <a:gd name="connsiteX11" fmla="*/ 4256383 w 5066244"/>
                <a:gd name="connsiteY11" fmla="*/ 1291242 h 6734288"/>
                <a:gd name="connsiteX12" fmla="*/ 4317787 w 5066244"/>
                <a:gd name="connsiteY12" fmla="*/ 1298860 h 6734288"/>
                <a:gd name="connsiteX13" fmla="*/ 4482628 w 5066244"/>
                <a:gd name="connsiteY13" fmla="*/ 1479661 h 6734288"/>
                <a:gd name="connsiteX14" fmla="*/ 4482851 w 5066244"/>
                <a:gd name="connsiteY14" fmla="*/ 1535080 h 6734288"/>
                <a:gd name="connsiteX15" fmla="*/ 4644115 w 5066244"/>
                <a:gd name="connsiteY15" fmla="*/ 1726990 h 6734288"/>
                <a:gd name="connsiteX16" fmla="*/ 5024103 w 5066244"/>
                <a:gd name="connsiteY16" fmla="*/ 3519512 h 6734288"/>
                <a:gd name="connsiteX17" fmla="*/ 4832024 w 5066244"/>
                <a:gd name="connsiteY17" fmla="*/ 4385669 h 6734288"/>
                <a:gd name="connsiteX18" fmla="*/ 4962240 w 5066244"/>
                <a:gd name="connsiteY18" fmla="*/ 4452156 h 6734288"/>
                <a:gd name="connsiteX19" fmla="*/ 4892791 w 5066244"/>
                <a:gd name="connsiteY19" fmla="*/ 4870077 h 6734288"/>
                <a:gd name="connsiteX20" fmla="*/ 4735262 w 5066244"/>
                <a:gd name="connsiteY20" fmla="*/ 4807792 h 6734288"/>
                <a:gd name="connsiteX21" fmla="*/ 3591864 w 5066244"/>
                <a:gd name="connsiteY21" fmla="*/ 6212288 h 6734288"/>
                <a:gd name="connsiteX22" fmla="*/ 3395733 w 5066244"/>
                <a:gd name="connsiteY22" fmla="*/ 5643346 h 6734288"/>
                <a:gd name="connsiteX23" fmla="*/ 4212664 w 5066244"/>
                <a:gd name="connsiteY23" fmla="*/ 4596953 h 6734288"/>
                <a:gd name="connsiteX24" fmla="*/ 4492713 w 5066244"/>
                <a:gd name="connsiteY24" fmla="*/ 3352779 h 6734288"/>
                <a:gd name="connsiteX25" fmla="*/ 4173897 w 5066244"/>
                <a:gd name="connsiteY25" fmla="*/ 2049487 h 6734288"/>
                <a:gd name="connsiteX26" fmla="*/ 3356644 w 5066244"/>
                <a:gd name="connsiteY26" fmla="*/ 1163055 h 6734288"/>
                <a:gd name="connsiteX27" fmla="*/ 2062378 w 5066244"/>
                <a:gd name="connsiteY27" fmla="*/ 761302 h 6734288"/>
                <a:gd name="connsiteX28" fmla="*/ 374339 w 5066244"/>
                <a:gd name="connsiteY28" fmla="*/ 5064132 h 6734288"/>
                <a:gd name="connsiteX29" fmla="*/ 730694 w 5066244"/>
                <a:gd name="connsiteY29" fmla="*/ 5436198 h 6734288"/>
                <a:gd name="connsiteX30" fmla="*/ 792928 w 5066244"/>
                <a:gd name="connsiteY30" fmla="*/ 5418743 h 6734288"/>
                <a:gd name="connsiteX31" fmla="*/ 896655 w 5066244"/>
                <a:gd name="connsiteY31" fmla="*/ 5533432 h 6734288"/>
                <a:gd name="connsiteX32" fmla="*/ 875910 w 5066244"/>
                <a:gd name="connsiteY32" fmla="*/ 5598255 h 6734288"/>
                <a:gd name="connsiteX33" fmla="*/ 965731 w 5066244"/>
                <a:gd name="connsiteY33" fmla="*/ 5692347 h 6734288"/>
                <a:gd name="connsiteX34" fmla="*/ 2266333 w 5066244"/>
                <a:gd name="connsiteY34" fmla="*/ 6017548 h 6734288"/>
                <a:gd name="connsiteX35" fmla="*/ 3391504 w 5066244"/>
                <a:gd name="connsiteY35" fmla="*/ 5644651 h 6734288"/>
                <a:gd name="connsiteX36" fmla="*/ 3588201 w 5066244"/>
                <a:gd name="connsiteY36" fmla="*/ 6217653 h 6734288"/>
                <a:gd name="connsiteX37" fmla="*/ 2249705 w 5066244"/>
                <a:gd name="connsiteY37" fmla="*/ 6660358 h 6734288"/>
                <a:gd name="connsiteX38" fmla="*/ 1871681 w 5066244"/>
                <a:gd name="connsiteY38" fmla="*/ 6682796 h 6734288"/>
                <a:gd name="connsiteX39" fmla="*/ 1793309 w 5066244"/>
                <a:gd name="connsiteY39" fmla="*/ 6590550 h 6734288"/>
                <a:gd name="connsiteX40" fmla="*/ 1110759 w 5066244"/>
                <a:gd name="connsiteY40" fmla="*/ 6734288 h 6734288"/>
                <a:gd name="connsiteX41" fmla="*/ 760659 w 5066244"/>
                <a:gd name="connsiteY41" fmla="*/ 6346215 h 6734288"/>
                <a:gd name="connsiteX42" fmla="*/ 723779 w 5066244"/>
                <a:gd name="connsiteY42" fmla="*/ 6338736 h 6734288"/>
                <a:gd name="connsiteX43" fmla="*/ 567036 w 5066244"/>
                <a:gd name="connsiteY43" fmla="*/ 6164212 h 6734288"/>
                <a:gd name="connsiteX44" fmla="*/ 553207 w 5066244"/>
                <a:gd name="connsiteY44" fmla="*/ 6184157 h 6734288"/>
                <a:gd name="connsiteX45" fmla="*/ 527852 w 5066244"/>
                <a:gd name="connsiteY45" fmla="*/ 6151747 h 6734288"/>
                <a:gd name="connsiteX46" fmla="*/ 486361 w 5066244"/>
                <a:gd name="connsiteY46" fmla="*/ 6209090 h 6734288"/>
                <a:gd name="connsiteX47" fmla="*/ 371110 w 5066244"/>
                <a:gd name="connsiteY47" fmla="*/ 6081936 h 6734288"/>
                <a:gd name="connsiteX48" fmla="*/ 414905 w 5066244"/>
                <a:gd name="connsiteY48" fmla="*/ 6032071 h 6734288"/>
                <a:gd name="connsiteX49" fmla="*/ 182098 w 5066244"/>
                <a:gd name="connsiteY49" fmla="*/ 5782751 h 6734288"/>
                <a:gd name="connsiteX50" fmla="*/ 195928 w 5066244"/>
                <a:gd name="connsiteY50" fmla="*/ 5755327 h 6734288"/>
                <a:gd name="connsiteX51" fmla="*/ 0 w 5066244"/>
                <a:gd name="connsiteY51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51949 w 5066244"/>
                <a:gd name="connsiteY7" fmla="*/ 288171 h 6734288"/>
                <a:gd name="connsiteX8" fmla="*/ 1511161 w 5066244"/>
                <a:gd name="connsiteY8" fmla="*/ 119840 h 6734288"/>
                <a:gd name="connsiteX9" fmla="*/ 1894404 w 5066244"/>
                <a:gd name="connsiteY9" fmla="*/ 0 h 6734288"/>
                <a:gd name="connsiteX10" fmla="*/ 1942702 w 5066244"/>
                <a:gd name="connsiteY10" fmla="*/ 165560 h 6734288"/>
                <a:gd name="connsiteX11" fmla="*/ 3706253 w 5066244"/>
                <a:gd name="connsiteY11" fmla="*/ 680900 h 6734288"/>
                <a:gd name="connsiteX12" fmla="*/ 4256383 w 5066244"/>
                <a:gd name="connsiteY12" fmla="*/ 1291242 h 6734288"/>
                <a:gd name="connsiteX13" fmla="*/ 4317787 w 5066244"/>
                <a:gd name="connsiteY13" fmla="*/ 1298860 h 6734288"/>
                <a:gd name="connsiteX14" fmla="*/ 4482628 w 5066244"/>
                <a:gd name="connsiteY14" fmla="*/ 1479661 h 6734288"/>
                <a:gd name="connsiteX15" fmla="*/ 4482851 w 5066244"/>
                <a:gd name="connsiteY15" fmla="*/ 1535080 h 6734288"/>
                <a:gd name="connsiteX16" fmla="*/ 4644115 w 5066244"/>
                <a:gd name="connsiteY16" fmla="*/ 1726990 h 6734288"/>
                <a:gd name="connsiteX17" fmla="*/ 5024103 w 5066244"/>
                <a:gd name="connsiteY17" fmla="*/ 3519512 h 6734288"/>
                <a:gd name="connsiteX18" fmla="*/ 4832024 w 5066244"/>
                <a:gd name="connsiteY18" fmla="*/ 4385669 h 6734288"/>
                <a:gd name="connsiteX19" fmla="*/ 4962240 w 5066244"/>
                <a:gd name="connsiteY19" fmla="*/ 4452156 h 6734288"/>
                <a:gd name="connsiteX20" fmla="*/ 4892791 w 5066244"/>
                <a:gd name="connsiteY20" fmla="*/ 4870077 h 6734288"/>
                <a:gd name="connsiteX21" fmla="*/ 4735262 w 5066244"/>
                <a:gd name="connsiteY21" fmla="*/ 4807792 h 6734288"/>
                <a:gd name="connsiteX22" fmla="*/ 3591864 w 5066244"/>
                <a:gd name="connsiteY22" fmla="*/ 6212288 h 6734288"/>
                <a:gd name="connsiteX23" fmla="*/ 3395733 w 5066244"/>
                <a:gd name="connsiteY23" fmla="*/ 5643346 h 6734288"/>
                <a:gd name="connsiteX24" fmla="*/ 4212664 w 5066244"/>
                <a:gd name="connsiteY24" fmla="*/ 4596953 h 6734288"/>
                <a:gd name="connsiteX25" fmla="*/ 4492713 w 5066244"/>
                <a:gd name="connsiteY25" fmla="*/ 3352779 h 6734288"/>
                <a:gd name="connsiteX26" fmla="*/ 4173897 w 5066244"/>
                <a:gd name="connsiteY26" fmla="*/ 2049487 h 6734288"/>
                <a:gd name="connsiteX27" fmla="*/ 3356644 w 5066244"/>
                <a:gd name="connsiteY27" fmla="*/ 1163055 h 6734288"/>
                <a:gd name="connsiteX28" fmla="*/ 2062378 w 5066244"/>
                <a:gd name="connsiteY28" fmla="*/ 761302 h 6734288"/>
                <a:gd name="connsiteX29" fmla="*/ 374339 w 5066244"/>
                <a:gd name="connsiteY29" fmla="*/ 5064132 h 6734288"/>
                <a:gd name="connsiteX30" fmla="*/ 730694 w 5066244"/>
                <a:gd name="connsiteY30" fmla="*/ 5436198 h 6734288"/>
                <a:gd name="connsiteX31" fmla="*/ 792928 w 5066244"/>
                <a:gd name="connsiteY31" fmla="*/ 5418743 h 6734288"/>
                <a:gd name="connsiteX32" fmla="*/ 896655 w 5066244"/>
                <a:gd name="connsiteY32" fmla="*/ 5533432 h 6734288"/>
                <a:gd name="connsiteX33" fmla="*/ 875910 w 5066244"/>
                <a:gd name="connsiteY33" fmla="*/ 5598255 h 6734288"/>
                <a:gd name="connsiteX34" fmla="*/ 965731 w 5066244"/>
                <a:gd name="connsiteY34" fmla="*/ 5692347 h 6734288"/>
                <a:gd name="connsiteX35" fmla="*/ 2266333 w 5066244"/>
                <a:gd name="connsiteY35" fmla="*/ 6017548 h 6734288"/>
                <a:gd name="connsiteX36" fmla="*/ 3391504 w 5066244"/>
                <a:gd name="connsiteY36" fmla="*/ 5644651 h 6734288"/>
                <a:gd name="connsiteX37" fmla="*/ 3588201 w 5066244"/>
                <a:gd name="connsiteY37" fmla="*/ 6217653 h 6734288"/>
                <a:gd name="connsiteX38" fmla="*/ 2249705 w 5066244"/>
                <a:gd name="connsiteY38" fmla="*/ 6660358 h 6734288"/>
                <a:gd name="connsiteX39" fmla="*/ 1871681 w 5066244"/>
                <a:gd name="connsiteY39" fmla="*/ 6682796 h 6734288"/>
                <a:gd name="connsiteX40" fmla="*/ 1793309 w 5066244"/>
                <a:gd name="connsiteY40" fmla="*/ 6590550 h 6734288"/>
                <a:gd name="connsiteX41" fmla="*/ 1110759 w 5066244"/>
                <a:gd name="connsiteY41" fmla="*/ 6734288 h 6734288"/>
                <a:gd name="connsiteX42" fmla="*/ 760659 w 5066244"/>
                <a:gd name="connsiteY42" fmla="*/ 6346215 h 6734288"/>
                <a:gd name="connsiteX43" fmla="*/ 723779 w 5066244"/>
                <a:gd name="connsiteY43" fmla="*/ 6338736 h 6734288"/>
                <a:gd name="connsiteX44" fmla="*/ 567036 w 5066244"/>
                <a:gd name="connsiteY44" fmla="*/ 6164212 h 6734288"/>
                <a:gd name="connsiteX45" fmla="*/ 553207 w 5066244"/>
                <a:gd name="connsiteY45" fmla="*/ 6184157 h 6734288"/>
                <a:gd name="connsiteX46" fmla="*/ 527852 w 5066244"/>
                <a:gd name="connsiteY46" fmla="*/ 6151747 h 6734288"/>
                <a:gd name="connsiteX47" fmla="*/ 486361 w 5066244"/>
                <a:gd name="connsiteY47" fmla="*/ 6209090 h 6734288"/>
                <a:gd name="connsiteX48" fmla="*/ 371110 w 5066244"/>
                <a:gd name="connsiteY48" fmla="*/ 6081936 h 6734288"/>
                <a:gd name="connsiteX49" fmla="*/ 414905 w 5066244"/>
                <a:gd name="connsiteY49" fmla="*/ 6032071 h 6734288"/>
                <a:gd name="connsiteX50" fmla="*/ 182098 w 5066244"/>
                <a:gd name="connsiteY50" fmla="*/ 5782751 h 6734288"/>
                <a:gd name="connsiteX51" fmla="*/ 195928 w 5066244"/>
                <a:gd name="connsiteY51" fmla="*/ 5755327 h 6734288"/>
                <a:gd name="connsiteX52" fmla="*/ 0 w 5066244"/>
                <a:gd name="connsiteY52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11161 w 5066244"/>
                <a:gd name="connsiteY7" fmla="*/ 119840 h 6734288"/>
                <a:gd name="connsiteX8" fmla="*/ 1894404 w 5066244"/>
                <a:gd name="connsiteY8" fmla="*/ 0 h 6734288"/>
                <a:gd name="connsiteX9" fmla="*/ 1942702 w 5066244"/>
                <a:gd name="connsiteY9" fmla="*/ 165560 h 6734288"/>
                <a:gd name="connsiteX10" fmla="*/ 3706253 w 5066244"/>
                <a:gd name="connsiteY10" fmla="*/ 680900 h 6734288"/>
                <a:gd name="connsiteX11" fmla="*/ 4256383 w 5066244"/>
                <a:gd name="connsiteY11" fmla="*/ 1291242 h 6734288"/>
                <a:gd name="connsiteX12" fmla="*/ 4317787 w 5066244"/>
                <a:gd name="connsiteY12" fmla="*/ 1298860 h 6734288"/>
                <a:gd name="connsiteX13" fmla="*/ 4482628 w 5066244"/>
                <a:gd name="connsiteY13" fmla="*/ 1479661 h 6734288"/>
                <a:gd name="connsiteX14" fmla="*/ 4482851 w 5066244"/>
                <a:gd name="connsiteY14" fmla="*/ 1535080 h 6734288"/>
                <a:gd name="connsiteX15" fmla="*/ 4644115 w 5066244"/>
                <a:gd name="connsiteY15" fmla="*/ 1726990 h 6734288"/>
                <a:gd name="connsiteX16" fmla="*/ 5024103 w 5066244"/>
                <a:gd name="connsiteY16" fmla="*/ 3519512 h 6734288"/>
                <a:gd name="connsiteX17" fmla="*/ 4832024 w 5066244"/>
                <a:gd name="connsiteY17" fmla="*/ 4385669 h 6734288"/>
                <a:gd name="connsiteX18" fmla="*/ 4962240 w 5066244"/>
                <a:gd name="connsiteY18" fmla="*/ 4452156 h 6734288"/>
                <a:gd name="connsiteX19" fmla="*/ 4892791 w 5066244"/>
                <a:gd name="connsiteY19" fmla="*/ 4870077 h 6734288"/>
                <a:gd name="connsiteX20" fmla="*/ 4735262 w 5066244"/>
                <a:gd name="connsiteY20" fmla="*/ 4807792 h 6734288"/>
                <a:gd name="connsiteX21" fmla="*/ 3591864 w 5066244"/>
                <a:gd name="connsiteY21" fmla="*/ 6212288 h 6734288"/>
                <a:gd name="connsiteX22" fmla="*/ 3395733 w 5066244"/>
                <a:gd name="connsiteY22" fmla="*/ 5643346 h 6734288"/>
                <a:gd name="connsiteX23" fmla="*/ 4212664 w 5066244"/>
                <a:gd name="connsiteY23" fmla="*/ 4596953 h 6734288"/>
                <a:gd name="connsiteX24" fmla="*/ 4492713 w 5066244"/>
                <a:gd name="connsiteY24" fmla="*/ 3352779 h 6734288"/>
                <a:gd name="connsiteX25" fmla="*/ 4173897 w 5066244"/>
                <a:gd name="connsiteY25" fmla="*/ 2049487 h 6734288"/>
                <a:gd name="connsiteX26" fmla="*/ 3356644 w 5066244"/>
                <a:gd name="connsiteY26" fmla="*/ 1163055 h 6734288"/>
                <a:gd name="connsiteX27" fmla="*/ 2062378 w 5066244"/>
                <a:gd name="connsiteY27" fmla="*/ 761302 h 6734288"/>
                <a:gd name="connsiteX28" fmla="*/ 374339 w 5066244"/>
                <a:gd name="connsiteY28" fmla="*/ 5064132 h 6734288"/>
                <a:gd name="connsiteX29" fmla="*/ 730694 w 5066244"/>
                <a:gd name="connsiteY29" fmla="*/ 5436198 h 6734288"/>
                <a:gd name="connsiteX30" fmla="*/ 792928 w 5066244"/>
                <a:gd name="connsiteY30" fmla="*/ 5418743 h 6734288"/>
                <a:gd name="connsiteX31" fmla="*/ 896655 w 5066244"/>
                <a:gd name="connsiteY31" fmla="*/ 5533432 h 6734288"/>
                <a:gd name="connsiteX32" fmla="*/ 875910 w 5066244"/>
                <a:gd name="connsiteY32" fmla="*/ 5598255 h 6734288"/>
                <a:gd name="connsiteX33" fmla="*/ 965731 w 5066244"/>
                <a:gd name="connsiteY33" fmla="*/ 5692347 h 6734288"/>
                <a:gd name="connsiteX34" fmla="*/ 2266333 w 5066244"/>
                <a:gd name="connsiteY34" fmla="*/ 6017548 h 6734288"/>
                <a:gd name="connsiteX35" fmla="*/ 3391504 w 5066244"/>
                <a:gd name="connsiteY35" fmla="*/ 5644651 h 6734288"/>
                <a:gd name="connsiteX36" fmla="*/ 3588201 w 5066244"/>
                <a:gd name="connsiteY36" fmla="*/ 6217653 h 6734288"/>
                <a:gd name="connsiteX37" fmla="*/ 2249705 w 5066244"/>
                <a:gd name="connsiteY37" fmla="*/ 6660358 h 6734288"/>
                <a:gd name="connsiteX38" fmla="*/ 1871681 w 5066244"/>
                <a:gd name="connsiteY38" fmla="*/ 6682796 h 6734288"/>
                <a:gd name="connsiteX39" fmla="*/ 1793309 w 5066244"/>
                <a:gd name="connsiteY39" fmla="*/ 6590550 h 6734288"/>
                <a:gd name="connsiteX40" fmla="*/ 1110759 w 5066244"/>
                <a:gd name="connsiteY40" fmla="*/ 6734288 h 6734288"/>
                <a:gd name="connsiteX41" fmla="*/ 760659 w 5066244"/>
                <a:gd name="connsiteY41" fmla="*/ 6346215 h 6734288"/>
                <a:gd name="connsiteX42" fmla="*/ 723779 w 5066244"/>
                <a:gd name="connsiteY42" fmla="*/ 6338736 h 6734288"/>
                <a:gd name="connsiteX43" fmla="*/ 567036 w 5066244"/>
                <a:gd name="connsiteY43" fmla="*/ 6164212 h 6734288"/>
                <a:gd name="connsiteX44" fmla="*/ 553207 w 5066244"/>
                <a:gd name="connsiteY44" fmla="*/ 6184157 h 6734288"/>
                <a:gd name="connsiteX45" fmla="*/ 527852 w 5066244"/>
                <a:gd name="connsiteY45" fmla="*/ 6151747 h 6734288"/>
                <a:gd name="connsiteX46" fmla="*/ 486361 w 5066244"/>
                <a:gd name="connsiteY46" fmla="*/ 6209090 h 6734288"/>
                <a:gd name="connsiteX47" fmla="*/ 371110 w 5066244"/>
                <a:gd name="connsiteY47" fmla="*/ 6081936 h 6734288"/>
                <a:gd name="connsiteX48" fmla="*/ 414905 w 5066244"/>
                <a:gd name="connsiteY48" fmla="*/ 6032071 h 6734288"/>
                <a:gd name="connsiteX49" fmla="*/ 182098 w 5066244"/>
                <a:gd name="connsiteY49" fmla="*/ 5782751 h 6734288"/>
                <a:gd name="connsiteX50" fmla="*/ 195928 w 5066244"/>
                <a:gd name="connsiteY50" fmla="*/ 5755327 h 6734288"/>
                <a:gd name="connsiteX51" fmla="*/ 0 w 5066244"/>
                <a:gd name="connsiteY51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511161 w 5066244"/>
                <a:gd name="connsiteY6" fmla="*/ 119840 h 6734288"/>
                <a:gd name="connsiteX7" fmla="*/ 1894404 w 5066244"/>
                <a:gd name="connsiteY7" fmla="*/ 0 h 6734288"/>
                <a:gd name="connsiteX8" fmla="*/ 1942702 w 5066244"/>
                <a:gd name="connsiteY8" fmla="*/ 165560 h 6734288"/>
                <a:gd name="connsiteX9" fmla="*/ 3706253 w 5066244"/>
                <a:gd name="connsiteY9" fmla="*/ 680900 h 6734288"/>
                <a:gd name="connsiteX10" fmla="*/ 4256383 w 5066244"/>
                <a:gd name="connsiteY10" fmla="*/ 1291242 h 6734288"/>
                <a:gd name="connsiteX11" fmla="*/ 4317787 w 5066244"/>
                <a:gd name="connsiteY11" fmla="*/ 1298860 h 6734288"/>
                <a:gd name="connsiteX12" fmla="*/ 4482628 w 5066244"/>
                <a:gd name="connsiteY12" fmla="*/ 1479661 h 6734288"/>
                <a:gd name="connsiteX13" fmla="*/ 4482851 w 5066244"/>
                <a:gd name="connsiteY13" fmla="*/ 1535080 h 6734288"/>
                <a:gd name="connsiteX14" fmla="*/ 4644115 w 5066244"/>
                <a:gd name="connsiteY14" fmla="*/ 1726990 h 6734288"/>
                <a:gd name="connsiteX15" fmla="*/ 5024103 w 5066244"/>
                <a:gd name="connsiteY15" fmla="*/ 3519512 h 6734288"/>
                <a:gd name="connsiteX16" fmla="*/ 4832024 w 5066244"/>
                <a:gd name="connsiteY16" fmla="*/ 4385669 h 6734288"/>
                <a:gd name="connsiteX17" fmla="*/ 4962240 w 5066244"/>
                <a:gd name="connsiteY17" fmla="*/ 4452156 h 6734288"/>
                <a:gd name="connsiteX18" fmla="*/ 4892791 w 5066244"/>
                <a:gd name="connsiteY18" fmla="*/ 4870077 h 6734288"/>
                <a:gd name="connsiteX19" fmla="*/ 4735262 w 5066244"/>
                <a:gd name="connsiteY19" fmla="*/ 4807792 h 6734288"/>
                <a:gd name="connsiteX20" fmla="*/ 3591864 w 5066244"/>
                <a:gd name="connsiteY20" fmla="*/ 6212288 h 6734288"/>
                <a:gd name="connsiteX21" fmla="*/ 3395733 w 5066244"/>
                <a:gd name="connsiteY21" fmla="*/ 5643346 h 6734288"/>
                <a:gd name="connsiteX22" fmla="*/ 4212664 w 5066244"/>
                <a:gd name="connsiteY22" fmla="*/ 4596953 h 6734288"/>
                <a:gd name="connsiteX23" fmla="*/ 4492713 w 5066244"/>
                <a:gd name="connsiteY23" fmla="*/ 3352779 h 6734288"/>
                <a:gd name="connsiteX24" fmla="*/ 4173897 w 5066244"/>
                <a:gd name="connsiteY24" fmla="*/ 2049487 h 6734288"/>
                <a:gd name="connsiteX25" fmla="*/ 3356644 w 5066244"/>
                <a:gd name="connsiteY25" fmla="*/ 1163055 h 6734288"/>
                <a:gd name="connsiteX26" fmla="*/ 2062378 w 5066244"/>
                <a:gd name="connsiteY26" fmla="*/ 761302 h 6734288"/>
                <a:gd name="connsiteX27" fmla="*/ 374339 w 5066244"/>
                <a:gd name="connsiteY27" fmla="*/ 5064132 h 6734288"/>
                <a:gd name="connsiteX28" fmla="*/ 730694 w 5066244"/>
                <a:gd name="connsiteY28" fmla="*/ 5436198 h 6734288"/>
                <a:gd name="connsiteX29" fmla="*/ 792928 w 5066244"/>
                <a:gd name="connsiteY29" fmla="*/ 5418743 h 6734288"/>
                <a:gd name="connsiteX30" fmla="*/ 896655 w 5066244"/>
                <a:gd name="connsiteY30" fmla="*/ 5533432 h 6734288"/>
                <a:gd name="connsiteX31" fmla="*/ 875910 w 5066244"/>
                <a:gd name="connsiteY31" fmla="*/ 5598255 h 6734288"/>
                <a:gd name="connsiteX32" fmla="*/ 965731 w 5066244"/>
                <a:gd name="connsiteY32" fmla="*/ 5692347 h 6734288"/>
                <a:gd name="connsiteX33" fmla="*/ 2266333 w 5066244"/>
                <a:gd name="connsiteY33" fmla="*/ 6017548 h 6734288"/>
                <a:gd name="connsiteX34" fmla="*/ 3391504 w 5066244"/>
                <a:gd name="connsiteY34" fmla="*/ 5644651 h 6734288"/>
                <a:gd name="connsiteX35" fmla="*/ 3588201 w 5066244"/>
                <a:gd name="connsiteY35" fmla="*/ 6217653 h 6734288"/>
                <a:gd name="connsiteX36" fmla="*/ 2249705 w 5066244"/>
                <a:gd name="connsiteY36" fmla="*/ 6660358 h 6734288"/>
                <a:gd name="connsiteX37" fmla="*/ 1871681 w 5066244"/>
                <a:gd name="connsiteY37" fmla="*/ 6682796 h 6734288"/>
                <a:gd name="connsiteX38" fmla="*/ 1793309 w 5066244"/>
                <a:gd name="connsiteY38" fmla="*/ 6590550 h 6734288"/>
                <a:gd name="connsiteX39" fmla="*/ 1110759 w 5066244"/>
                <a:gd name="connsiteY39" fmla="*/ 6734288 h 6734288"/>
                <a:gd name="connsiteX40" fmla="*/ 760659 w 5066244"/>
                <a:gd name="connsiteY40" fmla="*/ 6346215 h 6734288"/>
                <a:gd name="connsiteX41" fmla="*/ 723779 w 5066244"/>
                <a:gd name="connsiteY41" fmla="*/ 6338736 h 6734288"/>
                <a:gd name="connsiteX42" fmla="*/ 567036 w 5066244"/>
                <a:gd name="connsiteY42" fmla="*/ 6164212 h 6734288"/>
                <a:gd name="connsiteX43" fmla="*/ 553207 w 5066244"/>
                <a:gd name="connsiteY43" fmla="*/ 6184157 h 6734288"/>
                <a:gd name="connsiteX44" fmla="*/ 527852 w 5066244"/>
                <a:gd name="connsiteY44" fmla="*/ 6151747 h 6734288"/>
                <a:gd name="connsiteX45" fmla="*/ 486361 w 5066244"/>
                <a:gd name="connsiteY45" fmla="*/ 6209090 h 6734288"/>
                <a:gd name="connsiteX46" fmla="*/ 371110 w 5066244"/>
                <a:gd name="connsiteY46" fmla="*/ 6081936 h 6734288"/>
                <a:gd name="connsiteX47" fmla="*/ 414905 w 5066244"/>
                <a:gd name="connsiteY47" fmla="*/ 6032071 h 6734288"/>
                <a:gd name="connsiteX48" fmla="*/ 182098 w 5066244"/>
                <a:gd name="connsiteY48" fmla="*/ 5782751 h 6734288"/>
                <a:gd name="connsiteX49" fmla="*/ 195928 w 5066244"/>
                <a:gd name="connsiteY49" fmla="*/ 5755327 h 6734288"/>
                <a:gd name="connsiteX50" fmla="*/ 0 w 5066244"/>
                <a:gd name="connsiteY50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511161 w 5066244"/>
                <a:gd name="connsiteY5" fmla="*/ 119840 h 6734288"/>
                <a:gd name="connsiteX6" fmla="*/ 1894404 w 5066244"/>
                <a:gd name="connsiteY6" fmla="*/ 0 h 6734288"/>
                <a:gd name="connsiteX7" fmla="*/ 1942702 w 5066244"/>
                <a:gd name="connsiteY7" fmla="*/ 165560 h 6734288"/>
                <a:gd name="connsiteX8" fmla="*/ 3706253 w 5066244"/>
                <a:gd name="connsiteY8" fmla="*/ 680900 h 6734288"/>
                <a:gd name="connsiteX9" fmla="*/ 4256383 w 5066244"/>
                <a:gd name="connsiteY9" fmla="*/ 1291242 h 6734288"/>
                <a:gd name="connsiteX10" fmla="*/ 4317787 w 5066244"/>
                <a:gd name="connsiteY10" fmla="*/ 1298860 h 6734288"/>
                <a:gd name="connsiteX11" fmla="*/ 4482628 w 5066244"/>
                <a:gd name="connsiteY11" fmla="*/ 1479661 h 6734288"/>
                <a:gd name="connsiteX12" fmla="*/ 4482851 w 5066244"/>
                <a:gd name="connsiteY12" fmla="*/ 1535080 h 6734288"/>
                <a:gd name="connsiteX13" fmla="*/ 4644115 w 5066244"/>
                <a:gd name="connsiteY13" fmla="*/ 1726990 h 6734288"/>
                <a:gd name="connsiteX14" fmla="*/ 5024103 w 5066244"/>
                <a:gd name="connsiteY14" fmla="*/ 3519512 h 6734288"/>
                <a:gd name="connsiteX15" fmla="*/ 4832024 w 5066244"/>
                <a:gd name="connsiteY15" fmla="*/ 4385669 h 6734288"/>
                <a:gd name="connsiteX16" fmla="*/ 4962240 w 5066244"/>
                <a:gd name="connsiteY16" fmla="*/ 4452156 h 6734288"/>
                <a:gd name="connsiteX17" fmla="*/ 4892791 w 5066244"/>
                <a:gd name="connsiteY17" fmla="*/ 4870077 h 6734288"/>
                <a:gd name="connsiteX18" fmla="*/ 4735262 w 5066244"/>
                <a:gd name="connsiteY18" fmla="*/ 4807792 h 6734288"/>
                <a:gd name="connsiteX19" fmla="*/ 3591864 w 5066244"/>
                <a:gd name="connsiteY19" fmla="*/ 6212288 h 6734288"/>
                <a:gd name="connsiteX20" fmla="*/ 3395733 w 5066244"/>
                <a:gd name="connsiteY20" fmla="*/ 5643346 h 6734288"/>
                <a:gd name="connsiteX21" fmla="*/ 4212664 w 5066244"/>
                <a:gd name="connsiteY21" fmla="*/ 4596953 h 6734288"/>
                <a:gd name="connsiteX22" fmla="*/ 4492713 w 5066244"/>
                <a:gd name="connsiteY22" fmla="*/ 3352779 h 6734288"/>
                <a:gd name="connsiteX23" fmla="*/ 4173897 w 5066244"/>
                <a:gd name="connsiteY23" fmla="*/ 2049487 h 6734288"/>
                <a:gd name="connsiteX24" fmla="*/ 3356644 w 5066244"/>
                <a:gd name="connsiteY24" fmla="*/ 1163055 h 6734288"/>
                <a:gd name="connsiteX25" fmla="*/ 2062378 w 5066244"/>
                <a:gd name="connsiteY25" fmla="*/ 761302 h 6734288"/>
                <a:gd name="connsiteX26" fmla="*/ 374339 w 5066244"/>
                <a:gd name="connsiteY26" fmla="*/ 5064132 h 6734288"/>
                <a:gd name="connsiteX27" fmla="*/ 730694 w 5066244"/>
                <a:gd name="connsiteY27" fmla="*/ 5436198 h 6734288"/>
                <a:gd name="connsiteX28" fmla="*/ 792928 w 5066244"/>
                <a:gd name="connsiteY28" fmla="*/ 5418743 h 6734288"/>
                <a:gd name="connsiteX29" fmla="*/ 896655 w 5066244"/>
                <a:gd name="connsiteY29" fmla="*/ 5533432 h 6734288"/>
                <a:gd name="connsiteX30" fmla="*/ 875910 w 5066244"/>
                <a:gd name="connsiteY30" fmla="*/ 5598255 h 6734288"/>
                <a:gd name="connsiteX31" fmla="*/ 965731 w 5066244"/>
                <a:gd name="connsiteY31" fmla="*/ 5692347 h 6734288"/>
                <a:gd name="connsiteX32" fmla="*/ 2266333 w 5066244"/>
                <a:gd name="connsiteY32" fmla="*/ 6017548 h 6734288"/>
                <a:gd name="connsiteX33" fmla="*/ 3391504 w 5066244"/>
                <a:gd name="connsiteY33" fmla="*/ 5644651 h 6734288"/>
                <a:gd name="connsiteX34" fmla="*/ 3588201 w 5066244"/>
                <a:gd name="connsiteY34" fmla="*/ 6217653 h 6734288"/>
                <a:gd name="connsiteX35" fmla="*/ 2249705 w 5066244"/>
                <a:gd name="connsiteY35" fmla="*/ 6660358 h 6734288"/>
                <a:gd name="connsiteX36" fmla="*/ 1871681 w 5066244"/>
                <a:gd name="connsiteY36" fmla="*/ 6682796 h 6734288"/>
                <a:gd name="connsiteX37" fmla="*/ 1793309 w 5066244"/>
                <a:gd name="connsiteY37" fmla="*/ 6590550 h 6734288"/>
                <a:gd name="connsiteX38" fmla="*/ 1110759 w 5066244"/>
                <a:gd name="connsiteY38" fmla="*/ 6734288 h 6734288"/>
                <a:gd name="connsiteX39" fmla="*/ 760659 w 5066244"/>
                <a:gd name="connsiteY39" fmla="*/ 6346215 h 6734288"/>
                <a:gd name="connsiteX40" fmla="*/ 723779 w 5066244"/>
                <a:gd name="connsiteY40" fmla="*/ 6338736 h 6734288"/>
                <a:gd name="connsiteX41" fmla="*/ 567036 w 5066244"/>
                <a:gd name="connsiteY41" fmla="*/ 6164212 h 6734288"/>
                <a:gd name="connsiteX42" fmla="*/ 553207 w 5066244"/>
                <a:gd name="connsiteY42" fmla="*/ 6184157 h 6734288"/>
                <a:gd name="connsiteX43" fmla="*/ 527852 w 5066244"/>
                <a:gd name="connsiteY43" fmla="*/ 6151747 h 6734288"/>
                <a:gd name="connsiteX44" fmla="*/ 486361 w 5066244"/>
                <a:gd name="connsiteY44" fmla="*/ 6209090 h 6734288"/>
                <a:gd name="connsiteX45" fmla="*/ 371110 w 5066244"/>
                <a:gd name="connsiteY45" fmla="*/ 6081936 h 6734288"/>
                <a:gd name="connsiteX46" fmla="*/ 414905 w 5066244"/>
                <a:gd name="connsiteY46" fmla="*/ 6032071 h 6734288"/>
                <a:gd name="connsiteX47" fmla="*/ 182098 w 5066244"/>
                <a:gd name="connsiteY47" fmla="*/ 5782751 h 6734288"/>
                <a:gd name="connsiteX48" fmla="*/ 195928 w 5066244"/>
                <a:gd name="connsiteY48" fmla="*/ 5755327 h 6734288"/>
                <a:gd name="connsiteX49" fmla="*/ 0 w 5066244"/>
                <a:gd name="connsiteY49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511161 w 5066244"/>
                <a:gd name="connsiteY4" fmla="*/ 119840 h 6734288"/>
                <a:gd name="connsiteX5" fmla="*/ 1894404 w 5066244"/>
                <a:gd name="connsiteY5" fmla="*/ 0 h 6734288"/>
                <a:gd name="connsiteX6" fmla="*/ 1942702 w 5066244"/>
                <a:gd name="connsiteY6" fmla="*/ 165560 h 6734288"/>
                <a:gd name="connsiteX7" fmla="*/ 3706253 w 5066244"/>
                <a:gd name="connsiteY7" fmla="*/ 680900 h 6734288"/>
                <a:gd name="connsiteX8" fmla="*/ 4256383 w 5066244"/>
                <a:gd name="connsiteY8" fmla="*/ 1291242 h 6734288"/>
                <a:gd name="connsiteX9" fmla="*/ 4317787 w 5066244"/>
                <a:gd name="connsiteY9" fmla="*/ 1298860 h 6734288"/>
                <a:gd name="connsiteX10" fmla="*/ 4482628 w 5066244"/>
                <a:gd name="connsiteY10" fmla="*/ 1479661 h 6734288"/>
                <a:gd name="connsiteX11" fmla="*/ 4482851 w 5066244"/>
                <a:gd name="connsiteY11" fmla="*/ 1535080 h 6734288"/>
                <a:gd name="connsiteX12" fmla="*/ 4644115 w 5066244"/>
                <a:gd name="connsiteY12" fmla="*/ 1726990 h 6734288"/>
                <a:gd name="connsiteX13" fmla="*/ 5024103 w 5066244"/>
                <a:gd name="connsiteY13" fmla="*/ 3519512 h 6734288"/>
                <a:gd name="connsiteX14" fmla="*/ 4832024 w 5066244"/>
                <a:gd name="connsiteY14" fmla="*/ 4385669 h 6734288"/>
                <a:gd name="connsiteX15" fmla="*/ 4962240 w 5066244"/>
                <a:gd name="connsiteY15" fmla="*/ 4452156 h 6734288"/>
                <a:gd name="connsiteX16" fmla="*/ 4892791 w 5066244"/>
                <a:gd name="connsiteY16" fmla="*/ 4870077 h 6734288"/>
                <a:gd name="connsiteX17" fmla="*/ 4735262 w 5066244"/>
                <a:gd name="connsiteY17" fmla="*/ 4807792 h 6734288"/>
                <a:gd name="connsiteX18" fmla="*/ 3591864 w 5066244"/>
                <a:gd name="connsiteY18" fmla="*/ 6212288 h 6734288"/>
                <a:gd name="connsiteX19" fmla="*/ 3395733 w 5066244"/>
                <a:gd name="connsiteY19" fmla="*/ 5643346 h 6734288"/>
                <a:gd name="connsiteX20" fmla="*/ 4212664 w 5066244"/>
                <a:gd name="connsiteY20" fmla="*/ 4596953 h 6734288"/>
                <a:gd name="connsiteX21" fmla="*/ 4492713 w 5066244"/>
                <a:gd name="connsiteY21" fmla="*/ 3352779 h 6734288"/>
                <a:gd name="connsiteX22" fmla="*/ 4173897 w 5066244"/>
                <a:gd name="connsiteY22" fmla="*/ 2049487 h 6734288"/>
                <a:gd name="connsiteX23" fmla="*/ 3356644 w 5066244"/>
                <a:gd name="connsiteY23" fmla="*/ 1163055 h 6734288"/>
                <a:gd name="connsiteX24" fmla="*/ 2062378 w 5066244"/>
                <a:gd name="connsiteY24" fmla="*/ 761302 h 6734288"/>
                <a:gd name="connsiteX25" fmla="*/ 374339 w 5066244"/>
                <a:gd name="connsiteY25" fmla="*/ 5064132 h 6734288"/>
                <a:gd name="connsiteX26" fmla="*/ 730694 w 5066244"/>
                <a:gd name="connsiteY26" fmla="*/ 5436198 h 6734288"/>
                <a:gd name="connsiteX27" fmla="*/ 792928 w 5066244"/>
                <a:gd name="connsiteY27" fmla="*/ 5418743 h 6734288"/>
                <a:gd name="connsiteX28" fmla="*/ 896655 w 5066244"/>
                <a:gd name="connsiteY28" fmla="*/ 5533432 h 6734288"/>
                <a:gd name="connsiteX29" fmla="*/ 875910 w 5066244"/>
                <a:gd name="connsiteY29" fmla="*/ 5598255 h 6734288"/>
                <a:gd name="connsiteX30" fmla="*/ 965731 w 5066244"/>
                <a:gd name="connsiteY30" fmla="*/ 5692347 h 6734288"/>
                <a:gd name="connsiteX31" fmla="*/ 2266333 w 5066244"/>
                <a:gd name="connsiteY31" fmla="*/ 6017548 h 6734288"/>
                <a:gd name="connsiteX32" fmla="*/ 3391504 w 5066244"/>
                <a:gd name="connsiteY32" fmla="*/ 5644651 h 6734288"/>
                <a:gd name="connsiteX33" fmla="*/ 3588201 w 5066244"/>
                <a:gd name="connsiteY33" fmla="*/ 6217653 h 6734288"/>
                <a:gd name="connsiteX34" fmla="*/ 2249705 w 5066244"/>
                <a:gd name="connsiteY34" fmla="*/ 6660358 h 6734288"/>
                <a:gd name="connsiteX35" fmla="*/ 1871681 w 5066244"/>
                <a:gd name="connsiteY35" fmla="*/ 6682796 h 6734288"/>
                <a:gd name="connsiteX36" fmla="*/ 1793309 w 5066244"/>
                <a:gd name="connsiteY36" fmla="*/ 6590550 h 6734288"/>
                <a:gd name="connsiteX37" fmla="*/ 1110759 w 5066244"/>
                <a:gd name="connsiteY37" fmla="*/ 6734288 h 6734288"/>
                <a:gd name="connsiteX38" fmla="*/ 760659 w 5066244"/>
                <a:gd name="connsiteY38" fmla="*/ 6346215 h 6734288"/>
                <a:gd name="connsiteX39" fmla="*/ 723779 w 5066244"/>
                <a:gd name="connsiteY39" fmla="*/ 6338736 h 6734288"/>
                <a:gd name="connsiteX40" fmla="*/ 567036 w 5066244"/>
                <a:gd name="connsiteY40" fmla="*/ 6164212 h 6734288"/>
                <a:gd name="connsiteX41" fmla="*/ 553207 w 5066244"/>
                <a:gd name="connsiteY41" fmla="*/ 6184157 h 6734288"/>
                <a:gd name="connsiteX42" fmla="*/ 527852 w 5066244"/>
                <a:gd name="connsiteY42" fmla="*/ 6151747 h 6734288"/>
                <a:gd name="connsiteX43" fmla="*/ 486361 w 5066244"/>
                <a:gd name="connsiteY43" fmla="*/ 6209090 h 6734288"/>
                <a:gd name="connsiteX44" fmla="*/ 371110 w 5066244"/>
                <a:gd name="connsiteY44" fmla="*/ 6081936 h 6734288"/>
                <a:gd name="connsiteX45" fmla="*/ 414905 w 5066244"/>
                <a:gd name="connsiteY45" fmla="*/ 6032071 h 6734288"/>
                <a:gd name="connsiteX46" fmla="*/ 182098 w 5066244"/>
                <a:gd name="connsiteY46" fmla="*/ 5782751 h 6734288"/>
                <a:gd name="connsiteX47" fmla="*/ 195928 w 5066244"/>
                <a:gd name="connsiteY47" fmla="*/ 5755327 h 6734288"/>
                <a:gd name="connsiteX48" fmla="*/ 0 w 5066244"/>
                <a:gd name="connsiteY48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511161 w 5066244"/>
                <a:gd name="connsiteY3" fmla="*/ 119840 h 6734288"/>
                <a:gd name="connsiteX4" fmla="*/ 1894404 w 5066244"/>
                <a:gd name="connsiteY4" fmla="*/ 0 h 6734288"/>
                <a:gd name="connsiteX5" fmla="*/ 1942702 w 5066244"/>
                <a:gd name="connsiteY5" fmla="*/ 165560 h 6734288"/>
                <a:gd name="connsiteX6" fmla="*/ 3706253 w 5066244"/>
                <a:gd name="connsiteY6" fmla="*/ 680900 h 6734288"/>
                <a:gd name="connsiteX7" fmla="*/ 4256383 w 5066244"/>
                <a:gd name="connsiteY7" fmla="*/ 1291242 h 6734288"/>
                <a:gd name="connsiteX8" fmla="*/ 4317787 w 5066244"/>
                <a:gd name="connsiteY8" fmla="*/ 1298860 h 6734288"/>
                <a:gd name="connsiteX9" fmla="*/ 4482628 w 5066244"/>
                <a:gd name="connsiteY9" fmla="*/ 1479661 h 6734288"/>
                <a:gd name="connsiteX10" fmla="*/ 4482851 w 5066244"/>
                <a:gd name="connsiteY10" fmla="*/ 1535080 h 6734288"/>
                <a:gd name="connsiteX11" fmla="*/ 4644115 w 5066244"/>
                <a:gd name="connsiteY11" fmla="*/ 1726990 h 6734288"/>
                <a:gd name="connsiteX12" fmla="*/ 5024103 w 5066244"/>
                <a:gd name="connsiteY12" fmla="*/ 3519512 h 6734288"/>
                <a:gd name="connsiteX13" fmla="*/ 4832024 w 5066244"/>
                <a:gd name="connsiteY13" fmla="*/ 4385669 h 6734288"/>
                <a:gd name="connsiteX14" fmla="*/ 4962240 w 5066244"/>
                <a:gd name="connsiteY14" fmla="*/ 4452156 h 6734288"/>
                <a:gd name="connsiteX15" fmla="*/ 4892791 w 5066244"/>
                <a:gd name="connsiteY15" fmla="*/ 4870077 h 6734288"/>
                <a:gd name="connsiteX16" fmla="*/ 4735262 w 5066244"/>
                <a:gd name="connsiteY16" fmla="*/ 4807792 h 6734288"/>
                <a:gd name="connsiteX17" fmla="*/ 3591864 w 5066244"/>
                <a:gd name="connsiteY17" fmla="*/ 6212288 h 6734288"/>
                <a:gd name="connsiteX18" fmla="*/ 3395733 w 5066244"/>
                <a:gd name="connsiteY18" fmla="*/ 5643346 h 6734288"/>
                <a:gd name="connsiteX19" fmla="*/ 4212664 w 5066244"/>
                <a:gd name="connsiteY19" fmla="*/ 4596953 h 6734288"/>
                <a:gd name="connsiteX20" fmla="*/ 4492713 w 5066244"/>
                <a:gd name="connsiteY20" fmla="*/ 3352779 h 6734288"/>
                <a:gd name="connsiteX21" fmla="*/ 4173897 w 5066244"/>
                <a:gd name="connsiteY21" fmla="*/ 2049487 h 6734288"/>
                <a:gd name="connsiteX22" fmla="*/ 3356644 w 5066244"/>
                <a:gd name="connsiteY22" fmla="*/ 1163055 h 6734288"/>
                <a:gd name="connsiteX23" fmla="*/ 2062378 w 5066244"/>
                <a:gd name="connsiteY23" fmla="*/ 761302 h 6734288"/>
                <a:gd name="connsiteX24" fmla="*/ 374339 w 5066244"/>
                <a:gd name="connsiteY24" fmla="*/ 5064132 h 6734288"/>
                <a:gd name="connsiteX25" fmla="*/ 730694 w 5066244"/>
                <a:gd name="connsiteY25" fmla="*/ 5436198 h 6734288"/>
                <a:gd name="connsiteX26" fmla="*/ 792928 w 5066244"/>
                <a:gd name="connsiteY26" fmla="*/ 5418743 h 6734288"/>
                <a:gd name="connsiteX27" fmla="*/ 896655 w 5066244"/>
                <a:gd name="connsiteY27" fmla="*/ 5533432 h 6734288"/>
                <a:gd name="connsiteX28" fmla="*/ 875910 w 5066244"/>
                <a:gd name="connsiteY28" fmla="*/ 5598255 h 6734288"/>
                <a:gd name="connsiteX29" fmla="*/ 965731 w 5066244"/>
                <a:gd name="connsiteY29" fmla="*/ 5692347 h 6734288"/>
                <a:gd name="connsiteX30" fmla="*/ 2266333 w 5066244"/>
                <a:gd name="connsiteY30" fmla="*/ 6017548 h 6734288"/>
                <a:gd name="connsiteX31" fmla="*/ 3391504 w 5066244"/>
                <a:gd name="connsiteY31" fmla="*/ 5644651 h 6734288"/>
                <a:gd name="connsiteX32" fmla="*/ 3588201 w 5066244"/>
                <a:gd name="connsiteY32" fmla="*/ 6217653 h 6734288"/>
                <a:gd name="connsiteX33" fmla="*/ 2249705 w 5066244"/>
                <a:gd name="connsiteY33" fmla="*/ 6660358 h 6734288"/>
                <a:gd name="connsiteX34" fmla="*/ 1871681 w 5066244"/>
                <a:gd name="connsiteY34" fmla="*/ 6682796 h 6734288"/>
                <a:gd name="connsiteX35" fmla="*/ 1793309 w 5066244"/>
                <a:gd name="connsiteY35" fmla="*/ 6590550 h 6734288"/>
                <a:gd name="connsiteX36" fmla="*/ 1110759 w 5066244"/>
                <a:gd name="connsiteY36" fmla="*/ 6734288 h 6734288"/>
                <a:gd name="connsiteX37" fmla="*/ 760659 w 5066244"/>
                <a:gd name="connsiteY37" fmla="*/ 6346215 h 6734288"/>
                <a:gd name="connsiteX38" fmla="*/ 723779 w 5066244"/>
                <a:gd name="connsiteY38" fmla="*/ 6338736 h 6734288"/>
                <a:gd name="connsiteX39" fmla="*/ 567036 w 5066244"/>
                <a:gd name="connsiteY39" fmla="*/ 6164212 h 6734288"/>
                <a:gd name="connsiteX40" fmla="*/ 553207 w 5066244"/>
                <a:gd name="connsiteY40" fmla="*/ 6184157 h 6734288"/>
                <a:gd name="connsiteX41" fmla="*/ 527852 w 5066244"/>
                <a:gd name="connsiteY41" fmla="*/ 6151747 h 6734288"/>
                <a:gd name="connsiteX42" fmla="*/ 486361 w 5066244"/>
                <a:gd name="connsiteY42" fmla="*/ 6209090 h 6734288"/>
                <a:gd name="connsiteX43" fmla="*/ 371110 w 5066244"/>
                <a:gd name="connsiteY43" fmla="*/ 6081936 h 6734288"/>
                <a:gd name="connsiteX44" fmla="*/ 414905 w 5066244"/>
                <a:gd name="connsiteY44" fmla="*/ 6032071 h 6734288"/>
                <a:gd name="connsiteX45" fmla="*/ 182098 w 5066244"/>
                <a:gd name="connsiteY45" fmla="*/ 5782751 h 6734288"/>
                <a:gd name="connsiteX46" fmla="*/ 195928 w 5066244"/>
                <a:gd name="connsiteY46" fmla="*/ 5755327 h 6734288"/>
                <a:gd name="connsiteX47" fmla="*/ 0 w 5066244"/>
                <a:gd name="connsiteY47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1511161 w 5066244"/>
                <a:gd name="connsiteY2" fmla="*/ 119840 h 6734288"/>
                <a:gd name="connsiteX3" fmla="*/ 1894404 w 5066244"/>
                <a:gd name="connsiteY3" fmla="*/ 0 h 6734288"/>
                <a:gd name="connsiteX4" fmla="*/ 1942702 w 5066244"/>
                <a:gd name="connsiteY4" fmla="*/ 165560 h 6734288"/>
                <a:gd name="connsiteX5" fmla="*/ 3706253 w 5066244"/>
                <a:gd name="connsiteY5" fmla="*/ 680900 h 6734288"/>
                <a:gd name="connsiteX6" fmla="*/ 4256383 w 5066244"/>
                <a:gd name="connsiteY6" fmla="*/ 1291242 h 6734288"/>
                <a:gd name="connsiteX7" fmla="*/ 4317787 w 5066244"/>
                <a:gd name="connsiteY7" fmla="*/ 1298860 h 6734288"/>
                <a:gd name="connsiteX8" fmla="*/ 4482628 w 5066244"/>
                <a:gd name="connsiteY8" fmla="*/ 1479661 h 6734288"/>
                <a:gd name="connsiteX9" fmla="*/ 4482851 w 5066244"/>
                <a:gd name="connsiteY9" fmla="*/ 1535080 h 6734288"/>
                <a:gd name="connsiteX10" fmla="*/ 4644115 w 5066244"/>
                <a:gd name="connsiteY10" fmla="*/ 1726990 h 6734288"/>
                <a:gd name="connsiteX11" fmla="*/ 5024103 w 5066244"/>
                <a:gd name="connsiteY11" fmla="*/ 3519512 h 6734288"/>
                <a:gd name="connsiteX12" fmla="*/ 4832024 w 5066244"/>
                <a:gd name="connsiteY12" fmla="*/ 4385669 h 6734288"/>
                <a:gd name="connsiteX13" fmla="*/ 4962240 w 5066244"/>
                <a:gd name="connsiteY13" fmla="*/ 4452156 h 6734288"/>
                <a:gd name="connsiteX14" fmla="*/ 4892791 w 5066244"/>
                <a:gd name="connsiteY14" fmla="*/ 4870077 h 6734288"/>
                <a:gd name="connsiteX15" fmla="*/ 4735262 w 5066244"/>
                <a:gd name="connsiteY15" fmla="*/ 4807792 h 6734288"/>
                <a:gd name="connsiteX16" fmla="*/ 3591864 w 5066244"/>
                <a:gd name="connsiteY16" fmla="*/ 6212288 h 6734288"/>
                <a:gd name="connsiteX17" fmla="*/ 3395733 w 5066244"/>
                <a:gd name="connsiteY17" fmla="*/ 5643346 h 6734288"/>
                <a:gd name="connsiteX18" fmla="*/ 4212664 w 5066244"/>
                <a:gd name="connsiteY18" fmla="*/ 4596953 h 6734288"/>
                <a:gd name="connsiteX19" fmla="*/ 4492713 w 5066244"/>
                <a:gd name="connsiteY19" fmla="*/ 3352779 h 6734288"/>
                <a:gd name="connsiteX20" fmla="*/ 4173897 w 5066244"/>
                <a:gd name="connsiteY20" fmla="*/ 2049487 h 6734288"/>
                <a:gd name="connsiteX21" fmla="*/ 3356644 w 5066244"/>
                <a:gd name="connsiteY21" fmla="*/ 1163055 h 6734288"/>
                <a:gd name="connsiteX22" fmla="*/ 2062378 w 5066244"/>
                <a:gd name="connsiteY22" fmla="*/ 761302 h 6734288"/>
                <a:gd name="connsiteX23" fmla="*/ 374339 w 5066244"/>
                <a:gd name="connsiteY23" fmla="*/ 5064132 h 6734288"/>
                <a:gd name="connsiteX24" fmla="*/ 730694 w 5066244"/>
                <a:gd name="connsiteY24" fmla="*/ 5436198 h 6734288"/>
                <a:gd name="connsiteX25" fmla="*/ 792928 w 5066244"/>
                <a:gd name="connsiteY25" fmla="*/ 5418743 h 6734288"/>
                <a:gd name="connsiteX26" fmla="*/ 896655 w 5066244"/>
                <a:gd name="connsiteY26" fmla="*/ 5533432 h 6734288"/>
                <a:gd name="connsiteX27" fmla="*/ 875910 w 5066244"/>
                <a:gd name="connsiteY27" fmla="*/ 5598255 h 6734288"/>
                <a:gd name="connsiteX28" fmla="*/ 965731 w 5066244"/>
                <a:gd name="connsiteY28" fmla="*/ 5692347 h 6734288"/>
                <a:gd name="connsiteX29" fmla="*/ 2266333 w 5066244"/>
                <a:gd name="connsiteY29" fmla="*/ 6017548 h 6734288"/>
                <a:gd name="connsiteX30" fmla="*/ 3391504 w 5066244"/>
                <a:gd name="connsiteY30" fmla="*/ 5644651 h 6734288"/>
                <a:gd name="connsiteX31" fmla="*/ 3588201 w 5066244"/>
                <a:gd name="connsiteY31" fmla="*/ 6217653 h 6734288"/>
                <a:gd name="connsiteX32" fmla="*/ 2249705 w 5066244"/>
                <a:gd name="connsiteY32" fmla="*/ 6660358 h 6734288"/>
                <a:gd name="connsiteX33" fmla="*/ 1871681 w 5066244"/>
                <a:gd name="connsiteY33" fmla="*/ 6682796 h 6734288"/>
                <a:gd name="connsiteX34" fmla="*/ 1793309 w 5066244"/>
                <a:gd name="connsiteY34" fmla="*/ 6590550 h 6734288"/>
                <a:gd name="connsiteX35" fmla="*/ 1110759 w 5066244"/>
                <a:gd name="connsiteY35" fmla="*/ 6734288 h 6734288"/>
                <a:gd name="connsiteX36" fmla="*/ 760659 w 5066244"/>
                <a:gd name="connsiteY36" fmla="*/ 6346215 h 6734288"/>
                <a:gd name="connsiteX37" fmla="*/ 723779 w 5066244"/>
                <a:gd name="connsiteY37" fmla="*/ 6338736 h 6734288"/>
                <a:gd name="connsiteX38" fmla="*/ 567036 w 5066244"/>
                <a:gd name="connsiteY38" fmla="*/ 6164212 h 6734288"/>
                <a:gd name="connsiteX39" fmla="*/ 553207 w 5066244"/>
                <a:gd name="connsiteY39" fmla="*/ 6184157 h 6734288"/>
                <a:gd name="connsiteX40" fmla="*/ 527852 w 5066244"/>
                <a:gd name="connsiteY40" fmla="*/ 6151747 h 6734288"/>
                <a:gd name="connsiteX41" fmla="*/ 486361 w 5066244"/>
                <a:gd name="connsiteY41" fmla="*/ 6209090 h 6734288"/>
                <a:gd name="connsiteX42" fmla="*/ 371110 w 5066244"/>
                <a:gd name="connsiteY42" fmla="*/ 6081936 h 6734288"/>
                <a:gd name="connsiteX43" fmla="*/ 414905 w 5066244"/>
                <a:gd name="connsiteY43" fmla="*/ 6032071 h 6734288"/>
                <a:gd name="connsiteX44" fmla="*/ 182098 w 5066244"/>
                <a:gd name="connsiteY44" fmla="*/ 5782751 h 6734288"/>
                <a:gd name="connsiteX45" fmla="*/ 195928 w 5066244"/>
                <a:gd name="connsiteY45" fmla="*/ 5755327 h 6734288"/>
                <a:gd name="connsiteX46" fmla="*/ 0 w 5066244"/>
                <a:gd name="connsiteY46" fmla="*/ 5548391 h 6734288"/>
                <a:gd name="connsiteX0" fmla="*/ 0 w 5066244"/>
                <a:gd name="connsiteY0" fmla="*/ 5548391 h 6734288"/>
                <a:gd name="connsiteX1" fmla="*/ 1511161 w 5066244"/>
                <a:gd name="connsiteY1" fmla="*/ 119840 h 6734288"/>
                <a:gd name="connsiteX2" fmla="*/ 1894404 w 5066244"/>
                <a:gd name="connsiteY2" fmla="*/ 0 h 6734288"/>
                <a:gd name="connsiteX3" fmla="*/ 1942702 w 5066244"/>
                <a:gd name="connsiteY3" fmla="*/ 165560 h 6734288"/>
                <a:gd name="connsiteX4" fmla="*/ 3706253 w 5066244"/>
                <a:gd name="connsiteY4" fmla="*/ 680900 h 6734288"/>
                <a:gd name="connsiteX5" fmla="*/ 4256383 w 5066244"/>
                <a:gd name="connsiteY5" fmla="*/ 1291242 h 6734288"/>
                <a:gd name="connsiteX6" fmla="*/ 4317787 w 5066244"/>
                <a:gd name="connsiteY6" fmla="*/ 1298860 h 6734288"/>
                <a:gd name="connsiteX7" fmla="*/ 4482628 w 5066244"/>
                <a:gd name="connsiteY7" fmla="*/ 1479661 h 6734288"/>
                <a:gd name="connsiteX8" fmla="*/ 4482851 w 5066244"/>
                <a:gd name="connsiteY8" fmla="*/ 1535080 h 6734288"/>
                <a:gd name="connsiteX9" fmla="*/ 4644115 w 5066244"/>
                <a:gd name="connsiteY9" fmla="*/ 1726990 h 6734288"/>
                <a:gd name="connsiteX10" fmla="*/ 5024103 w 5066244"/>
                <a:gd name="connsiteY10" fmla="*/ 3519512 h 6734288"/>
                <a:gd name="connsiteX11" fmla="*/ 4832024 w 5066244"/>
                <a:gd name="connsiteY11" fmla="*/ 4385669 h 6734288"/>
                <a:gd name="connsiteX12" fmla="*/ 4962240 w 5066244"/>
                <a:gd name="connsiteY12" fmla="*/ 4452156 h 6734288"/>
                <a:gd name="connsiteX13" fmla="*/ 4892791 w 5066244"/>
                <a:gd name="connsiteY13" fmla="*/ 4870077 h 6734288"/>
                <a:gd name="connsiteX14" fmla="*/ 4735262 w 5066244"/>
                <a:gd name="connsiteY14" fmla="*/ 4807792 h 6734288"/>
                <a:gd name="connsiteX15" fmla="*/ 3591864 w 5066244"/>
                <a:gd name="connsiteY15" fmla="*/ 6212288 h 6734288"/>
                <a:gd name="connsiteX16" fmla="*/ 3395733 w 5066244"/>
                <a:gd name="connsiteY16" fmla="*/ 5643346 h 6734288"/>
                <a:gd name="connsiteX17" fmla="*/ 4212664 w 5066244"/>
                <a:gd name="connsiteY17" fmla="*/ 4596953 h 6734288"/>
                <a:gd name="connsiteX18" fmla="*/ 4492713 w 5066244"/>
                <a:gd name="connsiteY18" fmla="*/ 3352779 h 6734288"/>
                <a:gd name="connsiteX19" fmla="*/ 4173897 w 5066244"/>
                <a:gd name="connsiteY19" fmla="*/ 2049487 h 6734288"/>
                <a:gd name="connsiteX20" fmla="*/ 3356644 w 5066244"/>
                <a:gd name="connsiteY20" fmla="*/ 1163055 h 6734288"/>
                <a:gd name="connsiteX21" fmla="*/ 2062378 w 5066244"/>
                <a:gd name="connsiteY21" fmla="*/ 761302 h 6734288"/>
                <a:gd name="connsiteX22" fmla="*/ 374339 w 5066244"/>
                <a:gd name="connsiteY22" fmla="*/ 5064132 h 6734288"/>
                <a:gd name="connsiteX23" fmla="*/ 730694 w 5066244"/>
                <a:gd name="connsiteY23" fmla="*/ 5436198 h 6734288"/>
                <a:gd name="connsiteX24" fmla="*/ 792928 w 5066244"/>
                <a:gd name="connsiteY24" fmla="*/ 5418743 h 6734288"/>
                <a:gd name="connsiteX25" fmla="*/ 896655 w 5066244"/>
                <a:gd name="connsiteY25" fmla="*/ 5533432 h 6734288"/>
                <a:gd name="connsiteX26" fmla="*/ 875910 w 5066244"/>
                <a:gd name="connsiteY26" fmla="*/ 5598255 h 6734288"/>
                <a:gd name="connsiteX27" fmla="*/ 965731 w 5066244"/>
                <a:gd name="connsiteY27" fmla="*/ 5692347 h 6734288"/>
                <a:gd name="connsiteX28" fmla="*/ 2266333 w 5066244"/>
                <a:gd name="connsiteY28" fmla="*/ 6017548 h 6734288"/>
                <a:gd name="connsiteX29" fmla="*/ 3391504 w 5066244"/>
                <a:gd name="connsiteY29" fmla="*/ 5644651 h 6734288"/>
                <a:gd name="connsiteX30" fmla="*/ 3588201 w 5066244"/>
                <a:gd name="connsiteY30" fmla="*/ 6217653 h 6734288"/>
                <a:gd name="connsiteX31" fmla="*/ 2249705 w 5066244"/>
                <a:gd name="connsiteY31" fmla="*/ 6660358 h 6734288"/>
                <a:gd name="connsiteX32" fmla="*/ 1871681 w 5066244"/>
                <a:gd name="connsiteY32" fmla="*/ 6682796 h 6734288"/>
                <a:gd name="connsiteX33" fmla="*/ 1793309 w 5066244"/>
                <a:gd name="connsiteY33" fmla="*/ 6590550 h 6734288"/>
                <a:gd name="connsiteX34" fmla="*/ 1110759 w 5066244"/>
                <a:gd name="connsiteY34" fmla="*/ 6734288 h 6734288"/>
                <a:gd name="connsiteX35" fmla="*/ 760659 w 5066244"/>
                <a:gd name="connsiteY35" fmla="*/ 6346215 h 6734288"/>
                <a:gd name="connsiteX36" fmla="*/ 723779 w 5066244"/>
                <a:gd name="connsiteY36" fmla="*/ 6338736 h 6734288"/>
                <a:gd name="connsiteX37" fmla="*/ 567036 w 5066244"/>
                <a:gd name="connsiteY37" fmla="*/ 6164212 h 6734288"/>
                <a:gd name="connsiteX38" fmla="*/ 553207 w 5066244"/>
                <a:gd name="connsiteY38" fmla="*/ 6184157 h 6734288"/>
                <a:gd name="connsiteX39" fmla="*/ 527852 w 5066244"/>
                <a:gd name="connsiteY39" fmla="*/ 6151747 h 6734288"/>
                <a:gd name="connsiteX40" fmla="*/ 486361 w 5066244"/>
                <a:gd name="connsiteY40" fmla="*/ 6209090 h 6734288"/>
                <a:gd name="connsiteX41" fmla="*/ 371110 w 5066244"/>
                <a:gd name="connsiteY41" fmla="*/ 6081936 h 6734288"/>
                <a:gd name="connsiteX42" fmla="*/ 414905 w 5066244"/>
                <a:gd name="connsiteY42" fmla="*/ 6032071 h 6734288"/>
                <a:gd name="connsiteX43" fmla="*/ 182098 w 5066244"/>
                <a:gd name="connsiteY43" fmla="*/ 5782751 h 6734288"/>
                <a:gd name="connsiteX44" fmla="*/ 195928 w 5066244"/>
                <a:gd name="connsiteY44" fmla="*/ 5755327 h 6734288"/>
                <a:gd name="connsiteX45" fmla="*/ 0 w 5066244"/>
                <a:gd name="connsiteY45" fmla="*/ 5548391 h 6734288"/>
                <a:gd name="connsiteX0" fmla="*/ 0 w 5066244"/>
                <a:gd name="connsiteY0" fmla="*/ 5548391 h 6734288"/>
                <a:gd name="connsiteX1" fmla="*/ 1894404 w 5066244"/>
                <a:gd name="connsiteY1" fmla="*/ 0 h 6734288"/>
                <a:gd name="connsiteX2" fmla="*/ 1942702 w 5066244"/>
                <a:gd name="connsiteY2" fmla="*/ 165560 h 6734288"/>
                <a:gd name="connsiteX3" fmla="*/ 3706253 w 5066244"/>
                <a:gd name="connsiteY3" fmla="*/ 680900 h 6734288"/>
                <a:gd name="connsiteX4" fmla="*/ 4256383 w 5066244"/>
                <a:gd name="connsiteY4" fmla="*/ 1291242 h 6734288"/>
                <a:gd name="connsiteX5" fmla="*/ 4317787 w 5066244"/>
                <a:gd name="connsiteY5" fmla="*/ 1298860 h 6734288"/>
                <a:gd name="connsiteX6" fmla="*/ 4482628 w 5066244"/>
                <a:gd name="connsiteY6" fmla="*/ 1479661 h 6734288"/>
                <a:gd name="connsiteX7" fmla="*/ 4482851 w 5066244"/>
                <a:gd name="connsiteY7" fmla="*/ 1535080 h 6734288"/>
                <a:gd name="connsiteX8" fmla="*/ 4644115 w 5066244"/>
                <a:gd name="connsiteY8" fmla="*/ 1726990 h 6734288"/>
                <a:gd name="connsiteX9" fmla="*/ 5024103 w 5066244"/>
                <a:gd name="connsiteY9" fmla="*/ 3519512 h 6734288"/>
                <a:gd name="connsiteX10" fmla="*/ 4832024 w 5066244"/>
                <a:gd name="connsiteY10" fmla="*/ 4385669 h 6734288"/>
                <a:gd name="connsiteX11" fmla="*/ 4962240 w 5066244"/>
                <a:gd name="connsiteY11" fmla="*/ 4452156 h 6734288"/>
                <a:gd name="connsiteX12" fmla="*/ 4892791 w 5066244"/>
                <a:gd name="connsiteY12" fmla="*/ 4870077 h 6734288"/>
                <a:gd name="connsiteX13" fmla="*/ 4735262 w 5066244"/>
                <a:gd name="connsiteY13" fmla="*/ 4807792 h 6734288"/>
                <a:gd name="connsiteX14" fmla="*/ 3591864 w 5066244"/>
                <a:gd name="connsiteY14" fmla="*/ 6212288 h 6734288"/>
                <a:gd name="connsiteX15" fmla="*/ 3395733 w 5066244"/>
                <a:gd name="connsiteY15" fmla="*/ 5643346 h 6734288"/>
                <a:gd name="connsiteX16" fmla="*/ 4212664 w 5066244"/>
                <a:gd name="connsiteY16" fmla="*/ 4596953 h 6734288"/>
                <a:gd name="connsiteX17" fmla="*/ 4492713 w 5066244"/>
                <a:gd name="connsiteY17" fmla="*/ 3352779 h 6734288"/>
                <a:gd name="connsiteX18" fmla="*/ 4173897 w 5066244"/>
                <a:gd name="connsiteY18" fmla="*/ 2049487 h 6734288"/>
                <a:gd name="connsiteX19" fmla="*/ 3356644 w 5066244"/>
                <a:gd name="connsiteY19" fmla="*/ 1163055 h 6734288"/>
                <a:gd name="connsiteX20" fmla="*/ 2062378 w 5066244"/>
                <a:gd name="connsiteY20" fmla="*/ 761302 h 6734288"/>
                <a:gd name="connsiteX21" fmla="*/ 374339 w 5066244"/>
                <a:gd name="connsiteY21" fmla="*/ 5064132 h 6734288"/>
                <a:gd name="connsiteX22" fmla="*/ 730694 w 5066244"/>
                <a:gd name="connsiteY22" fmla="*/ 5436198 h 6734288"/>
                <a:gd name="connsiteX23" fmla="*/ 792928 w 5066244"/>
                <a:gd name="connsiteY23" fmla="*/ 5418743 h 6734288"/>
                <a:gd name="connsiteX24" fmla="*/ 896655 w 5066244"/>
                <a:gd name="connsiteY24" fmla="*/ 5533432 h 6734288"/>
                <a:gd name="connsiteX25" fmla="*/ 875910 w 5066244"/>
                <a:gd name="connsiteY25" fmla="*/ 5598255 h 6734288"/>
                <a:gd name="connsiteX26" fmla="*/ 965731 w 5066244"/>
                <a:gd name="connsiteY26" fmla="*/ 5692347 h 6734288"/>
                <a:gd name="connsiteX27" fmla="*/ 2266333 w 5066244"/>
                <a:gd name="connsiteY27" fmla="*/ 6017548 h 6734288"/>
                <a:gd name="connsiteX28" fmla="*/ 3391504 w 5066244"/>
                <a:gd name="connsiteY28" fmla="*/ 5644651 h 6734288"/>
                <a:gd name="connsiteX29" fmla="*/ 3588201 w 5066244"/>
                <a:gd name="connsiteY29" fmla="*/ 6217653 h 6734288"/>
                <a:gd name="connsiteX30" fmla="*/ 2249705 w 5066244"/>
                <a:gd name="connsiteY30" fmla="*/ 6660358 h 6734288"/>
                <a:gd name="connsiteX31" fmla="*/ 1871681 w 5066244"/>
                <a:gd name="connsiteY31" fmla="*/ 6682796 h 6734288"/>
                <a:gd name="connsiteX32" fmla="*/ 1793309 w 5066244"/>
                <a:gd name="connsiteY32" fmla="*/ 6590550 h 6734288"/>
                <a:gd name="connsiteX33" fmla="*/ 1110759 w 5066244"/>
                <a:gd name="connsiteY33" fmla="*/ 6734288 h 6734288"/>
                <a:gd name="connsiteX34" fmla="*/ 760659 w 5066244"/>
                <a:gd name="connsiteY34" fmla="*/ 6346215 h 6734288"/>
                <a:gd name="connsiteX35" fmla="*/ 723779 w 5066244"/>
                <a:gd name="connsiteY35" fmla="*/ 6338736 h 6734288"/>
                <a:gd name="connsiteX36" fmla="*/ 567036 w 5066244"/>
                <a:gd name="connsiteY36" fmla="*/ 6164212 h 6734288"/>
                <a:gd name="connsiteX37" fmla="*/ 553207 w 5066244"/>
                <a:gd name="connsiteY37" fmla="*/ 6184157 h 6734288"/>
                <a:gd name="connsiteX38" fmla="*/ 527852 w 5066244"/>
                <a:gd name="connsiteY38" fmla="*/ 6151747 h 6734288"/>
                <a:gd name="connsiteX39" fmla="*/ 486361 w 5066244"/>
                <a:gd name="connsiteY39" fmla="*/ 6209090 h 6734288"/>
                <a:gd name="connsiteX40" fmla="*/ 371110 w 5066244"/>
                <a:gd name="connsiteY40" fmla="*/ 6081936 h 6734288"/>
                <a:gd name="connsiteX41" fmla="*/ 414905 w 5066244"/>
                <a:gd name="connsiteY41" fmla="*/ 6032071 h 6734288"/>
                <a:gd name="connsiteX42" fmla="*/ 182098 w 5066244"/>
                <a:gd name="connsiteY42" fmla="*/ 5782751 h 6734288"/>
                <a:gd name="connsiteX43" fmla="*/ 195928 w 5066244"/>
                <a:gd name="connsiteY43" fmla="*/ 5755327 h 6734288"/>
                <a:gd name="connsiteX44" fmla="*/ 0 w 5066244"/>
                <a:gd name="connsiteY44" fmla="*/ 5548391 h 6734288"/>
                <a:gd name="connsiteX0" fmla="*/ 0 w 5066244"/>
                <a:gd name="connsiteY0" fmla="*/ 5435762 h 6621659"/>
                <a:gd name="connsiteX1" fmla="*/ 1942702 w 5066244"/>
                <a:gd name="connsiteY1" fmla="*/ 52931 h 6621659"/>
                <a:gd name="connsiteX2" fmla="*/ 3706253 w 5066244"/>
                <a:gd name="connsiteY2" fmla="*/ 568271 h 6621659"/>
                <a:gd name="connsiteX3" fmla="*/ 4256383 w 5066244"/>
                <a:gd name="connsiteY3" fmla="*/ 1178613 h 6621659"/>
                <a:gd name="connsiteX4" fmla="*/ 4317787 w 5066244"/>
                <a:gd name="connsiteY4" fmla="*/ 1186231 h 6621659"/>
                <a:gd name="connsiteX5" fmla="*/ 4482628 w 5066244"/>
                <a:gd name="connsiteY5" fmla="*/ 1367032 h 6621659"/>
                <a:gd name="connsiteX6" fmla="*/ 4482851 w 5066244"/>
                <a:gd name="connsiteY6" fmla="*/ 1422451 h 6621659"/>
                <a:gd name="connsiteX7" fmla="*/ 4644115 w 5066244"/>
                <a:gd name="connsiteY7" fmla="*/ 1614361 h 6621659"/>
                <a:gd name="connsiteX8" fmla="*/ 5024103 w 5066244"/>
                <a:gd name="connsiteY8" fmla="*/ 3406883 h 6621659"/>
                <a:gd name="connsiteX9" fmla="*/ 4832024 w 5066244"/>
                <a:gd name="connsiteY9" fmla="*/ 4273040 h 6621659"/>
                <a:gd name="connsiteX10" fmla="*/ 4962240 w 5066244"/>
                <a:gd name="connsiteY10" fmla="*/ 4339527 h 6621659"/>
                <a:gd name="connsiteX11" fmla="*/ 4892791 w 5066244"/>
                <a:gd name="connsiteY11" fmla="*/ 4757448 h 6621659"/>
                <a:gd name="connsiteX12" fmla="*/ 4735262 w 5066244"/>
                <a:gd name="connsiteY12" fmla="*/ 4695163 h 6621659"/>
                <a:gd name="connsiteX13" fmla="*/ 3591864 w 5066244"/>
                <a:gd name="connsiteY13" fmla="*/ 6099659 h 6621659"/>
                <a:gd name="connsiteX14" fmla="*/ 3395733 w 5066244"/>
                <a:gd name="connsiteY14" fmla="*/ 5530717 h 6621659"/>
                <a:gd name="connsiteX15" fmla="*/ 4212664 w 5066244"/>
                <a:gd name="connsiteY15" fmla="*/ 4484324 h 6621659"/>
                <a:gd name="connsiteX16" fmla="*/ 4492713 w 5066244"/>
                <a:gd name="connsiteY16" fmla="*/ 3240150 h 6621659"/>
                <a:gd name="connsiteX17" fmla="*/ 4173897 w 5066244"/>
                <a:gd name="connsiteY17" fmla="*/ 1936858 h 6621659"/>
                <a:gd name="connsiteX18" fmla="*/ 3356644 w 5066244"/>
                <a:gd name="connsiteY18" fmla="*/ 1050426 h 6621659"/>
                <a:gd name="connsiteX19" fmla="*/ 2062378 w 5066244"/>
                <a:gd name="connsiteY19" fmla="*/ 648673 h 6621659"/>
                <a:gd name="connsiteX20" fmla="*/ 374339 w 5066244"/>
                <a:gd name="connsiteY20" fmla="*/ 4951503 h 6621659"/>
                <a:gd name="connsiteX21" fmla="*/ 730694 w 5066244"/>
                <a:gd name="connsiteY21" fmla="*/ 5323569 h 6621659"/>
                <a:gd name="connsiteX22" fmla="*/ 792928 w 5066244"/>
                <a:gd name="connsiteY22" fmla="*/ 5306114 h 6621659"/>
                <a:gd name="connsiteX23" fmla="*/ 896655 w 5066244"/>
                <a:gd name="connsiteY23" fmla="*/ 5420803 h 6621659"/>
                <a:gd name="connsiteX24" fmla="*/ 875910 w 5066244"/>
                <a:gd name="connsiteY24" fmla="*/ 5485626 h 6621659"/>
                <a:gd name="connsiteX25" fmla="*/ 965731 w 5066244"/>
                <a:gd name="connsiteY25" fmla="*/ 5579718 h 6621659"/>
                <a:gd name="connsiteX26" fmla="*/ 2266333 w 5066244"/>
                <a:gd name="connsiteY26" fmla="*/ 5904919 h 6621659"/>
                <a:gd name="connsiteX27" fmla="*/ 3391504 w 5066244"/>
                <a:gd name="connsiteY27" fmla="*/ 5532022 h 6621659"/>
                <a:gd name="connsiteX28" fmla="*/ 3588201 w 5066244"/>
                <a:gd name="connsiteY28" fmla="*/ 6105024 h 6621659"/>
                <a:gd name="connsiteX29" fmla="*/ 2249705 w 5066244"/>
                <a:gd name="connsiteY29" fmla="*/ 6547729 h 6621659"/>
                <a:gd name="connsiteX30" fmla="*/ 1871681 w 5066244"/>
                <a:gd name="connsiteY30" fmla="*/ 6570167 h 6621659"/>
                <a:gd name="connsiteX31" fmla="*/ 1793309 w 5066244"/>
                <a:gd name="connsiteY31" fmla="*/ 6477921 h 6621659"/>
                <a:gd name="connsiteX32" fmla="*/ 1110759 w 5066244"/>
                <a:gd name="connsiteY32" fmla="*/ 6621659 h 6621659"/>
                <a:gd name="connsiteX33" fmla="*/ 760659 w 5066244"/>
                <a:gd name="connsiteY33" fmla="*/ 6233586 h 6621659"/>
                <a:gd name="connsiteX34" fmla="*/ 723779 w 5066244"/>
                <a:gd name="connsiteY34" fmla="*/ 6226107 h 6621659"/>
                <a:gd name="connsiteX35" fmla="*/ 567036 w 5066244"/>
                <a:gd name="connsiteY35" fmla="*/ 6051583 h 6621659"/>
                <a:gd name="connsiteX36" fmla="*/ 553207 w 5066244"/>
                <a:gd name="connsiteY36" fmla="*/ 6071528 h 6621659"/>
                <a:gd name="connsiteX37" fmla="*/ 527852 w 5066244"/>
                <a:gd name="connsiteY37" fmla="*/ 6039118 h 6621659"/>
                <a:gd name="connsiteX38" fmla="*/ 486361 w 5066244"/>
                <a:gd name="connsiteY38" fmla="*/ 6096461 h 6621659"/>
                <a:gd name="connsiteX39" fmla="*/ 371110 w 5066244"/>
                <a:gd name="connsiteY39" fmla="*/ 5969307 h 6621659"/>
                <a:gd name="connsiteX40" fmla="*/ 414905 w 5066244"/>
                <a:gd name="connsiteY40" fmla="*/ 5919442 h 6621659"/>
                <a:gd name="connsiteX41" fmla="*/ 182098 w 5066244"/>
                <a:gd name="connsiteY41" fmla="*/ 5670122 h 6621659"/>
                <a:gd name="connsiteX42" fmla="*/ 195928 w 5066244"/>
                <a:gd name="connsiteY42" fmla="*/ 5642698 h 6621659"/>
                <a:gd name="connsiteX43" fmla="*/ 0 w 5066244"/>
                <a:gd name="connsiteY43" fmla="*/ 5435762 h 6621659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356644 w 5066244"/>
                <a:gd name="connsiteY17" fmla="*/ 482155 h 6053388"/>
                <a:gd name="connsiteX18" fmla="*/ 2062378 w 5066244"/>
                <a:gd name="connsiteY18" fmla="*/ 80402 h 6053388"/>
                <a:gd name="connsiteX19" fmla="*/ 374339 w 5066244"/>
                <a:gd name="connsiteY19" fmla="*/ 4383232 h 6053388"/>
                <a:gd name="connsiteX20" fmla="*/ 730694 w 5066244"/>
                <a:gd name="connsiteY20" fmla="*/ 4755298 h 6053388"/>
                <a:gd name="connsiteX21" fmla="*/ 792928 w 5066244"/>
                <a:gd name="connsiteY21" fmla="*/ 4737843 h 6053388"/>
                <a:gd name="connsiteX22" fmla="*/ 896655 w 5066244"/>
                <a:gd name="connsiteY22" fmla="*/ 4852532 h 6053388"/>
                <a:gd name="connsiteX23" fmla="*/ 875910 w 5066244"/>
                <a:gd name="connsiteY23" fmla="*/ 4917355 h 6053388"/>
                <a:gd name="connsiteX24" fmla="*/ 965731 w 5066244"/>
                <a:gd name="connsiteY24" fmla="*/ 5011447 h 6053388"/>
                <a:gd name="connsiteX25" fmla="*/ 2266333 w 5066244"/>
                <a:gd name="connsiteY25" fmla="*/ 5336648 h 6053388"/>
                <a:gd name="connsiteX26" fmla="*/ 3391504 w 5066244"/>
                <a:gd name="connsiteY26" fmla="*/ 4963751 h 6053388"/>
                <a:gd name="connsiteX27" fmla="*/ 3588201 w 5066244"/>
                <a:gd name="connsiteY27" fmla="*/ 5536753 h 6053388"/>
                <a:gd name="connsiteX28" fmla="*/ 2249705 w 5066244"/>
                <a:gd name="connsiteY28" fmla="*/ 5979458 h 6053388"/>
                <a:gd name="connsiteX29" fmla="*/ 1871681 w 5066244"/>
                <a:gd name="connsiteY29" fmla="*/ 6001896 h 6053388"/>
                <a:gd name="connsiteX30" fmla="*/ 1793309 w 5066244"/>
                <a:gd name="connsiteY30" fmla="*/ 5909650 h 6053388"/>
                <a:gd name="connsiteX31" fmla="*/ 1110759 w 5066244"/>
                <a:gd name="connsiteY31" fmla="*/ 6053388 h 6053388"/>
                <a:gd name="connsiteX32" fmla="*/ 760659 w 5066244"/>
                <a:gd name="connsiteY32" fmla="*/ 5665315 h 6053388"/>
                <a:gd name="connsiteX33" fmla="*/ 723779 w 5066244"/>
                <a:gd name="connsiteY33" fmla="*/ 5657836 h 6053388"/>
                <a:gd name="connsiteX34" fmla="*/ 567036 w 5066244"/>
                <a:gd name="connsiteY34" fmla="*/ 5483312 h 6053388"/>
                <a:gd name="connsiteX35" fmla="*/ 553207 w 5066244"/>
                <a:gd name="connsiteY35" fmla="*/ 5503257 h 6053388"/>
                <a:gd name="connsiteX36" fmla="*/ 527852 w 5066244"/>
                <a:gd name="connsiteY36" fmla="*/ 5470847 h 6053388"/>
                <a:gd name="connsiteX37" fmla="*/ 486361 w 5066244"/>
                <a:gd name="connsiteY37" fmla="*/ 5528190 h 6053388"/>
                <a:gd name="connsiteX38" fmla="*/ 371110 w 5066244"/>
                <a:gd name="connsiteY38" fmla="*/ 5401036 h 6053388"/>
                <a:gd name="connsiteX39" fmla="*/ 414905 w 5066244"/>
                <a:gd name="connsiteY39" fmla="*/ 5351171 h 6053388"/>
                <a:gd name="connsiteX40" fmla="*/ 182098 w 5066244"/>
                <a:gd name="connsiteY40" fmla="*/ 5101851 h 6053388"/>
                <a:gd name="connsiteX41" fmla="*/ 195928 w 5066244"/>
                <a:gd name="connsiteY41" fmla="*/ 5074427 h 6053388"/>
                <a:gd name="connsiteX42" fmla="*/ 0 w 5066244"/>
                <a:gd name="connsiteY42" fmla="*/ 4867491 h 6053388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356644 w 5066244"/>
                <a:gd name="connsiteY17" fmla="*/ 482155 h 6053388"/>
                <a:gd name="connsiteX18" fmla="*/ 374339 w 5066244"/>
                <a:gd name="connsiteY18" fmla="*/ 4383232 h 6053388"/>
                <a:gd name="connsiteX19" fmla="*/ 730694 w 5066244"/>
                <a:gd name="connsiteY19" fmla="*/ 4755298 h 6053388"/>
                <a:gd name="connsiteX20" fmla="*/ 792928 w 5066244"/>
                <a:gd name="connsiteY20" fmla="*/ 4737843 h 6053388"/>
                <a:gd name="connsiteX21" fmla="*/ 896655 w 5066244"/>
                <a:gd name="connsiteY21" fmla="*/ 4852532 h 6053388"/>
                <a:gd name="connsiteX22" fmla="*/ 875910 w 5066244"/>
                <a:gd name="connsiteY22" fmla="*/ 4917355 h 6053388"/>
                <a:gd name="connsiteX23" fmla="*/ 965731 w 5066244"/>
                <a:gd name="connsiteY23" fmla="*/ 5011447 h 6053388"/>
                <a:gd name="connsiteX24" fmla="*/ 2266333 w 5066244"/>
                <a:gd name="connsiteY24" fmla="*/ 5336648 h 6053388"/>
                <a:gd name="connsiteX25" fmla="*/ 3391504 w 5066244"/>
                <a:gd name="connsiteY25" fmla="*/ 4963751 h 6053388"/>
                <a:gd name="connsiteX26" fmla="*/ 3588201 w 5066244"/>
                <a:gd name="connsiteY26" fmla="*/ 5536753 h 6053388"/>
                <a:gd name="connsiteX27" fmla="*/ 2249705 w 5066244"/>
                <a:gd name="connsiteY27" fmla="*/ 5979458 h 6053388"/>
                <a:gd name="connsiteX28" fmla="*/ 1871681 w 5066244"/>
                <a:gd name="connsiteY28" fmla="*/ 6001896 h 6053388"/>
                <a:gd name="connsiteX29" fmla="*/ 1793309 w 5066244"/>
                <a:gd name="connsiteY29" fmla="*/ 5909650 h 6053388"/>
                <a:gd name="connsiteX30" fmla="*/ 1110759 w 5066244"/>
                <a:gd name="connsiteY30" fmla="*/ 6053388 h 6053388"/>
                <a:gd name="connsiteX31" fmla="*/ 760659 w 5066244"/>
                <a:gd name="connsiteY31" fmla="*/ 5665315 h 6053388"/>
                <a:gd name="connsiteX32" fmla="*/ 723779 w 5066244"/>
                <a:gd name="connsiteY32" fmla="*/ 5657836 h 6053388"/>
                <a:gd name="connsiteX33" fmla="*/ 567036 w 5066244"/>
                <a:gd name="connsiteY33" fmla="*/ 5483312 h 6053388"/>
                <a:gd name="connsiteX34" fmla="*/ 553207 w 5066244"/>
                <a:gd name="connsiteY34" fmla="*/ 5503257 h 6053388"/>
                <a:gd name="connsiteX35" fmla="*/ 527852 w 5066244"/>
                <a:gd name="connsiteY35" fmla="*/ 5470847 h 6053388"/>
                <a:gd name="connsiteX36" fmla="*/ 486361 w 5066244"/>
                <a:gd name="connsiteY36" fmla="*/ 5528190 h 6053388"/>
                <a:gd name="connsiteX37" fmla="*/ 371110 w 5066244"/>
                <a:gd name="connsiteY37" fmla="*/ 5401036 h 6053388"/>
                <a:gd name="connsiteX38" fmla="*/ 414905 w 5066244"/>
                <a:gd name="connsiteY38" fmla="*/ 5351171 h 6053388"/>
                <a:gd name="connsiteX39" fmla="*/ 182098 w 5066244"/>
                <a:gd name="connsiteY39" fmla="*/ 5101851 h 6053388"/>
                <a:gd name="connsiteX40" fmla="*/ 195928 w 5066244"/>
                <a:gd name="connsiteY40" fmla="*/ 5074427 h 6053388"/>
                <a:gd name="connsiteX41" fmla="*/ 0 w 5066244"/>
                <a:gd name="connsiteY41" fmla="*/ 4867491 h 6053388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74339 w 5066244"/>
                <a:gd name="connsiteY17" fmla="*/ 4383232 h 6053388"/>
                <a:gd name="connsiteX18" fmla="*/ 730694 w 5066244"/>
                <a:gd name="connsiteY18" fmla="*/ 4755298 h 6053388"/>
                <a:gd name="connsiteX19" fmla="*/ 792928 w 5066244"/>
                <a:gd name="connsiteY19" fmla="*/ 4737843 h 6053388"/>
                <a:gd name="connsiteX20" fmla="*/ 896655 w 5066244"/>
                <a:gd name="connsiteY20" fmla="*/ 4852532 h 6053388"/>
                <a:gd name="connsiteX21" fmla="*/ 875910 w 5066244"/>
                <a:gd name="connsiteY21" fmla="*/ 4917355 h 6053388"/>
                <a:gd name="connsiteX22" fmla="*/ 965731 w 5066244"/>
                <a:gd name="connsiteY22" fmla="*/ 5011447 h 6053388"/>
                <a:gd name="connsiteX23" fmla="*/ 2266333 w 5066244"/>
                <a:gd name="connsiteY23" fmla="*/ 5336648 h 6053388"/>
                <a:gd name="connsiteX24" fmla="*/ 3391504 w 5066244"/>
                <a:gd name="connsiteY24" fmla="*/ 4963751 h 6053388"/>
                <a:gd name="connsiteX25" fmla="*/ 3588201 w 5066244"/>
                <a:gd name="connsiteY25" fmla="*/ 5536753 h 6053388"/>
                <a:gd name="connsiteX26" fmla="*/ 2249705 w 5066244"/>
                <a:gd name="connsiteY26" fmla="*/ 5979458 h 6053388"/>
                <a:gd name="connsiteX27" fmla="*/ 1871681 w 5066244"/>
                <a:gd name="connsiteY27" fmla="*/ 6001896 h 6053388"/>
                <a:gd name="connsiteX28" fmla="*/ 1793309 w 5066244"/>
                <a:gd name="connsiteY28" fmla="*/ 5909650 h 6053388"/>
                <a:gd name="connsiteX29" fmla="*/ 1110759 w 5066244"/>
                <a:gd name="connsiteY29" fmla="*/ 6053388 h 6053388"/>
                <a:gd name="connsiteX30" fmla="*/ 760659 w 5066244"/>
                <a:gd name="connsiteY30" fmla="*/ 5665315 h 6053388"/>
                <a:gd name="connsiteX31" fmla="*/ 723779 w 5066244"/>
                <a:gd name="connsiteY31" fmla="*/ 5657836 h 6053388"/>
                <a:gd name="connsiteX32" fmla="*/ 567036 w 5066244"/>
                <a:gd name="connsiteY32" fmla="*/ 5483312 h 6053388"/>
                <a:gd name="connsiteX33" fmla="*/ 553207 w 5066244"/>
                <a:gd name="connsiteY33" fmla="*/ 5503257 h 6053388"/>
                <a:gd name="connsiteX34" fmla="*/ 527852 w 5066244"/>
                <a:gd name="connsiteY34" fmla="*/ 5470847 h 6053388"/>
                <a:gd name="connsiteX35" fmla="*/ 486361 w 5066244"/>
                <a:gd name="connsiteY35" fmla="*/ 5528190 h 6053388"/>
                <a:gd name="connsiteX36" fmla="*/ 371110 w 5066244"/>
                <a:gd name="connsiteY36" fmla="*/ 5401036 h 6053388"/>
                <a:gd name="connsiteX37" fmla="*/ 414905 w 5066244"/>
                <a:gd name="connsiteY37" fmla="*/ 5351171 h 6053388"/>
                <a:gd name="connsiteX38" fmla="*/ 182098 w 5066244"/>
                <a:gd name="connsiteY38" fmla="*/ 5101851 h 6053388"/>
                <a:gd name="connsiteX39" fmla="*/ 195928 w 5066244"/>
                <a:gd name="connsiteY39" fmla="*/ 5074427 h 6053388"/>
                <a:gd name="connsiteX40" fmla="*/ 0 w 5066244"/>
                <a:gd name="connsiteY40" fmla="*/ 4867491 h 6053388"/>
                <a:gd name="connsiteX0" fmla="*/ 0 w 5066244"/>
                <a:gd name="connsiteY0" fmla="*/ 4257148 h 5443045"/>
                <a:gd name="connsiteX1" fmla="*/ 4256383 w 5066244"/>
                <a:gd name="connsiteY1" fmla="*/ -1 h 5443045"/>
                <a:gd name="connsiteX2" fmla="*/ 4317787 w 5066244"/>
                <a:gd name="connsiteY2" fmla="*/ 7617 h 5443045"/>
                <a:gd name="connsiteX3" fmla="*/ 4482628 w 5066244"/>
                <a:gd name="connsiteY3" fmla="*/ 188418 h 5443045"/>
                <a:gd name="connsiteX4" fmla="*/ 4482851 w 5066244"/>
                <a:gd name="connsiteY4" fmla="*/ 243837 h 5443045"/>
                <a:gd name="connsiteX5" fmla="*/ 4644115 w 5066244"/>
                <a:gd name="connsiteY5" fmla="*/ 435747 h 5443045"/>
                <a:gd name="connsiteX6" fmla="*/ 5024103 w 5066244"/>
                <a:gd name="connsiteY6" fmla="*/ 2228269 h 5443045"/>
                <a:gd name="connsiteX7" fmla="*/ 4832024 w 5066244"/>
                <a:gd name="connsiteY7" fmla="*/ 3094426 h 5443045"/>
                <a:gd name="connsiteX8" fmla="*/ 4962240 w 5066244"/>
                <a:gd name="connsiteY8" fmla="*/ 3160913 h 5443045"/>
                <a:gd name="connsiteX9" fmla="*/ 4892791 w 5066244"/>
                <a:gd name="connsiteY9" fmla="*/ 3578834 h 5443045"/>
                <a:gd name="connsiteX10" fmla="*/ 4735262 w 5066244"/>
                <a:gd name="connsiteY10" fmla="*/ 3516549 h 5443045"/>
                <a:gd name="connsiteX11" fmla="*/ 3591864 w 5066244"/>
                <a:gd name="connsiteY11" fmla="*/ 4921045 h 5443045"/>
                <a:gd name="connsiteX12" fmla="*/ 3395733 w 5066244"/>
                <a:gd name="connsiteY12" fmla="*/ 4352103 h 5443045"/>
                <a:gd name="connsiteX13" fmla="*/ 4212664 w 5066244"/>
                <a:gd name="connsiteY13" fmla="*/ 3305710 h 5443045"/>
                <a:gd name="connsiteX14" fmla="*/ 4492713 w 5066244"/>
                <a:gd name="connsiteY14" fmla="*/ 2061536 h 5443045"/>
                <a:gd name="connsiteX15" fmla="*/ 4173897 w 5066244"/>
                <a:gd name="connsiteY15" fmla="*/ 758244 h 5443045"/>
                <a:gd name="connsiteX16" fmla="*/ 374339 w 5066244"/>
                <a:gd name="connsiteY16" fmla="*/ 3772889 h 5443045"/>
                <a:gd name="connsiteX17" fmla="*/ 730694 w 5066244"/>
                <a:gd name="connsiteY17" fmla="*/ 4144955 h 5443045"/>
                <a:gd name="connsiteX18" fmla="*/ 792928 w 5066244"/>
                <a:gd name="connsiteY18" fmla="*/ 4127500 h 5443045"/>
                <a:gd name="connsiteX19" fmla="*/ 896655 w 5066244"/>
                <a:gd name="connsiteY19" fmla="*/ 4242189 h 5443045"/>
                <a:gd name="connsiteX20" fmla="*/ 875910 w 5066244"/>
                <a:gd name="connsiteY20" fmla="*/ 4307012 h 5443045"/>
                <a:gd name="connsiteX21" fmla="*/ 965731 w 5066244"/>
                <a:gd name="connsiteY21" fmla="*/ 4401104 h 5443045"/>
                <a:gd name="connsiteX22" fmla="*/ 2266333 w 5066244"/>
                <a:gd name="connsiteY22" fmla="*/ 4726305 h 5443045"/>
                <a:gd name="connsiteX23" fmla="*/ 3391504 w 5066244"/>
                <a:gd name="connsiteY23" fmla="*/ 4353408 h 5443045"/>
                <a:gd name="connsiteX24" fmla="*/ 3588201 w 5066244"/>
                <a:gd name="connsiteY24" fmla="*/ 4926410 h 5443045"/>
                <a:gd name="connsiteX25" fmla="*/ 2249705 w 5066244"/>
                <a:gd name="connsiteY25" fmla="*/ 5369115 h 5443045"/>
                <a:gd name="connsiteX26" fmla="*/ 1871681 w 5066244"/>
                <a:gd name="connsiteY26" fmla="*/ 5391553 h 5443045"/>
                <a:gd name="connsiteX27" fmla="*/ 1793309 w 5066244"/>
                <a:gd name="connsiteY27" fmla="*/ 5299307 h 5443045"/>
                <a:gd name="connsiteX28" fmla="*/ 1110759 w 5066244"/>
                <a:gd name="connsiteY28" fmla="*/ 5443045 h 5443045"/>
                <a:gd name="connsiteX29" fmla="*/ 760659 w 5066244"/>
                <a:gd name="connsiteY29" fmla="*/ 5054972 h 5443045"/>
                <a:gd name="connsiteX30" fmla="*/ 723779 w 5066244"/>
                <a:gd name="connsiteY30" fmla="*/ 5047493 h 5443045"/>
                <a:gd name="connsiteX31" fmla="*/ 567036 w 5066244"/>
                <a:gd name="connsiteY31" fmla="*/ 4872969 h 5443045"/>
                <a:gd name="connsiteX32" fmla="*/ 553207 w 5066244"/>
                <a:gd name="connsiteY32" fmla="*/ 4892914 h 5443045"/>
                <a:gd name="connsiteX33" fmla="*/ 527852 w 5066244"/>
                <a:gd name="connsiteY33" fmla="*/ 4860504 h 5443045"/>
                <a:gd name="connsiteX34" fmla="*/ 486361 w 5066244"/>
                <a:gd name="connsiteY34" fmla="*/ 4917847 h 5443045"/>
                <a:gd name="connsiteX35" fmla="*/ 371110 w 5066244"/>
                <a:gd name="connsiteY35" fmla="*/ 4790693 h 5443045"/>
                <a:gd name="connsiteX36" fmla="*/ 414905 w 5066244"/>
                <a:gd name="connsiteY36" fmla="*/ 4740828 h 5443045"/>
                <a:gd name="connsiteX37" fmla="*/ 182098 w 5066244"/>
                <a:gd name="connsiteY37" fmla="*/ 4491508 h 5443045"/>
                <a:gd name="connsiteX38" fmla="*/ 195928 w 5066244"/>
                <a:gd name="connsiteY38" fmla="*/ 4464084 h 5443045"/>
                <a:gd name="connsiteX39" fmla="*/ 0 w 5066244"/>
                <a:gd name="connsiteY39" fmla="*/ 4257148 h 5443045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317787 w 5066244"/>
                <a:gd name="connsiteY2" fmla="*/ 7618 h 5443046"/>
                <a:gd name="connsiteX3" fmla="*/ 4482628 w 5066244"/>
                <a:gd name="connsiteY3" fmla="*/ 188419 h 5443046"/>
                <a:gd name="connsiteX4" fmla="*/ 4482851 w 5066244"/>
                <a:gd name="connsiteY4" fmla="*/ 243838 h 5443046"/>
                <a:gd name="connsiteX5" fmla="*/ 4644115 w 5066244"/>
                <a:gd name="connsiteY5" fmla="*/ 435748 h 5443046"/>
                <a:gd name="connsiteX6" fmla="*/ 5024103 w 5066244"/>
                <a:gd name="connsiteY6" fmla="*/ 2228270 h 5443046"/>
                <a:gd name="connsiteX7" fmla="*/ 4832024 w 5066244"/>
                <a:gd name="connsiteY7" fmla="*/ 3094427 h 5443046"/>
                <a:gd name="connsiteX8" fmla="*/ 4962240 w 5066244"/>
                <a:gd name="connsiteY8" fmla="*/ 3160914 h 5443046"/>
                <a:gd name="connsiteX9" fmla="*/ 4892791 w 5066244"/>
                <a:gd name="connsiteY9" fmla="*/ 3578835 h 5443046"/>
                <a:gd name="connsiteX10" fmla="*/ 4735262 w 5066244"/>
                <a:gd name="connsiteY10" fmla="*/ 3516550 h 5443046"/>
                <a:gd name="connsiteX11" fmla="*/ 3591864 w 5066244"/>
                <a:gd name="connsiteY11" fmla="*/ 4921046 h 5443046"/>
                <a:gd name="connsiteX12" fmla="*/ 3395733 w 5066244"/>
                <a:gd name="connsiteY12" fmla="*/ 4352104 h 5443046"/>
                <a:gd name="connsiteX13" fmla="*/ 4212664 w 5066244"/>
                <a:gd name="connsiteY13" fmla="*/ 3305711 h 5443046"/>
                <a:gd name="connsiteX14" fmla="*/ 4492713 w 5066244"/>
                <a:gd name="connsiteY14" fmla="*/ 2061537 h 5443046"/>
                <a:gd name="connsiteX15" fmla="*/ 374339 w 5066244"/>
                <a:gd name="connsiteY15" fmla="*/ 3772890 h 5443046"/>
                <a:gd name="connsiteX16" fmla="*/ 730694 w 5066244"/>
                <a:gd name="connsiteY16" fmla="*/ 4144956 h 5443046"/>
                <a:gd name="connsiteX17" fmla="*/ 792928 w 5066244"/>
                <a:gd name="connsiteY17" fmla="*/ 4127501 h 5443046"/>
                <a:gd name="connsiteX18" fmla="*/ 896655 w 5066244"/>
                <a:gd name="connsiteY18" fmla="*/ 4242190 h 5443046"/>
                <a:gd name="connsiteX19" fmla="*/ 875910 w 5066244"/>
                <a:gd name="connsiteY19" fmla="*/ 4307013 h 5443046"/>
                <a:gd name="connsiteX20" fmla="*/ 965731 w 5066244"/>
                <a:gd name="connsiteY20" fmla="*/ 4401105 h 5443046"/>
                <a:gd name="connsiteX21" fmla="*/ 2266333 w 5066244"/>
                <a:gd name="connsiteY21" fmla="*/ 4726306 h 5443046"/>
                <a:gd name="connsiteX22" fmla="*/ 3391504 w 5066244"/>
                <a:gd name="connsiteY22" fmla="*/ 4353409 h 5443046"/>
                <a:gd name="connsiteX23" fmla="*/ 3588201 w 5066244"/>
                <a:gd name="connsiteY23" fmla="*/ 4926411 h 5443046"/>
                <a:gd name="connsiteX24" fmla="*/ 2249705 w 5066244"/>
                <a:gd name="connsiteY24" fmla="*/ 5369116 h 5443046"/>
                <a:gd name="connsiteX25" fmla="*/ 1871681 w 5066244"/>
                <a:gd name="connsiteY25" fmla="*/ 5391554 h 5443046"/>
                <a:gd name="connsiteX26" fmla="*/ 1793309 w 5066244"/>
                <a:gd name="connsiteY26" fmla="*/ 5299308 h 5443046"/>
                <a:gd name="connsiteX27" fmla="*/ 1110759 w 5066244"/>
                <a:gd name="connsiteY27" fmla="*/ 5443046 h 5443046"/>
                <a:gd name="connsiteX28" fmla="*/ 760659 w 5066244"/>
                <a:gd name="connsiteY28" fmla="*/ 5054973 h 5443046"/>
                <a:gd name="connsiteX29" fmla="*/ 723779 w 5066244"/>
                <a:gd name="connsiteY29" fmla="*/ 5047494 h 5443046"/>
                <a:gd name="connsiteX30" fmla="*/ 567036 w 5066244"/>
                <a:gd name="connsiteY30" fmla="*/ 4872970 h 5443046"/>
                <a:gd name="connsiteX31" fmla="*/ 553207 w 5066244"/>
                <a:gd name="connsiteY31" fmla="*/ 4892915 h 5443046"/>
                <a:gd name="connsiteX32" fmla="*/ 527852 w 5066244"/>
                <a:gd name="connsiteY32" fmla="*/ 4860505 h 5443046"/>
                <a:gd name="connsiteX33" fmla="*/ 486361 w 5066244"/>
                <a:gd name="connsiteY33" fmla="*/ 4917848 h 5443046"/>
                <a:gd name="connsiteX34" fmla="*/ 371110 w 5066244"/>
                <a:gd name="connsiteY34" fmla="*/ 4790694 h 5443046"/>
                <a:gd name="connsiteX35" fmla="*/ 414905 w 5066244"/>
                <a:gd name="connsiteY35" fmla="*/ 4740829 h 5443046"/>
                <a:gd name="connsiteX36" fmla="*/ 182098 w 5066244"/>
                <a:gd name="connsiteY36" fmla="*/ 4491509 h 5443046"/>
                <a:gd name="connsiteX37" fmla="*/ 195928 w 5066244"/>
                <a:gd name="connsiteY37" fmla="*/ 4464085 h 5443046"/>
                <a:gd name="connsiteX38" fmla="*/ 0 w 5066244"/>
                <a:gd name="connsiteY38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4735262 w 5066244"/>
                <a:gd name="connsiteY9" fmla="*/ 3516550 h 5443046"/>
                <a:gd name="connsiteX10" fmla="*/ 3591864 w 5066244"/>
                <a:gd name="connsiteY10" fmla="*/ 4921046 h 5443046"/>
                <a:gd name="connsiteX11" fmla="*/ 3395733 w 5066244"/>
                <a:gd name="connsiteY11" fmla="*/ 4352104 h 5443046"/>
                <a:gd name="connsiteX12" fmla="*/ 4212664 w 5066244"/>
                <a:gd name="connsiteY12" fmla="*/ 3305711 h 5443046"/>
                <a:gd name="connsiteX13" fmla="*/ 4492713 w 5066244"/>
                <a:gd name="connsiteY13" fmla="*/ 2061537 h 5443046"/>
                <a:gd name="connsiteX14" fmla="*/ 374339 w 5066244"/>
                <a:gd name="connsiteY14" fmla="*/ 3772890 h 5443046"/>
                <a:gd name="connsiteX15" fmla="*/ 730694 w 5066244"/>
                <a:gd name="connsiteY15" fmla="*/ 4144956 h 5443046"/>
                <a:gd name="connsiteX16" fmla="*/ 792928 w 5066244"/>
                <a:gd name="connsiteY16" fmla="*/ 4127501 h 5443046"/>
                <a:gd name="connsiteX17" fmla="*/ 896655 w 5066244"/>
                <a:gd name="connsiteY17" fmla="*/ 4242190 h 5443046"/>
                <a:gd name="connsiteX18" fmla="*/ 875910 w 5066244"/>
                <a:gd name="connsiteY18" fmla="*/ 4307013 h 5443046"/>
                <a:gd name="connsiteX19" fmla="*/ 965731 w 5066244"/>
                <a:gd name="connsiteY19" fmla="*/ 4401105 h 5443046"/>
                <a:gd name="connsiteX20" fmla="*/ 2266333 w 5066244"/>
                <a:gd name="connsiteY20" fmla="*/ 4726306 h 5443046"/>
                <a:gd name="connsiteX21" fmla="*/ 3391504 w 5066244"/>
                <a:gd name="connsiteY21" fmla="*/ 4353409 h 5443046"/>
                <a:gd name="connsiteX22" fmla="*/ 3588201 w 5066244"/>
                <a:gd name="connsiteY22" fmla="*/ 4926411 h 5443046"/>
                <a:gd name="connsiteX23" fmla="*/ 2249705 w 5066244"/>
                <a:gd name="connsiteY23" fmla="*/ 5369116 h 5443046"/>
                <a:gd name="connsiteX24" fmla="*/ 1871681 w 5066244"/>
                <a:gd name="connsiteY24" fmla="*/ 5391554 h 5443046"/>
                <a:gd name="connsiteX25" fmla="*/ 1793309 w 5066244"/>
                <a:gd name="connsiteY25" fmla="*/ 5299308 h 5443046"/>
                <a:gd name="connsiteX26" fmla="*/ 1110759 w 5066244"/>
                <a:gd name="connsiteY26" fmla="*/ 5443046 h 5443046"/>
                <a:gd name="connsiteX27" fmla="*/ 760659 w 5066244"/>
                <a:gd name="connsiteY27" fmla="*/ 5054973 h 5443046"/>
                <a:gd name="connsiteX28" fmla="*/ 723779 w 5066244"/>
                <a:gd name="connsiteY28" fmla="*/ 5047494 h 5443046"/>
                <a:gd name="connsiteX29" fmla="*/ 567036 w 5066244"/>
                <a:gd name="connsiteY29" fmla="*/ 4872970 h 5443046"/>
                <a:gd name="connsiteX30" fmla="*/ 553207 w 5066244"/>
                <a:gd name="connsiteY30" fmla="*/ 4892915 h 5443046"/>
                <a:gd name="connsiteX31" fmla="*/ 527852 w 5066244"/>
                <a:gd name="connsiteY31" fmla="*/ 4860505 h 5443046"/>
                <a:gd name="connsiteX32" fmla="*/ 486361 w 5066244"/>
                <a:gd name="connsiteY32" fmla="*/ 4917848 h 5443046"/>
                <a:gd name="connsiteX33" fmla="*/ 371110 w 5066244"/>
                <a:gd name="connsiteY33" fmla="*/ 4790694 h 5443046"/>
                <a:gd name="connsiteX34" fmla="*/ 414905 w 5066244"/>
                <a:gd name="connsiteY34" fmla="*/ 4740829 h 5443046"/>
                <a:gd name="connsiteX35" fmla="*/ 182098 w 5066244"/>
                <a:gd name="connsiteY35" fmla="*/ 4491509 h 5443046"/>
                <a:gd name="connsiteX36" fmla="*/ 195928 w 5066244"/>
                <a:gd name="connsiteY36" fmla="*/ 4464085 h 5443046"/>
                <a:gd name="connsiteX37" fmla="*/ 0 w 5066244"/>
                <a:gd name="connsiteY37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4735262 w 5066244"/>
                <a:gd name="connsiteY9" fmla="*/ 3516550 h 5443046"/>
                <a:gd name="connsiteX10" fmla="*/ 3591864 w 5066244"/>
                <a:gd name="connsiteY10" fmla="*/ 4921046 h 5443046"/>
                <a:gd name="connsiteX11" fmla="*/ 3395733 w 5066244"/>
                <a:gd name="connsiteY11" fmla="*/ 4352104 h 5443046"/>
                <a:gd name="connsiteX12" fmla="*/ 4492713 w 5066244"/>
                <a:gd name="connsiteY12" fmla="*/ 2061537 h 5443046"/>
                <a:gd name="connsiteX13" fmla="*/ 374339 w 5066244"/>
                <a:gd name="connsiteY13" fmla="*/ 3772890 h 5443046"/>
                <a:gd name="connsiteX14" fmla="*/ 730694 w 5066244"/>
                <a:gd name="connsiteY14" fmla="*/ 4144956 h 5443046"/>
                <a:gd name="connsiteX15" fmla="*/ 792928 w 5066244"/>
                <a:gd name="connsiteY15" fmla="*/ 4127501 h 5443046"/>
                <a:gd name="connsiteX16" fmla="*/ 896655 w 5066244"/>
                <a:gd name="connsiteY16" fmla="*/ 4242190 h 5443046"/>
                <a:gd name="connsiteX17" fmla="*/ 875910 w 5066244"/>
                <a:gd name="connsiteY17" fmla="*/ 4307013 h 5443046"/>
                <a:gd name="connsiteX18" fmla="*/ 965731 w 5066244"/>
                <a:gd name="connsiteY18" fmla="*/ 4401105 h 5443046"/>
                <a:gd name="connsiteX19" fmla="*/ 2266333 w 5066244"/>
                <a:gd name="connsiteY19" fmla="*/ 4726306 h 5443046"/>
                <a:gd name="connsiteX20" fmla="*/ 3391504 w 5066244"/>
                <a:gd name="connsiteY20" fmla="*/ 4353409 h 5443046"/>
                <a:gd name="connsiteX21" fmla="*/ 3588201 w 5066244"/>
                <a:gd name="connsiteY21" fmla="*/ 4926411 h 5443046"/>
                <a:gd name="connsiteX22" fmla="*/ 2249705 w 5066244"/>
                <a:gd name="connsiteY22" fmla="*/ 5369116 h 5443046"/>
                <a:gd name="connsiteX23" fmla="*/ 1871681 w 5066244"/>
                <a:gd name="connsiteY23" fmla="*/ 5391554 h 5443046"/>
                <a:gd name="connsiteX24" fmla="*/ 1793309 w 5066244"/>
                <a:gd name="connsiteY24" fmla="*/ 5299308 h 5443046"/>
                <a:gd name="connsiteX25" fmla="*/ 1110759 w 5066244"/>
                <a:gd name="connsiteY25" fmla="*/ 5443046 h 5443046"/>
                <a:gd name="connsiteX26" fmla="*/ 760659 w 5066244"/>
                <a:gd name="connsiteY26" fmla="*/ 5054973 h 5443046"/>
                <a:gd name="connsiteX27" fmla="*/ 723779 w 5066244"/>
                <a:gd name="connsiteY27" fmla="*/ 5047494 h 5443046"/>
                <a:gd name="connsiteX28" fmla="*/ 567036 w 5066244"/>
                <a:gd name="connsiteY28" fmla="*/ 4872970 h 5443046"/>
                <a:gd name="connsiteX29" fmla="*/ 553207 w 5066244"/>
                <a:gd name="connsiteY29" fmla="*/ 4892915 h 5443046"/>
                <a:gd name="connsiteX30" fmla="*/ 527852 w 5066244"/>
                <a:gd name="connsiteY30" fmla="*/ 4860505 h 5443046"/>
                <a:gd name="connsiteX31" fmla="*/ 486361 w 5066244"/>
                <a:gd name="connsiteY31" fmla="*/ 4917848 h 5443046"/>
                <a:gd name="connsiteX32" fmla="*/ 371110 w 5066244"/>
                <a:gd name="connsiteY32" fmla="*/ 4790694 h 5443046"/>
                <a:gd name="connsiteX33" fmla="*/ 414905 w 5066244"/>
                <a:gd name="connsiteY33" fmla="*/ 4740829 h 5443046"/>
                <a:gd name="connsiteX34" fmla="*/ 182098 w 5066244"/>
                <a:gd name="connsiteY34" fmla="*/ 4491509 h 5443046"/>
                <a:gd name="connsiteX35" fmla="*/ 195928 w 5066244"/>
                <a:gd name="connsiteY35" fmla="*/ 4464085 h 5443046"/>
                <a:gd name="connsiteX36" fmla="*/ 0 w 5066244"/>
                <a:gd name="connsiteY36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3591864 w 5066244"/>
                <a:gd name="connsiteY9" fmla="*/ 4921046 h 5443046"/>
                <a:gd name="connsiteX10" fmla="*/ 3395733 w 5066244"/>
                <a:gd name="connsiteY10" fmla="*/ 4352104 h 5443046"/>
                <a:gd name="connsiteX11" fmla="*/ 4492713 w 5066244"/>
                <a:gd name="connsiteY11" fmla="*/ 2061537 h 5443046"/>
                <a:gd name="connsiteX12" fmla="*/ 374339 w 5066244"/>
                <a:gd name="connsiteY12" fmla="*/ 3772890 h 5443046"/>
                <a:gd name="connsiteX13" fmla="*/ 730694 w 5066244"/>
                <a:gd name="connsiteY13" fmla="*/ 4144956 h 5443046"/>
                <a:gd name="connsiteX14" fmla="*/ 792928 w 5066244"/>
                <a:gd name="connsiteY14" fmla="*/ 4127501 h 5443046"/>
                <a:gd name="connsiteX15" fmla="*/ 896655 w 5066244"/>
                <a:gd name="connsiteY15" fmla="*/ 4242190 h 5443046"/>
                <a:gd name="connsiteX16" fmla="*/ 875910 w 5066244"/>
                <a:gd name="connsiteY16" fmla="*/ 4307013 h 5443046"/>
                <a:gd name="connsiteX17" fmla="*/ 965731 w 5066244"/>
                <a:gd name="connsiteY17" fmla="*/ 4401105 h 5443046"/>
                <a:gd name="connsiteX18" fmla="*/ 2266333 w 5066244"/>
                <a:gd name="connsiteY18" fmla="*/ 4726306 h 5443046"/>
                <a:gd name="connsiteX19" fmla="*/ 3391504 w 5066244"/>
                <a:gd name="connsiteY19" fmla="*/ 4353409 h 5443046"/>
                <a:gd name="connsiteX20" fmla="*/ 3588201 w 5066244"/>
                <a:gd name="connsiteY20" fmla="*/ 4926411 h 5443046"/>
                <a:gd name="connsiteX21" fmla="*/ 2249705 w 5066244"/>
                <a:gd name="connsiteY21" fmla="*/ 5369116 h 5443046"/>
                <a:gd name="connsiteX22" fmla="*/ 1871681 w 5066244"/>
                <a:gd name="connsiteY22" fmla="*/ 5391554 h 5443046"/>
                <a:gd name="connsiteX23" fmla="*/ 1793309 w 5066244"/>
                <a:gd name="connsiteY23" fmla="*/ 5299308 h 5443046"/>
                <a:gd name="connsiteX24" fmla="*/ 1110759 w 5066244"/>
                <a:gd name="connsiteY24" fmla="*/ 5443046 h 5443046"/>
                <a:gd name="connsiteX25" fmla="*/ 760659 w 5066244"/>
                <a:gd name="connsiteY25" fmla="*/ 5054973 h 5443046"/>
                <a:gd name="connsiteX26" fmla="*/ 723779 w 5066244"/>
                <a:gd name="connsiteY26" fmla="*/ 5047494 h 5443046"/>
                <a:gd name="connsiteX27" fmla="*/ 567036 w 5066244"/>
                <a:gd name="connsiteY27" fmla="*/ 4872970 h 5443046"/>
                <a:gd name="connsiteX28" fmla="*/ 553207 w 5066244"/>
                <a:gd name="connsiteY28" fmla="*/ 4892915 h 5443046"/>
                <a:gd name="connsiteX29" fmla="*/ 527852 w 5066244"/>
                <a:gd name="connsiteY29" fmla="*/ 4860505 h 5443046"/>
                <a:gd name="connsiteX30" fmla="*/ 486361 w 5066244"/>
                <a:gd name="connsiteY30" fmla="*/ 4917848 h 5443046"/>
                <a:gd name="connsiteX31" fmla="*/ 371110 w 5066244"/>
                <a:gd name="connsiteY31" fmla="*/ 4790694 h 5443046"/>
                <a:gd name="connsiteX32" fmla="*/ 414905 w 5066244"/>
                <a:gd name="connsiteY32" fmla="*/ 4740829 h 5443046"/>
                <a:gd name="connsiteX33" fmla="*/ 182098 w 5066244"/>
                <a:gd name="connsiteY33" fmla="*/ 4491509 h 5443046"/>
                <a:gd name="connsiteX34" fmla="*/ 195928 w 5066244"/>
                <a:gd name="connsiteY34" fmla="*/ 4464085 h 5443046"/>
                <a:gd name="connsiteX35" fmla="*/ 0 w 5066244"/>
                <a:gd name="connsiteY35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3591864 w 5066244"/>
                <a:gd name="connsiteY8" fmla="*/ 4921046 h 5443046"/>
                <a:gd name="connsiteX9" fmla="*/ 3395733 w 5066244"/>
                <a:gd name="connsiteY9" fmla="*/ 4352104 h 5443046"/>
                <a:gd name="connsiteX10" fmla="*/ 4492713 w 5066244"/>
                <a:gd name="connsiteY10" fmla="*/ 2061537 h 5443046"/>
                <a:gd name="connsiteX11" fmla="*/ 374339 w 5066244"/>
                <a:gd name="connsiteY11" fmla="*/ 3772890 h 5443046"/>
                <a:gd name="connsiteX12" fmla="*/ 730694 w 5066244"/>
                <a:gd name="connsiteY12" fmla="*/ 4144956 h 5443046"/>
                <a:gd name="connsiteX13" fmla="*/ 792928 w 5066244"/>
                <a:gd name="connsiteY13" fmla="*/ 4127501 h 5443046"/>
                <a:gd name="connsiteX14" fmla="*/ 896655 w 5066244"/>
                <a:gd name="connsiteY14" fmla="*/ 4242190 h 5443046"/>
                <a:gd name="connsiteX15" fmla="*/ 875910 w 5066244"/>
                <a:gd name="connsiteY15" fmla="*/ 4307013 h 5443046"/>
                <a:gd name="connsiteX16" fmla="*/ 965731 w 5066244"/>
                <a:gd name="connsiteY16" fmla="*/ 4401105 h 5443046"/>
                <a:gd name="connsiteX17" fmla="*/ 2266333 w 5066244"/>
                <a:gd name="connsiteY17" fmla="*/ 4726306 h 5443046"/>
                <a:gd name="connsiteX18" fmla="*/ 3391504 w 5066244"/>
                <a:gd name="connsiteY18" fmla="*/ 4353409 h 5443046"/>
                <a:gd name="connsiteX19" fmla="*/ 3588201 w 5066244"/>
                <a:gd name="connsiteY19" fmla="*/ 4926411 h 5443046"/>
                <a:gd name="connsiteX20" fmla="*/ 2249705 w 5066244"/>
                <a:gd name="connsiteY20" fmla="*/ 5369116 h 5443046"/>
                <a:gd name="connsiteX21" fmla="*/ 1871681 w 5066244"/>
                <a:gd name="connsiteY21" fmla="*/ 5391554 h 5443046"/>
                <a:gd name="connsiteX22" fmla="*/ 1793309 w 5066244"/>
                <a:gd name="connsiteY22" fmla="*/ 5299308 h 5443046"/>
                <a:gd name="connsiteX23" fmla="*/ 1110759 w 5066244"/>
                <a:gd name="connsiteY23" fmla="*/ 5443046 h 5443046"/>
                <a:gd name="connsiteX24" fmla="*/ 760659 w 5066244"/>
                <a:gd name="connsiteY24" fmla="*/ 5054973 h 5443046"/>
                <a:gd name="connsiteX25" fmla="*/ 723779 w 5066244"/>
                <a:gd name="connsiteY25" fmla="*/ 5047494 h 5443046"/>
                <a:gd name="connsiteX26" fmla="*/ 567036 w 5066244"/>
                <a:gd name="connsiteY26" fmla="*/ 4872970 h 5443046"/>
                <a:gd name="connsiteX27" fmla="*/ 553207 w 5066244"/>
                <a:gd name="connsiteY27" fmla="*/ 4892915 h 5443046"/>
                <a:gd name="connsiteX28" fmla="*/ 527852 w 5066244"/>
                <a:gd name="connsiteY28" fmla="*/ 4860505 h 5443046"/>
                <a:gd name="connsiteX29" fmla="*/ 486361 w 5066244"/>
                <a:gd name="connsiteY29" fmla="*/ 4917848 h 5443046"/>
                <a:gd name="connsiteX30" fmla="*/ 371110 w 5066244"/>
                <a:gd name="connsiteY30" fmla="*/ 4790694 h 5443046"/>
                <a:gd name="connsiteX31" fmla="*/ 414905 w 5066244"/>
                <a:gd name="connsiteY31" fmla="*/ 4740829 h 5443046"/>
                <a:gd name="connsiteX32" fmla="*/ 182098 w 5066244"/>
                <a:gd name="connsiteY32" fmla="*/ 4491509 h 5443046"/>
                <a:gd name="connsiteX33" fmla="*/ 195928 w 5066244"/>
                <a:gd name="connsiteY33" fmla="*/ 4464085 h 5443046"/>
                <a:gd name="connsiteX34" fmla="*/ 0 w 5066244"/>
                <a:gd name="connsiteY34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3591864 w 5066244"/>
                <a:gd name="connsiteY7" fmla="*/ 4921046 h 5443046"/>
                <a:gd name="connsiteX8" fmla="*/ 3395733 w 5066244"/>
                <a:gd name="connsiteY8" fmla="*/ 4352104 h 5443046"/>
                <a:gd name="connsiteX9" fmla="*/ 4492713 w 5066244"/>
                <a:gd name="connsiteY9" fmla="*/ 2061537 h 5443046"/>
                <a:gd name="connsiteX10" fmla="*/ 374339 w 5066244"/>
                <a:gd name="connsiteY10" fmla="*/ 3772890 h 5443046"/>
                <a:gd name="connsiteX11" fmla="*/ 730694 w 5066244"/>
                <a:gd name="connsiteY11" fmla="*/ 4144956 h 5443046"/>
                <a:gd name="connsiteX12" fmla="*/ 792928 w 5066244"/>
                <a:gd name="connsiteY12" fmla="*/ 4127501 h 5443046"/>
                <a:gd name="connsiteX13" fmla="*/ 896655 w 5066244"/>
                <a:gd name="connsiteY13" fmla="*/ 4242190 h 5443046"/>
                <a:gd name="connsiteX14" fmla="*/ 875910 w 5066244"/>
                <a:gd name="connsiteY14" fmla="*/ 4307013 h 5443046"/>
                <a:gd name="connsiteX15" fmla="*/ 965731 w 5066244"/>
                <a:gd name="connsiteY15" fmla="*/ 4401105 h 5443046"/>
                <a:gd name="connsiteX16" fmla="*/ 2266333 w 5066244"/>
                <a:gd name="connsiteY16" fmla="*/ 4726306 h 5443046"/>
                <a:gd name="connsiteX17" fmla="*/ 3391504 w 5066244"/>
                <a:gd name="connsiteY17" fmla="*/ 4353409 h 5443046"/>
                <a:gd name="connsiteX18" fmla="*/ 3588201 w 5066244"/>
                <a:gd name="connsiteY18" fmla="*/ 4926411 h 5443046"/>
                <a:gd name="connsiteX19" fmla="*/ 2249705 w 5066244"/>
                <a:gd name="connsiteY19" fmla="*/ 5369116 h 5443046"/>
                <a:gd name="connsiteX20" fmla="*/ 1871681 w 5066244"/>
                <a:gd name="connsiteY20" fmla="*/ 5391554 h 5443046"/>
                <a:gd name="connsiteX21" fmla="*/ 1793309 w 5066244"/>
                <a:gd name="connsiteY21" fmla="*/ 5299308 h 5443046"/>
                <a:gd name="connsiteX22" fmla="*/ 1110759 w 5066244"/>
                <a:gd name="connsiteY22" fmla="*/ 5443046 h 5443046"/>
                <a:gd name="connsiteX23" fmla="*/ 760659 w 5066244"/>
                <a:gd name="connsiteY23" fmla="*/ 5054973 h 5443046"/>
                <a:gd name="connsiteX24" fmla="*/ 723779 w 5066244"/>
                <a:gd name="connsiteY24" fmla="*/ 5047494 h 5443046"/>
                <a:gd name="connsiteX25" fmla="*/ 567036 w 5066244"/>
                <a:gd name="connsiteY25" fmla="*/ 4872970 h 5443046"/>
                <a:gd name="connsiteX26" fmla="*/ 553207 w 5066244"/>
                <a:gd name="connsiteY26" fmla="*/ 4892915 h 5443046"/>
                <a:gd name="connsiteX27" fmla="*/ 527852 w 5066244"/>
                <a:gd name="connsiteY27" fmla="*/ 4860505 h 5443046"/>
                <a:gd name="connsiteX28" fmla="*/ 486361 w 5066244"/>
                <a:gd name="connsiteY28" fmla="*/ 4917848 h 5443046"/>
                <a:gd name="connsiteX29" fmla="*/ 371110 w 5066244"/>
                <a:gd name="connsiteY29" fmla="*/ 4790694 h 5443046"/>
                <a:gd name="connsiteX30" fmla="*/ 414905 w 5066244"/>
                <a:gd name="connsiteY30" fmla="*/ 4740829 h 5443046"/>
                <a:gd name="connsiteX31" fmla="*/ 182098 w 5066244"/>
                <a:gd name="connsiteY31" fmla="*/ 4491509 h 5443046"/>
                <a:gd name="connsiteX32" fmla="*/ 195928 w 5066244"/>
                <a:gd name="connsiteY32" fmla="*/ 4464085 h 5443046"/>
                <a:gd name="connsiteX33" fmla="*/ 0 w 5066244"/>
                <a:gd name="connsiteY33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3591864 w 5066244"/>
                <a:gd name="connsiteY6" fmla="*/ 4921046 h 5443046"/>
                <a:gd name="connsiteX7" fmla="*/ 3395733 w 5066244"/>
                <a:gd name="connsiteY7" fmla="*/ 4352104 h 5443046"/>
                <a:gd name="connsiteX8" fmla="*/ 4492713 w 5066244"/>
                <a:gd name="connsiteY8" fmla="*/ 2061537 h 5443046"/>
                <a:gd name="connsiteX9" fmla="*/ 374339 w 5066244"/>
                <a:gd name="connsiteY9" fmla="*/ 3772890 h 5443046"/>
                <a:gd name="connsiteX10" fmla="*/ 730694 w 5066244"/>
                <a:gd name="connsiteY10" fmla="*/ 4144956 h 5443046"/>
                <a:gd name="connsiteX11" fmla="*/ 792928 w 5066244"/>
                <a:gd name="connsiteY11" fmla="*/ 4127501 h 5443046"/>
                <a:gd name="connsiteX12" fmla="*/ 896655 w 5066244"/>
                <a:gd name="connsiteY12" fmla="*/ 4242190 h 5443046"/>
                <a:gd name="connsiteX13" fmla="*/ 875910 w 5066244"/>
                <a:gd name="connsiteY13" fmla="*/ 4307013 h 5443046"/>
                <a:gd name="connsiteX14" fmla="*/ 965731 w 5066244"/>
                <a:gd name="connsiteY14" fmla="*/ 4401105 h 5443046"/>
                <a:gd name="connsiteX15" fmla="*/ 2266333 w 5066244"/>
                <a:gd name="connsiteY15" fmla="*/ 4726306 h 5443046"/>
                <a:gd name="connsiteX16" fmla="*/ 3391504 w 5066244"/>
                <a:gd name="connsiteY16" fmla="*/ 4353409 h 5443046"/>
                <a:gd name="connsiteX17" fmla="*/ 3588201 w 5066244"/>
                <a:gd name="connsiteY17" fmla="*/ 4926411 h 5443046"/>
                <a:gd name="connsiteX18" fmla="*/ 2249705 w 5066244"/>
                <a:gd name="connsiteY18" fmla="*/ 5369116 h 5443046"/>
                <a:gd name="connsiteX19" fmla="*/ 1871681 w 5066244"/>
                <a:gd name="connsiteY19" fmla="*/ 5391554 h 5443046"/>
                <a:gd name="connsiteX20" fmla="*/ 1793309 w 5066244"/>
                <a:gd name="connsiteY20" fmla="*/ 5299308 h 5443046"/>
                <a:gd name="connsiteX21" fmla="*/ 1110759 w 5066244"/>
                <a:gd name="connsiteY21" fmla="*/ 5443046 h 5443046"/>
                <a:gd name="connsiteX22" fmla="*/ 760659 w 5066244"/>
                <a:gd name="connsiteY22" fmla="*/ 5054973 h 5443046"/>
                <a:gd name="connsiteX23" fmla="*/ 723779 w 5066244"/>
                <a:gd name="connsiteY23" fmla="*/ 5047494 h 5443046"/>
                <a:gd name="connsiteX24" fmla="*/ 567036 w 5066244"/>
                <a:gd name="connsiteY24" fmla="*/ 4872970 h 5443046"/>
                <a:gd name="connsiteX25" fmla="*/ 553207 w 5066244"/>
                <a:gd name="connsiteY25" fmla="*/ 4892915 h 5443046"/>
                <a:gd name="connsiteX26" fmla="*/ 527852 w 5066244"/>
                <a:gd name="connsiteY26" fmla="*/ 4860505 h 5443046"/>
                <a:gd name="connsiteX27" fmla="*/ 486361 w 5066244"/>
                <a:gd name="connsiteY27" fmla="*/ 4917848 h 5443046"/>
                <a:gd name="connsiteX28" fmla="*/ 371110 w 5066244"/>
                <a:gd name="connsiteY28" fmla="*/ 4790694 h 5443046"/>
                <a:gd name="connsiteX29" fmla="*/ 414905 w 5066244"/>
                <a:gd name="connsiteY29" fmla="*/ 4740829 h 5443046"/>
                <a:gd name="connsiteX30" fmla="*/ 182098 w 5066244"/>
                <a:gd name="connsiteY30" fmla="*/ 4491509 h 5443046"/>
                <a:gd name="connsiteX31" fmla="*/ 195928 w 5066244"/>
                <a:gd name="connsiteY31" fmla="*/ 4464085 h 5443046"/>
                <a:gd name="connsiteX32" fmla="*/ 0 w 5066244"/>
                <a:gd name="connsiteY32" fmla="*/ 4257149 h 5443046"/>
                <a:gd name="connsiteX0" fmla="*/ 0 w 4644115"/>
                <a:gd name="connsiteY0" fmla="*/ 4257149 h 5443046"/>
                <a:gd name="connsiteX1" fmla="*/ 4256383 w 4644115"/>
                <a:gd name="connsiteY1" fmla="*/ 0 h 5443046"/>
                <a:gd name="connsiteX2" fmla="*/ 4482628 w 4644115"/>
                <a:gd name="connsiteY2" fmla="*/ 188419 h 5443046"/>
                <a:gd name="connsiteX3" fmla="*/ 4482851 w 4644115"/>
                <a:gd name="connsiteY3" fmla="*/ 243838 h 5443046"/>
                <a:gd name="connsiteX4" fmla="*/ 4644115 w 4644115"/>
                <a:gd name="connsiteY4" fmla="*/ 435748 h 5443046"/>
                <a:gd name="connsiteX5" fmla="*/ 3591864 w 4644115"/>
                <a:gd name="connsiteY5" fmla="*/ 4921046 h 5443046"/>
                <a:gd name="connsiteX6" fmla="*/ 3395733 w 4644115"/>
                <a:gd name="connsiteY6" fmla="*/ 4352104 h 5443046"/>
                <a:gd name="connsiteX7" fmla="*/ 4492713 w 4644115"/>
                <a:gd name="connsiteY7" fmla="*/ 2061537 h 5443046"/>
                <a:gd name="connsiteX8" fmla="*/ 374339 w 4644115"/>
                <a:gd name="connsiteY8" fmla="*/ 3772890 h 5443046"/>
                <a:gd name="connsiteX9" fmla="*/ 730694 w 4644115"/>
                <a:gd name="connsiteY9" fmla="*/ 4144956 h 5443046"/>
                <a:gd name="connsiteX10" fmla="*/ 792928 w 4644115"/>
                <a:gd name="connsiteY10" fmla="*/ 4127501 h 5443046"/>
                <a:gd name="connsiteX11" fmla="*/ 896655 w 4644115"/>
                <a:gd name="connsiteY11" fmla="*/ 4242190 h 5443046"/>
                <a:gd name="connsiteX12" fmla="*/ 875910 w 4644115"/>
                <a:gd name="connsiteY12" fmla="*/ 4307013 h 5443046"/>
                <a:gd name="connsiteX13" fmla="*/ 965731 w 4644115"/>
                <a:gd name="connsiteY13" fmla="*/ 4401105 h 5443046"/>
                <a:gd name="connsiteX14" fmla="*/ 2266333 w 4644115"/>
                <a:gd name="connsiteY14" fmla="*/ 4726306 h 5443046"/>
                <a:gd name="connsiteX15" fmla="*/ 3391504 w 4644115"/>
                <a:gd name="connsiteY15" fmla="*/ 4353409 h 5443046"/>
                <a:gd name="connsiteX16" fmla="*/ 3588201 w 4644115"/>
                <a:gd name="connsiteY16" fmla="*/ 4926411 h 5443046"/>
                <a:gd name="connsiteX17" fmla="*/ 2249705 w 4644115"/>
                <a:gd name="connsiteY17" fmla="*/ 5369116 h 5443046"/>
                <a:gd name="connsiteX18" fmla="*/ 1871681 w 4644115"/>
                <a:gd name="connsiteY18" fmla="*/ 5391554 h 5443046"/>
                <a:gd name="connsiteX19" fmla="*/ 1793309 w 4644115"/>
                <a:gd name="connsiteY19" fmla="*/ 5299308 h 5443046"/>
                <a:gd name="connsiteX20" fmla="*/ 1110759 w 4644115"/>
                <a:gd name="connsiteY20" fmla="*/ 5443046 h 5443046"/>
                <a:gd name="connsiteX21" fmla="*/ 760659 w 4644115"/>
                <a:gd name="connsiteY21" fmla="*/ 5054973 h 5443046"/>
                <a:gd name="connsiteX22" fmla="*/ 723779 w 4644115"/>
                <a:gd name="connsiteY22" fmla="*/ 5047494 h 5443046"/>
                <a:gd name="connsiteX23" fmla="*/ 567036 w 4644115"/>
                <a:gd name="connsiteY23" fmla="*/ 4872970 h 5443046"/>
                <a:gd name="connsiteX24" fmla="*/ 553207 w 4644115"/>
                <a:gd name="connsiteY24" fmla="*/ 4892915 h 5443046"/>
                <a:gd name="connsiteX25" fmla="*/ 527852 w 4644115"/>
                <a:gd name="connsiteY25" fmla="*/ 4860505 h 5443046"/>
                <a:gd name="connsiteX26" fmla="*/ 486361 w 4644115"/>
                <a:gd name="connsiteY26" fmla="*/ 4917848 h 5443046"/>
                <a:gd name="connsiteX27" fmla="*/ 371110 w 4644115"/>
                <a:gd name="connsiteY27" fmla="*/ 4790694 h 5443046"/>
                <a:gd name="connsiteX28" fmla="*/ 414905 w 4644115"/>
                <a:gd name="connsiteY28" fmla="*/ 4740829 h 5443046"/>
                <a:gd name="connsiteX29" fmla="*/ 182098 w 4644115"/>
                <a:gd name="connsiteY29" fmla="*/ 4491509 h 5443046"/>
                <a:gd name="connsiteX30" fmla="*/ 195928 w 4644115"/>
                <a:gd name="connsiteY30" fmla="*/ 4464085 h 5443046"/>
                <a:gd name="connsiteX31" fmla="*/ 0 w 4644115"/>
                <a:gd name="connsiteY31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4482628 w 4598452"/>
                <a:gd name="connsiteY2" fmla="*/ 188419 h 5443046"/>
                <a:gd name="connsiteX3" fmla="*/ 4482851 w 4598452"/>
                <a:gd name="connsiteY3" fmla="*/ 243838 h 5443046"/>
                <a:gd name="connsiteX4" fmla="*/ 3591864 w 4598452"/>
                <a:gd name="connsiteY4" fmla="*/ 4921046 h 5443046"/>
                <a:gd name="connsiteX5" fmla="*/ 3395733 w 4598452"/>
                <a:gd name="connsiteY5" fmla="*/ 4352104 h 5443046"/>
                <a:gd name="connsiteX6" fmla="*/ 4492713 w 4598452"/>
                <a:gd name="connsiteY6" fmla="*/ 2061537 h 5443046"/>
                <a:gd name="connsiteX7" fmla="*/ 374339 w 4598452"/>
                <a:gd name="connsiteY7" fmla="*/ 3772890 h 5443046"/>
                <a:gd name="connsiteX8" fmla="*/ 730694 w 4598452"/>
                <a:gd name="connsiteY8" fmla="*/ 4144956 h 5443046"/>
                <a:gd name="connsiteX9" fmla="*/ 792928 w 4598452"/>
                <a:gd name="connsiteY9" fmla="*/ 4127501 h 5443046"/>
                <a:gd name="connsiteX10" fmla="*/ 896655 w 4598452"/>
                <a:gd name="connsiteY10" fmla="*/ 4242190 h 5443046"/>
                <a:gd name="connsiteX11" fmla="*/ 875910 w 4598452"/>
                <a:gd name="connsiteY11" fmla="*/ 4307013 h 5443046"/>
                <a:gd name="connsiteX12" fmla="*/ 965731 w 4598452"/>
                <a:gd name="connsiteY12" fmla="*/ 4401105 h 5443046"/>
                <a:gd name="connsiteX13" fmla="*/ 2266333 w 4598452"/>
                <a:gd name="connsiteY13" fmla="*/ 4726306 h 5443046"/>
                <a:gd name="connsiteX14" fmla="*/ 3391504 w 4598452"/>
                <a:gd name="connsiteY14" fmla="*/ 4353409 h 5443046"/>
                <a:gd name="connsiteX15" fmla="*/ 3588201 w 4598452"/>
                <a:gd name="connsiteY15" fmla="*/ 4926411 h 5443046"/>
                <a:gd name="connsiteX16" fmla="*/ 2249705 w 4598452"/>
                <a:gd name="connsiteY16" fmla="*/ 5369116 h 5443046"/>
                <a:gd name="connsiteX17" fmla="*/ 1871681 w 4598452"/>
                <a:gd name="connsiteY17" fmla="*/ 5391554 h 5443046"/>
                <a:gd name="connsiteX18" fmla="*/ 1793309 w 4598452"/>
                <a:gd name="connsiteY18" fmla="*/ 5299308 h 5443046"/>
                <a:gd name="connsiteX19" fmla="*/ 1110759 w 4598452"/>
                <a:gd name="connsiteY19" fmla="*/ 5443046 h 5443046"/>
                <a:gd name="connsiteX20" fmla="*/ 760659 w 4598452"/>
                <a:gd name="connsiteY20" fmla="*/ 5054973 h 5443046"/>
                <a:gd name="connsiteX21" fmla="*/ 723779 w 4598452"/>
                <a:gd name="connsiteY21" fmla="*/ 5047494 h 5443046"/>
                <a:gd name="connsiteX22" fmla="*/ 567036 w 4598452"/>
                <a:gd name="connsiteY22" fmla="*/ 4872970 h 5443046"/>
                <a:gd name="connsiteX23" fmla="*/ 553207 w 4598452"/>
                <a:gd name="connsiteY23" fmla="*/ 4892915 h 5443046"/>
                <a:gd name="connsiteX24" fmla="*/ 527852 w 4598452"/>
                <a:gd name="connsiteY24" fmla="*/ 4860505 h 5443046"/>
                <a:gd name="connsiteX25" fmla="*/ 486361 w 4598452"/>
                <a:gd name="connsiteY25" fmla="*/ 4917848 h 5443046"/>
                <a:gd name="connsiteX26" fmla="*/ 371110 w 4598452"/>
                <a:gd name="connsiteY26" fmla="*/ 4790694 h 5443046"/>
                <a:gd name="connsiteX27" fmla="*/ 414905 w 4598452"/>
                <a:gd name="connsiteY27" fmla="*/ 4740829 h 5443046"/>
                <a:gd name="connsiteX28" fmla="*/ 182098 w 4598452"/>
                <a:gd name="connsiteY28" fmla="*/ 4491509 h 5443046"/>
                <a:gd name="connsiteX29" fmla="*/ 195928 w 4598452"/>
                <a:gd name="connsiteY29" fmla="*/ 4464085 h 5443046"/>
                <a:gd name="connsiteX30" fmla="*/ 0 w 4598452"/>
                <a:gd name="connsiteY30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4482628 w 4598452"/>
                <a:gd name="connsiteY2" fmla="*/ 188419 h 5443046"/>
                <a:gd name="connsiteX3" fmla="*/ 3591864 w 4598452"/>
                <a:gd name="connsiteY3" fmla="*/ 4921046 h 5443046"/>
                <a:gd name="connsiteX4" fmla="*/ 3395733 w 4598452"/>
                <a:gd name="connsiteY4" fmla="*/ 4352104 h 5443046"/>
                <a:gd name="connsiteX5" fmla="*/ 4492713 w 4598452"/>
                <a:gd name="connsiteY5" fmla="*/ 2061537 h 5443046"/>
                <a:gd name="connsiteX6" fmla="*/ 374339 w 4598452"/>
                <a:gd name="connsiteY6" fmla="*/ 3772890 h 5443046"/>
                <a:gd name="connsiteX7" fmla="*/ 730694 w 4598452"/>
                <a:gd name="connsiteY7" fmla="*/ 4144956 h 5443046"/>
                <a:gd name="connsiteX8" fmla="*/ 792928 w 4598452"/>
                <a:gd name="connsiteY8" fmla="*/ 4127501 h 5443046"/>
                <a:gd name="connsiteX9" fmla="*/ 896655 w 4598452"/>
                <a:gd name="connsiteY9" fmla="*/ 4242190 h 5443046"/>
                <a:gd name="connsiteX10" fmla="*/ 875910 w 4598452"/>
                <a:gd name="connsiteY10" fmla="*/ 4307013 h 5443046"/>
                <a:gd name="connsiteX11" fmla="*/ 965731 w 4598452"/>
                <a:gd name="connsiteY11" fmla="*/ 4401105 h 5443046"/>
                <a:gd name="connsiteX12" fmla="*/ 2266333 w 4598452"/>
                <a:gd name="connsiteY12" fmla="*/ 4726306 h 5443046"/>
                <a:gd name="connsiteX13" fmla="*/ 3391504 w 4598452"/>
                <a:gd name="connsiteY13" fmla="*/ 4353409 h 5443046"/>
                <a:gd name="connsiteX14" fmla="*/ 3588201 w 4598452"/>
                <a:gd name="connsiteY14" fmla="*/ 4926411 h 5443046"/>
                <a:gd name="connsiteX15" fmla="*/ 2249705 w 4598452"/>
                <a:gd name="connsiteY15" fmla="*/ 5369116 h 5443046"/>
                <a:gd name="connsiteX16" fmla="*/ 1871681 w 4598452"/>
                <a:gd name="connsiteY16" fmla="*/ 5391554 h 5443046"/>
                <a:gd name="connsiteX17" fmla="*/ 1793309 w 4598452"/>
                <a:gd name="connsiteY17" fmla="*/ 5299308 h 5443046"/>
                <a:gd name="connsiteX18" fmla="*/ 1110759 w 4598452"/>
                <a:gd name="connsiteY18" fmla="*/ 5443046 h 5443046"/>
                <a:gd name="connsiteX19" fmla="*/ 760659 w 4598452"/>
                <a:gd name="connsiteY19" fmla="*/ 5054973 h 5443046"/>
                <a:gd name="connsiteX20" fmla="*/ 723779 w 4598452"/>
                <a:gd name="connsiteY20" fmla="*/ 5047494 h 5443046"/>
                <a:gd name="connsiteX21" fmla="*/ 567036 w 4598452"/>
                <a:gd name="connsiteY21" fmla="*/ 4872970 h 5443046"/>
                <a:gd name="connsiteX22" fmla="*/ 553207 w 4598452"/>
                <a:gd name="connsiteY22" fmla="*/ 4892915 h 5443046"/>
                <a:gd name="connsiteX23" fmla="*/ 527852 w 4598452"/>
                <a:gd name="connsiteY23" fmla="*/ 4860505 h 5443046"/>
                <a:gd name="connsiteX24" fmla="*/ 486361 w 4598452"/>
                <a:gd name="connsiteY24" fmla="*/ 4917848 h 5443046"/>
                <a:gd name="connsiteX25" fmla="*/ 371110 w 4598452"/>
                <a:gd name="connsiteY25" fmla="*/ 4790694 h 5443046"/>
                <a:gd name="connsiteX26" fmla="*/ 414905 w 4598452"/>
                <a:gd name="connsiteY26" fmla="*/ 4740829 h 5443046"/>
                <a:gd name="connsiteX27" fmla="*/ 182098 w 4598452"/>
                <a:gd name="connsiteY27" fmla="*/ 4491509 h 5443046"/>
                <a:gd name="connsiteX28" fmla="*/ 195928 w 4598452"/>
                <a:gd name="connsiteY28" fmla="*/ 4464085 h 5443046"/>
                <a:gd name="connsiteX29" fmla="*/ 0 w 4598452"/>
                <a:gd name="connsiteY29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3591864 w 4598452"/>
                <a:gd name="connsiteY2" fmla="*/ 4921046 h 5443046"/>
                <a:gd name="connsiteX3" fmla="*/ 3395733 w 4598452"/>
                <a:gd name="connsiteY3" fmla="*/ 4352104 h 5443046"/>
                <a:gd name="connsiteX4" fmla="*/ 4492713 w 4598452"/>
                <a:gd name="connsiteY4" fmla="*/ 2061537 h 5443046"/>
                <a:gd name="connsiteX5" fmla="*/ 374339 w 4598452"/>
                <a:gd name="connsiteY5" fmla="*/ 3772890 h 5443046"/>
                <a:gd name="connsiteX6" fmla="*/ 730694 w 4598452"/>
                <a:gd name="connsiteY6" fmla="*/ 4144956 h 5443046"/>
                <a:gd name="connsiteX7" fmla="*/ 792928 w 4598452"/>
                <a:gd name="connsiteY7" fmla="*/ 4127501 h 5443046"/>
                <a:gd name="connsiteX8" fmla="*/ 896655 w 4598452"/>
                <a:gd name="connsiteY8" fmla="*/ 4242190 h 5443046"/>
                <a:gd name="connsiteX9" fmla="*/ 875910 w 4598452"/>
                <a:gd name="connsiteY9" fmla="*/ 4307013 h 5443046"/>
                <a:gd name="connsiteX10" fmla="*/ 965731 w 4598452"/>
                <a:gd name="connsiteY10" fmla="*/ 4401105 h 5443046"/>
                <a:gd name="connsiteX11" fmla="*/ 2266333 w 4598452"/>
                <a:gd name="connsiteY11" fmla="*/ 4726306 h 5443046"/>
                <a:gd name="connsiteX12" fmla="*/ 3391504 w 4598452"/>
                <a:gd name="connsiteY12" fmla="*/ 4353409 h 5443046"/>
                <a:gd name="connsiteX13" fmla="*/ 3588201 w 4598452"/>
                <a:gd name="connsiteY13" fmla="*/ 4926411 h 5443046"/>
                <a:gd name="connsiteX14" fmla="*/ 2249705 w 4598452"/>
                <a:gd name="connsiteY14" fmla="*/ 5369116 h 5443046"/>
                <a:gd name="connsiteX15" fmla="*/ 1871681 w 4598452"/>
                <a:gd name="connsiteY15" fmla="*/ 5391554 h 5443046"/>
                <a:gd name="connsiteX16" fmla="*/ 1793309 w 4598452"/>
                <a:gd name="connsiteY16" fmla="*/ 5299308 h 5443046"/>
                <a:gd name="connsiteX17" fmla="*/ 1110759 w 4598452"/>
                <a:gd name="connsiteY17" fmla="*/ 5443046 h 5443046"/>
                <a:gd name="connsiteX18" fmla="*/ 760659 w 4598452"/>
                <a:gd name="connsiteY18" fmla="*/ 5054973 h 5443046"/>
                <a:gd name="connsiteX19" fmla="*/ 723779 w 4598452"/>
                <a:gd name="connsiteY19" fmla="*/ 5047494 h 5443046"/>
                <a:gd name="connsiteX20" fmla="*/ 567036 w 4598452"/>
                <a:gd name="connsiteY20" fmla="*/ 4872970 h 5443046"/>
                <a:gd name="connsiteX21" fmla="*/ 553207 w 4598452"/>
                <a:gd name="connsiteY21" fmla="*/ 4892915 h 5443046"/>
                <a:gd name="connsiteX22" fmla="*/ 527852 w 4598452"/>
                <a:gd name="connsiteY22" fmla="*/ 4860505 h 5443046"/>
                <a:gd name="connsiteX23" fmla="*/ 486361 w 4598452"/>
                <a:gd name="connsiteY23" fmla="*/ 4917848 h 5443046"/>
                <a:gd name="connsiteX24" fmla="*/ 371110 w 4598452"/>
                <a:gd name="connsiteY24" fmla="*/ 4790694 h 5443046"/>
                <a:gd name="connsiteX25" fmla="*/ 414905 w 4598452"/>
                <a:gd name="connsiteY25" fmla="*/ 4740829 h 5443046"/>
                <a:gd name="connsiteX26" fmla="*/ 182098 w 4598452"/>
                <a:gd name="connsiteY26" fmla="*/ 4491509 h 5443046"/>
                <a:gd name="connsiteX27" fmla="*/ 195928 w 4598452"/>
                <a:gd name="connsiteY27" fmla="*/ 4464085 h 5443046"/>
                <a:gd name="connsiteX28" fmla="*/ 0 w 4598452"/>
                <a:gd name="connsiteY28" fmla="*/ 4257149 h 5443046"/>
                <a:gd name="connsiteX0" fmla="*/ 0 w 4598452"/>
                <a:gd name="connsiteY0" fmla="*/ 2195612 h 3381509"/>
                <a:gd name="connsiteX1" fmla="*/ 3591864 w 4598452"/>
                <a:gd name="connsiteY1" fmla="*/ 2859509 h 3381509"/>
                <a:gd name="connsiteX2" fmla="*/ 3395733 w 4598452"/>
                <a:gd name="connsiteY2" fmla="*/ 2290567 h 3381509"/>
                <a:gd name="connsiteX3" fmla="*/ 4492713 w 4598452"/>
                <a:gd name="connsiteY3" fmla="*/ 0 h 3381509"/>
                <a:gd name="connsiteX4" fmla="*/ 374339 w 4598452"/>
                <a:gd name="connsiteY4" fmla="*/ 1711353 h 3381509"/>
                <a:gd name="connsiteX5" fmla="*/ 730694 w 4598452"/>
                <a:gd name="connsiteY5" fmla="*/ 2083419 h 3381509"/>
                <a:gd name="connsiteX6" fmla="*/ 792928 w 4598452"/>
                <a:gd name="connsiteY6" fmla="*/ 2065964 h 3381509"/>
                <a:gd name="connsiteX7" fmla="*/ 896655 w 4598452"/>
                <a:gd name="connsiteY7" fmla="*/ 2180653 h 3381509"/>
                <a:gd name="connsiteX8" fmla="*/ 875910 w 4598452"/>
                <a:gd name="connsiteY8" fmla="*/ 2245476 h 3381509"/>
                <a:gd name="connsiteX9" fmla="*/ 965731 w 4598452"/>
                <a:gd name="connsiteY9" fmla="*/ 2339568 h 3381509"/>
                <a:gd name="connsiteX10" fmla="*/ 2266333 w 4598452"/>
                <a:gd name="connsiteY10" fmla="*/ 2664769 h 3381509"/>
                <a:gd name="connsiteX11" fmla="*/ 3391504 w 4598452"/>
                <a:gd name="connsiteY11" fmla="*/ 2291872 h 3381509"/>
                <a:gd name="connsiteX12" fmla="*/ 3588201 w 4598452"/>
                <a:gd name="connsiteY12" fmla="*/ 2864874 h 3381509"/>
                <a:gd name="connsiteX13" fmla="*/ 2249705 w 4598452"/>
                <a:gd name="connsiteY13" fmla="*/ 3307579 h 3381509"/>
                <a:gd name="connsiteX14" fmla="*/ 1871681 w 4598452"/>
                <a:gd name="connsiteY14" fmla="*/ 3330017 h 3381509"/>
                <a:gd name="connsiteX15" fmla="*/ 1793309 w 4598452"/>
                <a:gd name="connsiteY15" fmla="*/ 3237771 h 3381509"/>
                <a:gd name="connsiteX16" fmla="*/ 1110759 w 4598452"/>
                <a:gd name="connsiteY16" fmla="*/ 3381509 h 3381509"/>
                <a:gd name="connsiteX17" fmla="*/ 760659 w 4598452"/>
                <a:gd name="connsiteY17" fmla="*/ 2993436 h 3381509"/>
                <a:gd name="connsiteX18" fmla="*/ 723779 w 4598452"/>
                <a:gd name="connsiteY18" fmla="*/ 2985957 h 3381509"/>
                <a:gd name="connsiteX19" fmla="*/ 567036 w 4598452"/>
                <a:gd name="connsiteY19" fmla="*/ 2811433 h 3381509"/>
                <a:gd name="connsiteX20" fmla="*/ 553207 w 4598452"/>
                <a:gd name="connsiteY20" fmla="*/ 2831378 h 3381509"/>
                <a:gd name="connsiteX21" fmla="*/ 527852 w 4598452"/>
                <a:gd name="connsiteY21" fmla="*/ 2798968 h 3381509"/>
                <a:gd name="connsiteX22" fmla="*/ 486361 w 4598452"/>
                <a:gd name="connsiteY22" fmla="*/ 2856311 h 3381509"/>
                <a:gd name="connsiteX23" fmla="*/ 371110 w 4598452"/>
                <a:gd name="connsiteY23" fmla="*/ 2729157 h 3381509"/>
                <a:gd name="connsiteX24" fmla="*/ 414905 w 4598452"/>
                <a:gd name="connsiteY24" fmla="*/ 2679292 h 3381509"/>
                <a:gd name="connsiteX25" fmla="*/ 182098 w 4598452"/>
                <a:gd name="connsiteY25" fmla="*/ 2429972 h 3381509"/>
                <a:gd name="connsiteX26" fmla="*/ 195928 w 4598452"/>
                <a:gd name="connsiteY26" fmla="*/ 2402548 h 3381509"/>
                <a:gd name="connsiteX27" fmla="*/ 0 w 4598452"/>
                <a:gd name="connsiteY27" fmla="*/ 2195612 h 3381509"/>
                <a:gd name="connsiteX0" fmla="*/ 0 w 4598452"/>
                <a:gd name="connsiteY0" fmla="*/ 2195612 h 3381509"/>
                <a:gd name="connsiteX1" fmla="*/ 3591864 w 4598452"/>
                <a:gd name="connsiteY1" fmla="*/ 2859509 h 3381509"/>
                <a:gd name="connsiteX2" fmla="*/ 3395733 w 4598452"/>
                <a:gd name="connsiteY2" fmla="*/ 2290567 h 3381509"/>
                <a:gd name="connsiteX3" fmla="*/ 4492713 w 4598452"/>
                <a:gd name="connsiteY3" fmla="*/ 0 h 3381509"/>
                <a:gd name="connsiteX4" fmla="*/ 374339 w 4598452"/>
                <a:gd name="connsiteY4" fmla="*/ 1711353 h 3381509"/>
                <a:gd name="connsiteX5" fmla="*/ 730694 w 4598452"/>
                <a:gd name="connsiteY5" fmla="*/ 2083419 h 3381509"/>
                <a:gd name="connsiteX6" fmla="*/ 792928 w 4598452"/>
                <a:gd name="connsiteY6" fmla="*/ 2065964 h 3381509"/>
                <a:gd name="connsiteX7" fmla="*/ 896655 w 4598452"/>
                <a:gd name="connsiteY7" fmla="*/ 2180653 h 3381509"/>
                <a:gd name="connsiteX8" fmla="*/ 875910 w 4598452"/>
                <a:gd name="connsiteY8" fmla="*/ 2245476 h 3381509"/>
                <a:gd name="connsiteX9" fmla="*/ 965731 w 4598452"/>
                <a:gd name="connsiteY9" fmla="*/ 2339568 h 3381509"/>
                <a:gd name="connsiteX10" fmla="*/ 2266333 w 4598452"/>
                <a:gd name="connsiteY10" fmla="*/ 2664769 h 3381509"/>
                <a:gd name="connsiteX11" fmla="*/ 3400660 w 4598452"/>
                <a:gd name="connsiteY11" fmla="*/ 2331761 h 3381509"/>
                <a:gd name="connsiteX12" fmla="*/ 3588201 w 4598452"/>
                <a:gd name="connsiteY12" fmla="*/ 2864874 h 3381509"/>
                <a:gd name="connsiteX13" fmla="*/ 2249705 w 4598452"/>
                <a:gd name="connsiteY13" fmla="*/ 3307579 h 3381509"/>
                <a:gd name="connsiteX14" fmla="*/ 1871681 w 4598452"/>
                <a:gd name="connsiteY14" fmla="*/ 3330017 h 3381509"/>
                <a:gd name="connsiteX15" fmla="*/ 1793309 w 4598452"/>
                <a:gd name="connsiteY15" fmla="*/ 3237771 h 3381509"/>
                <a:gd name="connsiteX16" fmla="*/ 1110759 w 4598452"/>
                <a:gd name="connsiteY16" fmla="*/ 3381509 h 3381509"/>
                <a:gd name="connsiteX17" fmla="*/ 760659 w 4598452"/>
                <a:gd name="connsiteY17" fmla="*/ 2993436 h 3381509"/>
                <a:gd name="connsiteX18" fmla="*/ 723779 w 4598452"/>
                <a:gd name="connsiteY18" fmla="*/ 2985957 h 3381509"/>
                <a:gd name="connsiteX19" fmla="*/ 567036 w 4598452"/>
                <a:gd name="connsiteY19" fmla="*/ 2811433 h 3381509"/>
                <a:gd name="connsiteX20" fmla="*/ 553207 w 4598452"/>
                <a:gd name="connsiteY20" fmla="*/ 2831378 h 3381509"/>
                <a:gd name="connsiteX21" fmla="*/ 527852 w 4598452"/>
                <a:gd name="connsiteY21" fmla="*/ 2798968 h 3381509"/>
                <a:gd name="connsiteX22" fmla="*/ 486361 w 4598452"/>
                <a:gd name="connsiteY22" fmla="*/ 2856311 h 3381509"/>
                <a:gd name="connsiteX23" fmla="*/ 371110 w 4598452"/>
                <a:gd name="connsiteY23" fmla="*/ 2729157 h 3381509"/>
                <a:gd name="connsiteX24" fmla="*/ 414905 w 4598452"/>
                <a:gd name="connsiteY24" fmla="*/ 2679292 h 3381509"/>
                <a:gd name="connsiteX25" fmla="*/ 182098 w 4598452"/>
                <a:gd name="connsiteY25" fmla="*/ 2429972 h 3381509"/>
                <a:gd name="connsiteX26" fmla="*/ 195928 w 4598452"/>
                <a:gd name="connsiteY26" fmla="*/ 2402548 h 3381509"/>
                <a:gd name="connsiteX27" fmla="*/ 0 w 4598452"/>
                <a:gd name="connsiteY27" fmla="*/ 2195612 h 3381509"/>
                <a:gd name="connsiteX0" fmla="*/ 0 w 4492713"/>
                <a:gd name="connsiteY0" fmla="*/ 2195612 h 3381509"/>
                <a:gd name="connsiteX1" fmla="*/ 3591864 w 4492713"/>
                <a:gd name="connsiteY1" fmla="*/ 2859509 h 3381509"/>
                <a:gd name="connsiteX2" fmla="*/ 4492713 w 4492713"/>
                <a:gd name="connsiteY2" fmla="*/ 0 h 3381509"/>
                <a:gd name="connsiteX3" fmla="*/ 374339 w 4492713"/>
                <a:gd name="connsiteY3" fmla="*/ 1711353 h 3381509"/>
                <a:gd name="connsiteX4" fmla="*/ 730694 w 4492713"/>
                <a:gd name="connsiteY4" fmla="*/ 2083419 h 3381509"/>
                <a:gd name="connsiteX5" fmla="*/ 792928 w 4492713"/>
                <a:gd name="connsiteY5" fmla="*/ 2065964 h 3381509"/>
                <a:gd name="connsiteX6" fmla="*/ 896655 w 4492713"/>
                <a:gd name="connsiteY6" fmla="*/ 2180653 h 3381509"/>
                <a:gd name="connsiteX7" fmla="*/ 875910 w 4492713"/>
                <a:gd name="connsiteY7" fmla="*/ 2245476 h 3381509"/>
                <a:gd name="connsiteX8" fmla="*/ 965731 w 4492713"/>
                <a:gd name="connsiteY8" fmla="*/ 2339568 h 3381509"/>
                <a:gd name="connsiteX9" fmla="*/ 2266333 w 4492713"/>
                <a:gd name="connsiteY9" fmla="*/ 2664769 h 3381509"/>
                <a:gd name="connsiteX10" fmla="*/ 3400660 w 4492713"/>
                <a:gd name="connsiteY10" fmla="*/ 2331761 h 3381509"/>
                <a:gd name="connsiteX11" fmla="*/ 3588201 w 4492713"/>
                <a:gd name="connsiteY11" fmla="*/ 2864874 h 3381509"/>
                <a:gd name="connsiteX12" fmla="*/ 2249705 w 4492713"/>
                <a:gd name="connsiteY12" fmla="*/ 3307579 h 3381509"/>
                <a:gd name="connsiteX13" fmla="*/ 1871681 w 4492713"/>
                <a:gd name="connsiteY13" fmla="*/ 3330017 h 3381509"/>
                <a:gd name="connsiteX14" fmla="*/ 1793309 w 4492713"/>
                <a:gd name="connsiteY14" fmla="*/ 3237771 h 3381509"/>
                <a:gd name="connsiteX15" fmla="*/ 1110759 w 4492713"/>
                <a:gd name="connsiteY15" fmla="*/ 3381509 h 3381509"/>
                <a:gd name="connsiteX16" fmla="*/ 760659 w 4492713"/>
                <a:gd name="connsiteY16" fmla="*/ 2993436 h 3381509"/>
                <a:gd name="connsiteX17" fmla="*/ 723779 w 4492713"/>
                <a:gd name="connsiteY17" fmla="*/ 2985957 h 3381509"/>
                <a:gd name="connsiteX18" fmla="*/ 567036 w 4492713"/>
                <a:gd name="connsiteY18" fmla="*/ 2811433 h 3381509"/>
                <a:gd name="connsiteX19" fmla="*/ 553207 w 4492713"/>
                <a:gd name="connsiteY19" fmla="*/ 2831378 h 3381509"/>
                <a:gd name="connsiteX20" fmla="*/ 527852 w 4492713"/>
                <a:gd name="connsiteY20" fmla="*/ 2798968 h 3381509"/>
                <a:gd name="connsiteX21" fmla="*/ 486361 w 4492713"/>
                <a:gd name="connsiteY21" fmla="*/ 2856311 h 3381509"/>
                <a:gd name="connsiteX22" fmla="*/ 371110 w 4492713"/>
                <a:gd name="connsiteY22" fmla="*/ 2729157 h 3381509"/>
                <a:gd name="connsiteX23" fmla="*/ 414905 w 4492713"/>
                <a:gd name="connsiteY23" fmla="*/ 2679292 h 3381509"/>
                <a:gd name="connsiteX24" fmla="*/ 182098 w 4492713"/>
                <a:gd name="connsiteY24" fmla="*/ 2429972 h 3381509"/>
                <a:gd name="connsiteX25" fmla="*/ 195928 w 4492713"/>
                <a:gd name="connsiteY25" fmla="*/ 2402548 h 3381509"/>
                <a:gd name="connsiteX26" fmla="*/ 0 w 4492713"/>
                <a:gd name="connsiteY26" fmla="*/ 2195612 h 3381509"/>
                <a:gd name="connsiteX0" fmla="*/ 0 w 3591864"/>
                <a:gd name="connsiteY0" fmla="*/ 484259 h 1670156"/>
                <a:gd name="connsiteX1" fmla="*/ 3591864 w 3591864"/>
                <a:gd name="connsiteY1" fmla="*/ 1148156 h 1670156"/>
                <a:gd name="connsiteX2" fmla="*/ 374339 w 3591864"/>
                <a:gd name="connsiteY2" fmla="*/ 0 h 1670156"/>
                <a:gd name="connsiteX3" fmla="*/ 730694 w 3591864"/>
                <a:gd name="connsiteY3" fmla="*/ 372066 h 1670156"/>
                <a:gd name="connsiteX4" fmla="*/ 792928 w 3591864"/>
                <a:gd name="connsiteY4" fmla="*/ 354611 h 1670156"/>
                <a:gd name="connsiteX5" fmla="*/ 896655 w 3591864"/>
                <a:gd name="connsiteY5" fmla="*/ 469300 h 1670156"/>
                <a:gd name="connsiteX6" fmla="*/ 875910 w 3591864"/>
                <a:gd name="connsiteY6" fmla="*/ 534123 h 1670156"/>
                <a:gd name="connsiteX7" fmla="*/ 965731 w 3591864"/>
                <a:gd name="connsiteY7" fmla="*/ 628215 h 1670156"/>
                <a:gd name="connsiteX8" fmla="*/ 2266333 w 3591864"/>
                <a:gd name="connsiteY8" fmla="*/ 953416 h 1670156"/>
                <a:gd name="connsiteX9" fmla="*/ 3400660 w 3591864"/>
                <a:gd name="connsiteY9" fmla="*/ 620408 h 1670156"/>
                <a:gd name="connsiteX10" fmla="*/ 3588201 w 3591864"/>
                <a:gd name="connsiteY10" fmla="*/ 1153521 h 1670156"/>
                <a:gd name="connsiteX11" fmla="*/ 2249705 w 3591864"/>
                <a:gd name="connsiteY11" fmla="*/ 1596226 h 1670156"/>
                <a:gd name="connsiteX12" fmla="*/ 1871681 w 3591864"/>
                <a:gd name="connsiteY12" fmla="*/ 1618664 h 1670156"/>
                <a:gd name="connsiteX13" fmla="*/ 1793309 w 3591864"/>
                <a:gd name="connsiteY13" fmla="*/ 1526418 h 1670156"/>
                <a:gd name="connsiteX14" fmla="*/ 1110759 w 3591864"/>
                <a:gd name="connsiteY14" fmla="*/ 1670156 h 1670156"/>
                <a:gd name="connsiteX15" fmla="*/ 760659 w 3591864"/>
                <a:gd name="connsiteY15" fmla="*/ 1282083 h 1670156"/>
                <a:gd name="connsiteX16" fmla="*/ 723779 w 3591864"/>
                <a:gd name="connsiteY16" fmla="*/ 1274604 h 1670156"/>
                <a:gd name="connsiteX17" fmla="*/ 567036 w 3591864"/>
                <a:gd name="connsiteY17" fmla="*/ 1100080 h 1670156"/>
                <a:gd name="connsiteX18" fmla="*/ 553207 w 3591864"/>
                <a:gd name="connsiteY18" fmla="*/ 1120025 h 1670156"/>
                <a:gd name="connsiteX19" fmla="*/ 527852 w 3591864"/>
                <a:gd name="connsiteY19" fmla="*/ 1087615 h 1670156"/>
                <a:gd name="connsiteX20" fmla="*/ 486361 w 3591864"/>
                <a:gd name="connsiteY20" fmla="*/ 1144958 h 1670156"/>
                <a:gd name="connsiteX21" fmla="*/ 371110 w 3591864"/>
                <a:gd name="connsiteY21" fmla="*/ 1017804 h 1670156"/>
                <a:gd name="connsiteX22" fmla="*/ 414905 w 3591864"/>
                <a:gd name="connsiteY22" fmla="*/ 967939 h 1670156"/>
                <a:gd name="connsiteX23" fmla="*/ 182098 w 3591864"/>
                <a:gd name="connsiteY23" fmla="*/ 718619 h 1670156"/>
                <a:gd name="connsiteX24" fmla="*/ 195928 w 3591864"/>
                <a:gd name="connsiteY24" fmla="*/ 691195 h 1670156"/>
                <a:gd name="connsiteX25" fmla="*/ 0 w 3591864"/>
                <a:gd name="connsiteY25" fmla="*/ 484259 h 1670156"/>
                <a:gd name="connsiteX0" fmla="*/ 0 w 3591864"/>
                <a:gd name="connsiteY0" fmla="*/ 484259 h 1670156"/>
                <a:gd name="connsiteX1" fmla="*/ 3591864 w 3591864"/>
                <a:gd name="connsiteY1" fmla="*/ 1148156 h 1670156"/>
                <a:gd name="connsiteX2" fmla="*/ 374339 w 3591864"/>
                <a:gd name="connsiteY2" fmla="*/ 0 h 1670156"/>
                <a:gd name="connsiteX3" fmla="*/ 730694 w 3591864"/>
                <a:gd name="connsiteY3" fmla="*/ 372066 h 1670156"/>
                <a:gd name="connsiteX4" fmla="*/ 792928 w 3591864"/>
                <a:gd name="connsiteY4" fmla="*/ 354611 h 1670156"/>
                <a:gd name="connsiteX5" fmla="*/ 896655 w 3591864"/>
                <a:gd name="connsiteY5" fmla="*/ 469300 h 1670156"/>
                <a:gd name="connsiteX6" fmla="*/ 875910 w 3591864"/>
                <a:gd name="connsiteY6" fmla="*/ 534123 h 1670156"/>
                <a:gd name="connsiteX7" fmla="*/ 965731 w 3591864"/>
                <a:gd name="connsiteY7" fmla="*/ 628215 h 1670156"/>
                <a:gd name="connsiteX8" fmla="*/ 2266333 w 3591864"/>
                <a:gd name="connsiteY8" fmla="*/ 953416 h 1670156"/>
                <a:gd name="connsiteX9" fmla="*/ 3400660 w 3591864"/>
                <a:gd name="connsiteY9" fmla="*/ 620408 h 1670156"/>
                <a:gd name="connsiteX10" fmla="*/ 3537844 w 3591864"/>
                <a:gd name="connsiteY10" fmla="*/ 1288149 h 1670156"/>
                <a:gd name="connsiteX11" fmla="*/ 2249705 w 3591864"/>
                <a:gd name="connsiteY11" fmla="*/ 1596226 h 1670156"/>
                <a:gd name="connsiteX12" fmla="*/ 1871681 w 3591864"/>
                <a:gd name="connsiteY12" fmla="*/ 1618664 h 1670156"/>
                <a:gd name="connsiteX13" fmla="*/ 1793309 w 3591864"/>
                <a:gd name="connsiteY13" fmla="*/ 1526418 h 1670156"/>
                <a:gd name="connsiteX14" fmla="*/ 1110759 w 3591864"/>
                <a:gd name="connsiteY14" fmla="*/ 1670156 h 1670156"/>
                <a:gd name="connsiteX15" fmla="*/ 760659 w 3591864"/>
                <a:gd name="connsiteY15" fmla="*/ 1282083 h 1670156"/>
                <a:gd name="connsiteX16" fmla="*/ 723779 w 3591864"/>
                <a:gd name="connsiteY16" fmla="*/ 1274604 h 1670156"/>
                <a:gd name="connsiteX17" fmla="*/ 567036 w 3591864"/>
                <a:gd name="connsiteY17" fmla="*/ 1100080 h 1670156"/>
                <a:gd name="connsiteX18" fmla="*/ 553207 w 3591864"/>
                <a:gd name="connsiteY18" fmla="*/ 1120025 h 1670156"/>
                <a:gd name="connsiteX19" fmla="*/ 527852 w 3591864"/>
                <a:gd name="connsiteY19" fmla="*/ 1087615 h 1670156"/>
                <a:gd name="connsiteX20" fmla="*/ 486361 w 3591864"/>
                <a:gd name="connsiteY20" fmla="*/ 1144958 h 1670156"/>
                <a:gd name="connsiteX21" fmla="*/ 371110 w 3591864"/>
                <a:gd name="connsiteY21" fmla="*/ 1017804 h 1670156"/>
                <a:gd name="connsiteX22" fmla="*/ 414905 w 3591864"/>
                <a:gd name="connsiteY22" fmla="*/ 967939 h 1670156"/>
                <a:gd name="connsiteX23" fmla="*/ 182098 w 3591864"/>
                <a:gd name="connsiteY23" fmla="*/ 718619 h 1670156"/>
                <a:gd name="connsiteX24" fmla="*/ 195928 w 3591864"/>
                <a:gd name="connsiteY24" fmla="*/ 691195 h 1670156"/>
                <a:gd name="connsiteX25" fmla="*/ 0 w 3591864"/>
                <a:gd name="connsiteY25" fmla="*/ 484259 h 1670156"/>
                <a:gd name="connsiteX0" fmla="*/ 0 w 3537844"/>
                <a:gd name="connsiteY0" fmla="*/ 484259 h 1670156"/>
                <a:gd name="connsiteX1" fmla="*/ 374339 w 3537844"/>
                <a:gd name="connsiteY1" fmla="*/ 0 h 1670156"/>
                <a:gd name="connsiteX2" fmla="*/ 730694 w 3537844"/>
                <a:gd name="connsiteY2" fmla="*/ 372066 h 1670156"/>
                <a:gd name="connsiteX3" fmla="*/ 792928 w 3537844"/>
                <a:gd name="connsiteY3" fmla="*/ 354611 h 1670156"/>
                <a:gd name="connsiteX4" fmla="*/ 896655 w 3537844"/>
                <a:gd name="connsiteY4" fmla="*/ 469300 h 1670156"/>
                <a:gd name="connsiteX5" fmla="*/ 875910 w 3537844"/>
                <a:gd name="connsiteY5" fmla="*/ 534123 h 1670156"/>
                <a:gd name="connsiteX6" fmla="*/ 965731 w 3537844"/>
                <a:gd name="connsiteY6" fmla="*/ 628215 h 1670156"/>
                <a:gd name="connsiteX7" fmla="*/ 2266333 w 3537844"/>
                <a:gd name="connsiteY7" fmla="*/ 953416 h 1670156"/>
                <a:gd name="connsiteX8" fmla="*/ 3400660 w 3537844"/>
                <a:gd name="connsiteY8" fmla="*/ 620408 h 1670156"/>
                <a:gd name="connsiteX9" fmla="*/ 3537844 w 3537844"/>
                <a:gd name="connsiteY9" fmla="*/ 1288149 h 1670156"/>
                <a:gd name="connsiteX10" fmla="*/ 2249705 w 3537844"/>
                <a:gd name="connsiteY10" fmla="*/ 1596226 h 1670156"/>
                <a:gd name="connsiteX11" fmla="*/ 1871681 w 3537844"/>
                <a:gd name="connsiteY11" fmla="*/ 1618664 h 1670156"/>
                <a:gd name="connsiteX12" fmla="*/ 1793309 w 3537844"/>
                <a:gd name="connsiteY12" fmla="*/ 1526418 h 1670156"/>
                <a:gd name="connsiteX13" fmla="*/ 1110759 w 3537844"/>
                <a:gd name="connsiteY13" fmla="*/ 1670156 h 1670156"/>
                <a:gd name="connsiteX14" fmla="*/ 760659 w 3537844"/>
                <a:gd name="connsiteY14" fmla="*/ 1282083 h 1670156"/>
                <a:gd name="connsiteX15" fmla="*/ 723779 w 3537844"/>
                <a:gd name="connsiteY15" fmla="*/ 1274604 h 1670156"/>
                <a:gd name="connsiteX16" fmla="*/ 567036 w 3537844"/>
                <a:gd name="connsiteY16" fmla="*/ 1100080 h 1670156"/>
                <a:gd name="connsiteX17" fmla="*/ 553207 w 3537844"/>
                <a:gd name="connsiteY17" fmla="*/ 1120025 h 1670156"/>
                <a:gd name="connsiteX18" fmla="*/ 527852 w 3537844"/>
                <a:gd name="connsiteY18" fmla="*/ 1087615 h 1670156"/>
                <a:gd name="connsiteX19" fmla="*/ 486361 w 3537844"/>
                <a:gd name="connsiteY19" fmla="*/ 1144958 h 1670156"/>
                <a:gd name="connsiteX20" fmla="*/ 371110 w 3537844"/>
                <a:gd name="connsiteY20" fmla="*/ 1017804 h 1670156"/>
                <a:gd name="connsiteX21" fmla="*/ 414905 w 3537844"/>
                <a:gd name="connsiteY21" fmla="*/ 967939 h 1670156"/>
                <a:gd name="connsiteX22" fmla="*/ 182098 w 3537844"/>
                <a:gd name="connsiteY22" fmla="*/ 718619 h 1670156"/>
                <a:gd name="connsiteX23" fmla="*/ 195928 w 3537844"/>
                <a:gd name="connsiteY23" fmla="*/ 691195 h 1670156"/>
                <a:gd name="connsiteX24" fmla="*/ 0 w 3537844"/>
                <a:gd name="connsiteY24" fmla="*/ 484259 h 1670156"/>
                <a:gd name="connsiteX0" fmla="*/ 0 w 3592779"/>
                <a:gd name="connsiteY0" fmla="*/ 484259 h 1670156"/>
                <a:gd name="connsiteX1" fmla="*/ 374339 w 3592779"/>
                <a:gd name="connsiteY1" fmla="*/ 0 h 1670156"/>
                <a:gd name="connsiteX2" fmla="*/ 730694 w 3592779"/>
                <a:gd name="connsiteY2" fmla="*/ 372066 h 1670156"/>
                <a:gd name="connsiteX3" fmla="*/ 792928 w 3592779"/>
                <a:gd name="connsiteY3" fmla="*/ 354611 h 1670156"/>
                <a:gd name="connsiteX4" fmla="*/ 896655 w 3592779"/>
                <a:gd name="connsiteY4" fmla="*/ 469300 h 1670156"/>
                <a:gd name="connsiteX5" fmla="*/ 875910 w 3592779"/>
                <a:gd name="connsiteY5" fmla="*/ 534123 h 1670156"/>
                <a:gd name="connsiteX6" fmla="*/ 965731 w 3592779"/>
                <a:gd name="connsiteY6" fmla="*/ 628215 h 1670156"/>
                <a:gd name="connsiteX7" fmla="*/ 2266333 w 3592779"/>
                <a:gd name="connsiteY7" fmla="*/ 953416 h 1670156"/>
                <a:gd name="connsiteX8" fmla="*/ 3400660 w 3592779"/>
                <a:gd name="connsiteY8" fmla="*/ 620408 h 1670156"/>
                <a:gd name="connsiteX9" fmla="*/ 3592779 w 3592779"/>
                <a:gd name="connsiteY9" fmla="*/ 1148536 h 1670156"/>
                <a:gd name="connsiteX10" fmla="*/ 2249705 w 3592779"/>
                <a:gd name="connsiteY10" fmla="*/ 1596226 h 1670156"/>
                <a:gd name="connsiteX11" fmla="*/ 1871681 w 3592779"/>
                <a:gd name="connsiteY11" fmla="*/ 1618664 h 1670156"/>
                <a:gd name="connsiteX12" fmla="*/ 1793309 w 3592779"/>
                <a:gd name="connsiteY12" fmla="*/ 1526418 h 1670156"/>
                <a:gd name="connsiteX13" fmla="*/ 1110759 w 3592779"/>
                <a:gd name="connsiteY13" fmla="*/ 1670156 h 1670156"/>
                <a:gd name="connsiteX14" fmla="*/ 760659 w 3592779"/>
                <a:gd name="connsiteY14" fmla="*/ 1282083 h 1670156"/>
                <a:gd name="connsiteX15" fmla="*/ 723779 w 3592779"/>
                <a:gd name="connsiteY15" fmla="*/ 1274604 h 1670156"/>
                <a:gd name="connsiteX16" fmla="*/ 567036 w 3592779"/>
                <a:gd name="connsiteY16" fmla="*/ 1100080 h 1670156"/>
                <a:gd name="connsiteX17" fmla="*/ 553207 w 3592779"/>
                <a:gd name="connsiteY17" fmla="*/ 1120025 h 1670156"/>
                <a:gd name="connsiteX18" fmla="*/ 527852 w 3592779"/>
                <a:gd name="connsiteY18" fmla="*/ 1087615 h 1670156"/>
                <a:gd name="connsiteX19" fmla="*/ 486361 w 3592779"/>
                <a:gd name="connsiteY19" fmla="*/ 1144958 h 1670156"/>
                <a:gd name="connsiteX20" fmla="*/ 371110 w 3592779"/>
                <a:gd name="connsiteY20" fmla="*/ 1017804 h 1670156"/>
                <a:gd name="connsiteX21" fmla="*/ 414905 w 3592779"/>
                <a:gd name="connsiteY21" fmla="*/ 967939 h 1670156"/>
                <a:gd name="connsiteX22" fmla="*/ 182098 w 3592779"/>
                <a:gd name="connsiteY22" fmla="*/ 718619 h 1670156"/>
                <a:gd name="connsiteX23" fmla="*/ 195928 w 3592779"/>
                <a:gd name="connsiteY23" fmla="*/ 691195 h 1670156"/>
                <a:gd name="connsiteX24" fmla="*/ 0 w 3592779"/>
                <a:gd name="connsiteY24" fmla="*/ 484259 h 1670156"/>
                <a:gd name="connsiteX0" fmla="*/ 0 w 3592779"/>
                <a:gd name="connsiteY0" fmla="*/ 484259 h 1670156"/>
                <a:gd name="connsiteX1" fmla="*/ 374339 w 3592779"/>
                <a:gd name="connsiteY1" fmla="*/ 0 h 1670156"/>
                <a:gd name="connsiteX2" fmla="*/ 730694 w 3592779"/>
                <a:gd name="connsiteY2" fmla="*/ 372066 h 1670156"/>
                <a:gd name="connsiteX3" fmla="*/ 792928 w 3592779"/>
                <a:gd name="connsiteY3" fmla="*/ 354611 h 1670156"/>
                <a:gd name="connsiteX4" fmla="*/ 896655 w 3592779"/>
                <a:gd name="connsiteY4" fmla="*/ 469300 h 1670156"/>
                <a:gd name="connsiteX5" fmla="*/ 875910 w 3592779"/>
                <a:gd name="connsiteY5" fmla="*/ 534123 h 1670156"/>
                <a:gd name="connsiteX6" fmla="*/ 965731 w 3592779"/>
                <a:gd name="connsiteY6" fmla="*/ 628215 h 1670156"/>
                <a:gd name="connsiteX7" fmla="*/ 2266333 w 3592779"/>
                <a:gd name="connsiteY7" fmla="*/ 953416 h 1670156"/>
                <a:gd name="connsiteX8" fmla="*/ 3430834 w 3592779"/>
                <a:gd name="connsiteY8" fmla="*/ 574076 h 1670156"/>
                <a:gd name="connsiteX9" fmla="*/ 3592779 w 3592779"/>
                <a:gd name="connsiteY9" fmla="*/ 1148536 h 1670156"/>
                <a:gd name="connsiteX10" fmla="*/ 2249705 w 3592779"/>
                <a:gd name="connsiteY10" fmla="*/ 1596226 h 1670156"/>
                <a:gd name="connsiteX11" fmla="*/ 1871681 w 3592779"/>
                <a:gd name="connsiteY11" fmla="*/ 1618664 h 1670156"/>
                <a:gd name="connsiteX12" fmla="*/ 1793309 w 3592779"/>
                <a:gd name="connsiteY12" fmla="*/ 1526418 h 1670156"/>
                <a:gd name="connsiteX13" fmla="*/ 1110759 w 3592779"/>
                <a:gd name="connsiteY13" fmla="*/ 1670156 h 1670156"/>
                <a:gd name="connsiteX14" fmla="*/ 760659 w 3592779"/>
                <a:gd name="connsiteY14" fmla="*/ 1282083 h 1670156"/>
                <a:gd name="connsiteX15" fmla="*/ 723779 w 3592779"/>
                <a:gd name="connsiteY15" fmla="*/ 1274604 h 1670156"/>
                <a:gd name="connsiteX16" fmla="*/ 567036 w 3592779"/>
                <a:gd name="connsiteY16" fmla="*/ 1100080 h 1670156"/>
                <a:gd name="connsiteX17" fmla="*/ 553207 w 3592779"/>
                <a:gd name="connsiteY17" fmla="*/ 1120025 h 1670156"/>
                <a:gd name="connsiteX18" fmla="*/ 527852 w 3592779"/>
                <a:gd name="connsiteY18" fmla="*/ 1087615 h 1670156"/>
                <a:gd name="connsiteX19" fmla="*/ 486361 w 3592779"/>
                <a:gd name="connsiteY19" fmla="*/ 1144958 h 1670156"/>
                <a:gd name="connsiteX20" fmla="*/ 371110 w 3592779"/>
                <a:gd name="connsiteY20" fmla="*/ 1017804 h 1670156"/>
                <a:gd name="connsiteX21" fmla="*/ 414905 w 3592779"/>
                <a:gd name="connsiteY21" fmla="*/ 967939 h 1670156"/>
                <a:gd name="connsiteX22" fmla="*/ 182098 w 3592779"/>
                <a:gd name="connsiteY22" fmla="*/ 718619 h 1670156"/>
                <a:gd name="connsiteX23" fmla="*/ 195928 w 3592779"/>
                <a:gd name="connsiteY23" fmla="*/ 691195 h 1670156"/>
                <a:gd name="connsiteX24" fmla="*/ 0 w 3592779"/>
                <a:gd name="connsiteY24" fmla="*/ 484259 h 1670156"/>
                <a:gd name="connsiteX0" fmla="*/ 0 w 3618643"/>
                <a:gd name="connsiteY0" fmla="*/ 484259 h 1670156"/>
                <a:gd name="connsiteX1" fmla="*/ 374339 w 3618643"/>
                <a:gd name="connsiteY1" fmla="*/ 0 h 1670156"/>
                <a:gd name="connsiteX2" fmla="*/ 730694 w 3618643"/>
                <a:gd name="connsiteY2" fmla="*/ 372066 h 1670156"/>
                <a:gd name="connsiteX3" fmla="*/ 792928 w 3618643"/>
                <a:gd name="connsiteY3" fmla="*/ 354611 h 1670156"/>
                <a:gd name="connsiteX4" fmla="*/ 896655 w 3618643"/>
                <a:gd name="connsiteY4" fmla="*/ 469300 h 1670156"/>
                <a:gd name="connsiteX5" fmla="*/ 875910 w 3618643"/>
                <a:gd name="connsiteY5" fmla="*/ 534123 h 1670156"/>
                <a:gd name="connsiteX6" fmla="*/ 965731 w 3618643"/>
                <a:gd name="connsiteY6" fmla="*/ 628215 h 1670156"/>
                <a:gd name="connsiteX7" fmla="*/ 2266333 w 3618643"/>
                <a:gd name="connsiteY7" fmla="*/ 953416 h 1670156"/>
                <a:gd name="connsiteX8" fmla="*/ 3430834 w 3618643"/>
                <a:gd name="connsiteY8" fmla="*/ 574076 h 1670156"/>
                <a:gd name="connsiteX9" fmla="*/ 3618643 w 3618643"/>
                <a:gd name="connsiteY9" fmla="*/ 1134636 h 1670156"/>
                <a:gd name="connsiteX10" fmla="*/ 2249705 w 3618643"/>
                <a:gd name="connsiteY10" fmla="*/ 1596226 h 1670156"/>
                <a:gd name="connsiteX11" fmla="*/ 1871681 w 3618643"/>
                <a:gd name="connsiteY11" fmla="*/ 1618664 h 1670156"/>
                <a:gd name="connsiteX12" fmla="*/ 1793309 w 3618643"/>
                <a:gd name="connsiteY12" fmla="*/ 1526418 h 1670156"/>
                <a:gd name="connsiteX13" fmla="*/ 1110759 w 3618643"/>
                <a:gd name="connsiteY13" fmla="*/ 1670156 h 1670156"/>
                <a:gd name="connsiteX14" fmla="*/ 760659 w 3618643"/>
                <a:gd name="connsiteY14" fmla="*/ 1282083 h 1670156"/>
                <a:gd name="connsiteX15" fmla="*/ 723779 w 3618643"/>
                <a:gd name="connsiteY15" fmla="*/ 1274604 h 1670156"/>
                <a:gd name="connsiteX16" fmla="*/ 567036 w 3618643"/>
                <a:gd name="connsiteY16" fmla="*/ 1100080 h 1670156"/>
                <a:gd name="connsiteX17" fmla="*/ 553207 w 3618643"/>
                <a:gd name="connsiteY17" fmla="*/ 1120025 h 1670156"/>
                <a:gd name="connsiteX18" fmla="*/ 527852 w 3618643"/>
                <a:gd name="connsiteY18" fmla="*/ 1087615 h 1670156"/>
                <a:gd name="connsiteX19" fmla="*/ 486361 w 3618643"/>
                <a:gd name="connsiteY19" fmla="*/ 1144958 h 1670156"/>
                <a:gd name="connsiteX20" fmla="*/ 371110 w 3618643"/>
                <a:gd name="connsiteY20" fmla="*/ 1017804 h 1670156"/>
                <a:gd name="connsiteX21" fmla="*/ 414905 w 3618643"/>
                <a:gd name="connsiteY21" fmla="*/ 967939 h 1670156"/>
                <a:gd name="connsiteX22" fmla="*/ 182098 w 3618643"/>
                <a:gd name="connsiteY22" fmla="*/ 718619 h 1670156"/>
                <a:gd name="connsiteX23" fmla="*/ 195928 w 3618643"/>
                <a:gd name="connsiteY23" fmla="*/ 691195 h 1670156"/>
                <a:gd name="connsiteX24" fmla="*/ 0 w 3618643"/>
                <a:gd name="connsiteY24" fmla="*/ 484259 h 1670156"/>
                <a:gd name="connsiteX0" fmla="*/ 0 w 3618643"/>
                <a:gd name="connsiteY0" fmla="*/ 770751 h 1956648"/>
                <a:gd name="connsiteX1" fmla="*/ 108027 w 3618643"/>
                <a:gd name="connsiteY1" fmla="*/ 0 h 1956648"/>
                <a:gd name="connsiteX2" fmla="*/ 730694 w 3618643"/>
                <a:gd name="connsiteY2" fmla="*/ 658558 h 1956648"/>
                <a:gd name="connsiteX3" fmla="*/ 792928 w 3618643"/>
                <a:gd name="connsiteY3" fmla="*/ 641103 h 1956648"/>
                <a:gd name="connsiteX4" fmla="*/ 896655 w 3618643"/>
                <a:gd name="connsiteY4" fmla="*/ 755792 h 1956648"/>
                <a:gd name="connsiteX5" fmla="*/ 875910 w 3618643"/>
                <a:gd name="connsiteY5" fmla="*/ 820615 h 1956648"/>
                <a:gd name="connsiteX6" fmla="*/ 965731 w 3618643"/>
                <a:gd name="connsiteY6" fmla="*/ 914707 h 1956648"/>
                <a:gd name="connsiteX7" fmla="*/ 2266333 w 3618643"/>
                <a:gd name="connsiteY7" fmla="*/ 1239908 h 1956648"/>
                <a:gd name="connsiteX8" fmla="*/ 3430834 w 3618643"/>
                <a:gd name="connsiteY8" fmla="*/ 860568 h 1956648"/>
                <a:gd name="connsiteX9" fmla="*/ 3618643 w 3618643"/>
                <a:gd name="connsiteY9" fmla="*/ 1421128 h 1956648"/>
                <a:gd name="connsiteX10" fmla="*/ 2249705 w 3618643"/>
                <a:gd name="connsiteY10" fmla="*/ 1882718 h 1956648"/>
                <a:gd name="connsiteX11" fmla="*/ 1871681 w 3618643"/>
                <a:gd name="connsiteY11" fmla="*/ 1905156 h 1956648"/>
                <a:gd name="connsiteX12" fmla="*/ 1793309 w 3618643"/>
                <a:gd name="connsiteY12" fmla="*/ 1812910 h 1956648"/>
                <a:gd name="connsiteX13" fmla="*/ 1110759 w 3618643"/>
                <a:gd name="connsiteY13" fmla="*/ 1956648 h 1956648"/>
                <a:gd name="connsiteX14" fmla="*/ 760659 w 3618643"/>
                <a:gd name="connsiteY14" fmla="*/ 1568575 h 1956648"/>
                <a:gd name="connsiteX15" fmla="*/ 723779 w 3618643"/>
                <a:gd name="connsiteY15" fmla="*/ 1561096 h 1956648"/>
                <a:gd name="connsiteX16" fmla="*/ 567036 w 3618643"/>
                <a:gd name="connsiteY16" fmla="*/ 1386572 h 1956648"/>
                <a:gd name="connsiteX17" fmla="*/ 553207 w 3618643"/>
                <a:gd name="connsiteY17" fmla="*/ 1406517 h 1956648"/>
                <a:gd name="connsiteX18" fmla="*/ 527852 w 3618643"/>
                <a:gd name="connsiteY18" fmla="*/ 1374107 h 1956648"/>
                <a:gd name="connsiteX19" fmla="*/ 486361 w 3618643"/>
                <a:gd name="connsiteY19" fmla="*/ 1431450 h 1956648"/>
                <a:gd name="connsiteX20" fmla="*/ 371110 w 3618643"/>
                <a:gd name="connsiteY20" fmla="*/ 1304296 h 1956648"/>
                <a:gd name="connsiteX21" fmla="*/ 414905 w 3618643"/>
                <a:gd name="connsiteY21" fmla="*/ 1254431 h 1956648"/>
                <a:gd name="connsiteX22" fmla="*/ 182098 w 3618643"/>
                <a:gd name="connsiteY22" fmla="*/ 1005111 h 1956648"/>
                <a:gd name="connsiteX23" fmla="*/ 195928 w 3618643"/>
                <a:gd name="connsiteY23" fmla="*/ 977687 h 1956648"/>
                <a:gd name="connsiteX24" fmla="*/ 0 w 3618643"/>
                <a:gd name="connsiteY24" fmla="*/ 770751 h 1956648"/>
                <a:gd name="connsiteX0" fmla="*/ 0 w 3618643"/>
                <a:gd name="connsiteY0" fmla="*/ 770751 h 1956648"/>
                <a:gd name="connsiteX1" fmla="*/ 57310 w 3618643"/>
                <a:gd name="connsiteY1" fmla="*/ 437046 h 1956648"/>
                <a:gd name="connsiteX2" fmla="*/ 108027 w 3618643"/>
                <a:gd name="connsiteY2" fmla="*/ 0 h 1956648"/>
                <a:gd name="connsiteX3" fmla="*/ 730694 w 3618643"/>
                <a:gd name="connsiteY3" fmla="*/ 658558 h 1956648"/>
                <a:gd name="connsiteX4" fmla="*/ 792928 w 3618643"/>
                <a:gd name="connsiteY4" fmla="*/ 641103 h 1956648"/>
                <a:gd name="connsiteX5" fmla="*/ 896655 w 3618643"/>
                <a:gd name="connsiteY5" fmla="*/ 755792 h 1956648"/>
                <a:gd name="connsiteX6" fmla="*/ 875910 w 3618643"/>
                <a:gd name="connsiteY6" fmla="*/ 820615 h 1956648"/>
                <a:gd name="connsiteX7" fmla="*/ 965731 w 3618643"/>
                <a:gd name="connsiteY7" fmla="*/ 914707 h 1956648"/>
                <a:gd name="connsiteX8" fmla="*/ 2266333 w 3618643"/>
                <a:gd name="connsiteY8" fmla="*/ 1239908 h 1956648"/>
                <a:gd name="connsiteX9" fmla="*/ 3430834 w 3618643"/>
                <a:gd name="connsiteY9" fmla="*/ 860568 h 1956648"/>
                <a:gd name="connsiteX10" fmla="*/ 3618643 w 3618643"/>
                <a:gd name="connsiteY10" fmla="*/ 1421128 h 1956648"/>
                <a:gd name="connsiteX11" fmla="*/ 2249705 w 3618643"/>
                <a:gd name="connsiteY11" fmla="*/ 1882718 h 1956648"/>
                <a:gd name="connsiteX12" fmla="*/ 1871681 w 3618643"/>
                <a:gd name="connsiteY12" fmla="*/ 1905156 h 1956648"/>
                <a:gd name="connsiteX13" fmla="*/ 1793309 w 3618643"/>
                <a:gd name="connsiteY13" fmla="*/ 1812910 h 1956648"/>
                <a:gd name="connsiteX14" fmla="*/ 1110759 w 3618643"/>
                <a:gd name="connsiteY14" fmla="*/ 1956648 h 1956648"/>
                <a:gd name="connsiteX15" fmla="*/ 760659 w 3618643"/>
                <a:gd name="connsiteY15" fmla="*/ 1568575 h 1956648"/>
                <a:gd name="connsiteX16" fmla="*/ 723779 w 3618643"/>
                <a:gd name="connsiteY16" fmla="*/ 1561096 h 1956648"/>
                <a:gd name="connsiteX17" fmla="*/ 567036 w 3618643"/>
                <a:gd name="connsiteY17" fmla="*/ 1386572 h 1956648"/>
                <a:gd name="connsiteX18" fmla="*/ 553207 w 3618643"/>
                <a:gd name="connsiteY18" fmla="*/ 1406517 h 1956648"/>
                <a:gd name="connsiteX19" fmla="*/ 527852 w 3618643"/>
                <a:gd name="connsiteY19" fmla="*/ 1374107 h 1956648"/>
                <a:gd name="connsiteX20" fmla="*/ 486361 w 3618643"/>
                <a:gd name="connsiteY20" fmla="*/ 1431450 h 1956648"/>
                <a:gd name="connsiteX21" fmla="*/ 371110 w 3618643"/>
                <a:gd name="connsiteY21" fmla="*/ 1304296 h 1956648"/>
                <a:gd name="connsiteX22" fmla="*/ 414905 w 3618643"/>
                <a:gd name="connsiteY22" fmla="*/ 1254431 h 1956648"/>
                <a:gd name="connsiteX23" fmla="*/ 182098 w 3618643"/>
                <a:gd name="connsiteY23" fmla="*/ 1005111 h 1956648"/>
                <a:gd name="connsiteX24" fmla="*/ 195928 w 3618643"/>
                <a:gd name="connsiteY24" fmla="*/ 977687 h 1956648"/>
                <a:gd name="connsiteX25" fmla="*/ 0 w 3618643"/>
                <a:gd name="connsiteY25" fmla="*/ 770751 h 1956648"/>
                <a:gd name="connsiteX0" fmla="*/ 405841 w 4024484"/>
                <a:gd name="connsiteY0" fmla="*/ 770751 h 1956648"/>
                <a:gd name="connsiteX1" fmla="*/ 0 w 4024484"/>
                <a:gd name="connsiteY1" fmla="*/ 542925 h 1956648"/>
                <a:gd name="connsiteX2" fmla="*/ 513868 w 4024484"/>
                <a:gd name="connsiteY2" fmla="*/ 0 h 1956648"/>
                <a:gd name="connsiteX3" fmla="*/ 1136535 w 4024484"/>
                <a:gd name="connsiteY3" fmla="*/ 658558 h 1956648"/>
                <a:gd name="connsiteX4" fmla="*/ 1198769 w 4024484"/>
                <a:gd name="connsiteY4" fmla="*/ 641103 h 1956648"/>
                <a:gd name="connsiteX5" fmla="*/ 1302496 w 4024484"/>
                <a:gd name="connsiteY5" fmla="*/ 755792 h 1956648"/>
                <a:gd name="connsiteX6" fmla="*/ 1281751 w 4024484"/>
                <a:gd name="connsiteY6" fmla="*/ 820615 h 1956648"/>
                <a:gd name="connsiteX7" fmla="*/ 1371572 w 4024484"/>
                <a:gd name="connsiteY7" fmla="*/ 914707 h 1956648"/>
                <a:gd name="connsiteX8" fmla="*/ 2672174 w 4024484"/>
                <a:gd name="connsiteY8" fmla="*/ 1239908 h 1956648"/>
                <a:gd name="connsiteX9" fmla="*/ 3836675 w 4024484"/>
                <a:gd name="connsiteY9" fmla="*/ 860568 h 1956648"/>
                <a:gd name="connsiteX10" fmla="*/ 4024484 w 4024484"/>
                <a:gd name="connsiteY10" fmla="*/ 1421128 h 1956648"/>
                <a:gd name="connsiteX11" fmla="*/ 2655546 w 4024484"/>
                <a:gd name="connsiteY11" fmla="*/ 1882718 h 1956648"/>
                <a:gd name="connsiteX12" fmla="*/ 2277522 w 4024484"/>
                <a:gd name="connsiteY12" fmla="*/ 1905156 h 1956648"/>
                <a:gd name="connsiteX13" fmla="*/ 2199150 w 4024484"/>
                <a:gd name="connsiteY13" fmla="*/ 1812910 h 1956648"/>
                <a:gd name="connsiteX14" fmla="*/ 1516600 w 4024484"/>
                <a:gd name="connsiteY14" fmla="*/ 1956648 h 1956648"/>
                <a:gd name="connsiteX15" fmla="*/ 1166500 w 4024484"/>
                <a:gd name="connsiteY15" fmla="*/ 1568575 h 1956648"/>
                <a:gd name="connsiteX16" fmla="*/ 1129620 w 4024484"/>
                <a:gd name="connsiteY16" fmla="*/ 1561096 h 1956648"/>
                <a:gd name="connsiteX17" fmla="*/ 972877 w 4024484"/>
                <a:gd name="connsiteY17" fmla="*/ 1386572 h 1956648"/>
                <a:gd name="connsiteX18" fmla="*/ 959048 w 4024484"/>
                <a:gd name="connsiteY18" fmla="*/ 1406517 h 1956648"/>
                <a:gd name="connsiteX19" fmla="*/ 933693 w 4024484"/>
                <a:gd name="connsiteY19" fmla="*/ 1374107 h 1956648"/>
                <a:gd name="connsiteX20" fmla="*/ 892202 w 4024484"/>
                <a:gd name="connsiteY20" fmla="*/ 1431450 h 1956648"/>
                <a:gd name="connsiteX21" fmla="*/ 776951 w 4024484"/>
                <a:gd name="connsiteY21" fmla="*/ 1304296 h 1956648"/>
                <a:gd name="connsiteX22" fmla="*/ 820746 w 4024484"/>
                <a:gd name="connsiteY22" fmla="*/ 1254431 h 1956648"/>
                <a:gd name="connsiteX23" fmla="*/ 587939 w 4024484"/>
                <a:gd name="connsiteY23" fmla="*/ 1005111 h 1956648"/>
                <a:gd name="connsiteX24" fmla="*/ 601769 w 4024484"/>
                <a:gd name="connsiteY24" fmla="*/ 977687 h 1956648"/>
                <a:gd name="connsiteX25" fmla="*/ 405841 w 4024484"/>
                <a:gd name="connsiteY25" fmla="*/ 770751 h 1956648"/>
                <a:gd name="connsiteX0" fmla="*/ 405841 w 4024484"/>
                <a:gd name="connsiteY0" fmla="*/ 770751 h 1956648"/>
                <a:gd name="connsiteX1" fmla="*/ 237365 w 4024484"/>
                <a:gd name="connsiteY1" fmla="*/ 679943 h 1956648"/>
                <a:gd name="connsiteX2" fmla="*/ 0 w 4024484"/>
                <a:gd name="connsiteY2" fmla="*/ 542925 h 1956648"/>
                <a:gd name="connsiteX3" fmla="*/ 513868 w 4024484"/>
                <a:gd name="connsiteY3" fmla="*/ 0 h 1956648"/>
                <a:gd name="connsiteX4" fmla="*/ 1136535 w 4024484"/>
                <a:gd name="connsiteY4" fmla="*/ 658558 h 1956648"/>
                <a:gd name="connsiteX5" fmla="*/ 1198769 w 4024484"/>
                <a:gd name="connsiteY5" fmla="*/ 641103 h 1956648"/>
                <a:gd name="connsiteX6" fmla="*/ 1302496 w 4024484"/>
                <a:gd name="connsiteY6" fmla="*/ 755792 h 1956648"/>
                <a:gd name="connsiteX7" fmla="*/ 1281751 w 4024484"/>
                <a:gd name="connsiteY7" fmla="*/ 820615 h 1956648"/>
                <a:gd name="connsiteX8" fmla="*/ 1371572 w 4024484"/>
                <a:gd name="connsiteY8" fmla="*/ 914707 h 1956648"/>
                <a:gd name="connsiteX9" fmla="*/ 2672174 w 4024484"/>
                <a:gd name="connsiteY9" fmla="*/ 1239908 h 1956648"/>
                <a:gd name="connsiteX10" fmla="*/ 3836675 w 4024484"/>
                <a:gd name="connsiteY10" fmla="*/ 860568 h 1956648"/>
                <a:gd name="connsiteX11" fmla="*/ 4024484 w 4024484"/>
                <a:gd name="connsiteY11" fmla="*/ 1421128 h 1956648"/>
                <a:gd name="connsiteX12" fmla="*/ 2655546 w 4024484"/>
                <a:gd name="connsiteY12" fmla="*/ 1882718 h 1956648"/>
                <a:gd name="connsiteX13" fmla="*/ 2277522 w 4024484"/>
                <a:gd name="connsiteY13" fmla="*/ 1905156 h 1956648"/>
                <a:gd name="connsiteX14" fmla="*/ 2199150 w 4024484"/>
                <a:gd name="connsiteY14" fmla="*/ 1812910 h 1956648"/>
                <a:gd name="connsiteX15" fmla="*/ 1516600 w 4024484"/>
                <a:gd name="connsiteY15" fmla="*/ 1956648 h 1956648"/>
                <a:gd name="connsiteX16" fmla="*/ 1166500 w 4024484"/>
                <a:gd name="connsiteY16" fmla="*/ 1568575 h 1956648"/>
                <a:gd name="connsiteX17" fmla="*/ 1129620 w 4024484"/>
                <a:gd name="connsiteY17" fmla="*/ 1561096 h 1956648"/>
                <a:gd name="connsiteX18" fmla="*/ 972877 w 4024484"/>
                <a:gd name="connsiteY18" fmla="*/ 1386572 h 1956648"/>
                <a:gd name="connsiteX19" fmla="*/ 959048 w 4024484"/>
                <a:gd name="connsiteY19" fmla="*/ 1406517 h 1956648"/>
                <a:gd name="connsiteX20" fmla="*/ 933693 w 4024484"/>
                <a:gd name="connsiteY20" fmla="*/ 1374107 h 1956648"/>
                <a:gd name="connsiteX21" fmla="*/ 892202 w 4024484"/>
                <a:gd name="connsiteY21" fmla="*/ 1431450 h 1956648"/>
                <a:gd name="connsiteX22" fmla="*/ 776951 w 4024484"/>
                <a:gd name="connsiteY22" fmla="*/ 1304296 h 1956648"/>
                <a:gd name="connsiteX23" fmla="*/ 820746 w 4024484"/>
                <a:gd name="connsiteY23" fmla="*/ 1254431 h 1956648"/>
                <a:gd name="connsiteX24" fmla="*/ 587939 w 4024484"/>
                <a:gd name="connsiteY24" fmla="*/ 1005111 h 1956648"/>
                <a:gd name="connsiteX25" fmla="*/ 601769 w 4024484"/>
                <a:gd name="connsiteY25" fmla="*/ 977687 h 1956648"/>
                <a:gd name="connsiteX26" fmla="*/ 405841 w 4024484"/>
                <a:gd name="connsiteY26" fmla="*/ 770751 h 1956648"/>
                <a:gd name="connsiteX0" fmla="*/ 405841 w 4024484"/>
                <a:gd name="connsiteY0" fmla="*/ 770751 h 1956648"/>
                <a:gd name="connsiteX1" fmla="*/ 312627 w 4024484"/>
                <a:gd name="connsiteY1" fmla="*/ 866787 h 1956648"/>
                <a:gd name="connsiteX2" fmla="*/ 0 w 4024484"/>
                <a:gd name="connsiteY2" fmla="*/ 542925 h 1956648"/>
                <a:gd name="connsiteX3" fmla="*/ 513868 w 4024484"/>
                <a:gd name="connsiteY3" fmla="*/ 0 h 1956648"/>
                <a:gd name="connsiteX4" fmla="*/ 1136535 w 4024484"/>
                <a:gd name="connsiteY4" fmla="*/ 658558 h 1956648"/>
                <a:gd name="connsiteX5" fmla="*/ 1198769 w 4024484"/>
                <a:gd name="connsiteY5" fmla="*/ 641103 h 1956648"/>
                <a:gd name="connsiteX6" fmla="*/ 1302496 w 4024484"/>
                <a:gd name="connsiteY6" fmla="*/ 755792 h 1956648"/>
                <a:gd name="connsiteX7" fmla="*/ 1281751 w 4024484"/>
                <a:gd name="connsiteY7" fmla="*/ 820615 h 1956648"/>
                <a:gd name="connsiteX8" fmla="*/ 1371572 w 4024484"/>
                <a:gd name="connsiteY8" fmla="*/ 914707 h 1956648"/>
                <a:gd name="connsiteX9" fmla="*/ 2672174 w 4024484"/>
                <a:gd name="connsiteY9" fmla="*/ 1239908 h 1956648"/>
                <a:gd name="connsiteX10" fmla="*/ 3836675 w 4024484"/>
                <a:gd name="connsiteY10" fmla="*/ 860568 h 1956648"/>
                <a:gd name="connsiteX11" fmla="*/ 4024484 w 4024484"/>
                <a:gd name="connsiteY11" fmla="*/ 1421128 h 1956648"/>
                <a:gd name="connsiteX12" fmla="*/ 2655546 w 4024484"/>
                <a:gd name="connsiteY12" fmla="*/ 1882718 h 1956648"/>
                <a:gd name="connsiteX13" fmla="*/ 2277522 w 4024484"/>
                <a:gd name="connsiteY13" fmla="*/ 1905156 h 1956648"/>
                <a:gd name="connsiteX14" fmla="*/ 2199150 w 4024484"/>
                <a:gd name="connsiteY14" fmla="*/ 1812910 h 1956648"/>
                <a:gd name="connsiteX15" fmla="*/ 1516600 w 4024484"/>
                <a:gd name="connsiteY15" fmla="*/ 1956648 h 1956648"/>
                <a:gd name="connsiteX16" fmla="*/ 1166500 w 4024484"/>
                <a:gd name="connsiteY16" fmla="*/ 1568575 h 1956648"/>
                <a:gd name="connsiteX17" fmla="*/ 1129620 w 4024484"/>
                <a:gd name="connsiteY17" fmla="*/ 1561096 h 1956648"/>
                <a:gd name="connsiteX18" fmla="*/ 972877 w 4024484"/>
                <a:gd name="connsiteY18" fmla="*/ 1386572 h 1956648"/>
                <a:gd name="connsiteX19" fmla="*/ 959048 w 4024484"/>
                <a:gd name="connsiteY19" fmla="*/ 1406517 h 1956648"/>
                <a:gd name="connsiteX20" fmla="*/ 933693 w 4024484"/>
                <a:gd name="connsiteY20" fmla="*/ 1374107 h 1956648"/>
                <a:gd name="connsiteX21" fmla="*/ 892202 w 4024484"/>
                <a:gd name="connsiteY21" fmla="*/ 1431450 h 1956648"/>
                <a:gd name="connsiteX22" fmla="*/ 776951 w 4024484"/>
                <a:gd name="connsiteY22" fmla="*/ 1304296 h 1956648"/>
                <a:gd name="connsiteX23" fmla="*/ 820746 w 4024484"/>
                <a:gd name="connsiteY23" fmla="*/ 1254431 h 1956648"/>
                <a:gd name="connsiteX24" fmla="*/ 587939 w 4024484"/>
                <a:gd name="connsiteY24" fmla="*/ 1005111 h 1956648"/>
                <a:gd name="connsiteX25" fmla="*/ 601769 w 4024484"/>
                <a:gd name="connsiteY25" fmla="*/ 977687 h 1956648"/>
                <a:gd name="connsiteX26" fmla="*/ 405841 w 4024484"/>
                <a:gd name="connsiteY26" fmla="*/ 770751 h 1956648"/>
                <a:gd name="connsiteX0" fmla="*/ 405841 w 4024484"/>
                <a:gd name="connsiteY0" fmla="*/ 770751 h 1986798"/>
                <a:gd name="connsiteX1" fmla="*/ 312627 w 4024484"/>
                <a:gd name="connsiteY1" fmla="*/ 866787 h 1986798"/>
                <a:gd name="connsiteX2" fmla="*/ 0 w 4024484"/>
                <a:gd name="connsiteY2" fmla="*/ 542925 h 1986798"/>
                <a:gd name="connsiteX3" fmla="*/ 513868 w 4024484"/>
                <a:gd name="connsiteY3" fmla="*/ 0 h 1986798"/>
                <a:gd name="connsiteX4" fmla="*/ 1136535 w 4024484"/>
                <a:gd name="connsiteY4" fmla="*/ 658558 h 1986798"/>
                <a:gd name="connsiteX5" fmla="*/ 1198769 w 4024484"/>
                <a:gd name="connsiteY5" fmla="*/ 641103 h 1986798"/>
                <a:gd name="connsiteX6" fmla="*/ 1302496 w 4024484"/>
                <a:gd name="connsiteY6" fmla="*/ 755792 h 1986798"/>
                <a:gd name="connsiteX7" fmla="*/ 1281751 w 4024484"/>
                <a:gd name="connsiteY7" fmla="*/ 820615 h 1986798"/>
                <a:gd name="connsiteX8" fmla="*/ 1371572 w 4024484"/>
                <a:gd name="connsiteY8" fmla="*/ 914707 h 1986798"/>
                <a:gd name="connsiteX9" fmla="*/ 2672174 w 4024484"/>
                <a:gd name="connsiteY9" fmla="*/ 1239908 h 1986798"/>
                <a:gd name="connsiteX10" fmla="*/ 3836675 w 4024484"/>
                <a:gd name="connsiteY10" fmla="*/ 860568 h 1986798"/>
                <a:gd name="connsiteX11" fmla="*/ 4024484 w 4024484"/>
                <a:gd name="connsiteY11" fmla="*/ 1421128 h 1986798"/>
                <a:gd name="connsiteX12" fmla="*/ 2655546 w 4024484"/>
                <a:gd name="connsiteY12" fmla="*/ 1882718 h 1986798"/>
                <a:gd name="connsiteX13" fmla="*/ 2277522 w 4024484"/>
                <a:gd name="connsiteY13" fmla="*/ 1905156 h 1986798"/>
                <a:gd name="connsiteX14" fmla="*/ 2199150 w 4024484"/>
                <a:gd name="connsiteY14" fmla="*/ 1812910 h 1986798"/>
                <a:gd name="connsiteX15" fmla="*/ 1526018 w 4024484"/>
                <a:gd name="connsiteY15" fmla="*/ 1986798 h 1986798"/>
                <a:gd name="connsiteX16" fmla="*/ 1166500 w 4024484"/>
                <a:gd name="connsiteY16" fmla="*/ 1568575 h 1986798"/>
                <a:gd name="connsiteX17" fmla="*/ 1129620 w 4024484"/>
                <a:gd name="connsiteY17" fmla="*/ 1561096 h 1986798"/>
                <a:gd name="connsiteX18" fmla="*/ 972877 w 4024484"/>
                <a:gd name="connsiteY18" fmla="*/ 1386572 h 1986798"/>
                <a:gd name="connsiteX19" fmla="*/ 959048 w 4024484"/>
                <a:gd name="connsiteY19" fmla="*/ 1406517 h 1986798"/>
                <a:gd name="connsiteX20" fmla="*/ 933693 w 4024484"/>
                <a:gd name="connsiteY20" fmla="*/ 1374107 h 1986798"/>
                <a:gd name="connsiteX21" fmla="*/ 892202 w 4024484"/>
                <a:gd name="connsiteY21" fmla="*/ 1431450 h 1986798"/>
                <a:gd name="connsiteX22" fmla="*/ 776951 w 4024484"/>
                <a:gd name="connsiteY22" fmla="*/ 1304296 h 1986798"/>
                <a:gd name="connsiteX23" fmla="*/ 820746 w 4024484"/>
                <a:gd name="connsiteY23" fmla="*/ 1254431 h 1986798"/>
                <a:gd name="connsiteX24" fmla="*/ 587939 w 4024484"/>
                <a:gd name="connsiteY24" fmla="*/ 1005111 h 1986798"/>
                <a:gd name="connsiteX25" fmla="*/ 601769 w 4024484"/>
                <a:gd name="connsiteY25" fmla="*/ 977687 h 1986798"/>
                <a:gd name="connsiteX26" fmla="*/ 405841 w 4024484"/>
                <a:gd name="connsiteY26" fmla="*/ 770751 h 198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24484" h="1986798">
                  <a:moveTo>
                    <a:pt x="405841" y="770751"/>
                  </a:moveTo>
                  <a:lnTo>
                    <a:pt x="312627" y="866787"/>
                  </a:lnTo>
                  <a:lnTo>
                    <a:pt x="0" y="542925"/>
                  </a:lnTo>
                  <a:lnTo>
                    <a:pt x="513868" y="0"/>
                  </a:lnTo>
                  <a:lnTo>
                    <a:pt x="1136535" y="658558"/>
                  </a:lnTo>
                  <a:lnTo>
                    <a:pt x="1198769" y="641103"/>
                  </a:lnTo>
                  <a:lnTo>
                    <a:pt x="1302496" y="755792"/>
                  </a:lnTo>
                  <a:lnTo>
                    <a:pt x="1281751" y="820615"/>
                  </a:lnTo>
                  <a:lnTo>
                    <a:pt x="1371572" y="914707"/>
                  </a:lnTo>
                  <a:cubicBezTo>
                    <a:pt x="1648551" y="1218229"/>
                    <a:pt x="2098143" y="1361316"/>
                    <a:pt x="2672174" y="1239908"/>
                  </a:cubicBezTo>
                  <a:lnTo>
                    <a:pt x="3836675" y="860568"/>
                  </a:lnTo>
                  <a:lnTo>
                    <a:pt x="4024484" y="1421128"/>
                  </a:lnTo>
                  <a:lnTo>
                    <a:pt x="2655546" y="1882718"/>
                  </a:lnTo>
                  <a:lnTo>
                    <a:pt x="2277522" y="1905156"/>
                  </a:lnTo>
                  <a:lnTo>
                    <a:pt x="2199150" y="1812910"/>
                  </a:lnTo>
                  <a:lnTo>
                    <a:pt x="1526018" y="1986798"/>
                  </a:lnTo>
                  <a:lnTo>
                    <a:pt x="1166500" y="1568575"/>
                  </a:lnTo>
                  <a:lnTo>
                    <a:pt x="1129620" y="1561096"/>
                  </a:lnTo>
                  <a:lnTo>
                    <a:pt x="972877" y="1386572"/>
                  </a:lnTo>
                  <a:lnTo>
                    <a:pt x="959048" y="1406517"/>
                  </a:lnTo>
                  <a:lnTo>
                    <a:pt x="933693" y="1374107"/>
                  </a:lnTo>
                  <a:lnTo>
                    <a:pt x="892202" y="1431450"/>
                  </a:lnTo>
                  <a:lnTo>
                    <a:pt x="776951" y="1304296"/>
                  </a:lnTo>
                  <a:cubicBezTo>
                    <a:pt x="794622" y="1276040"/>
                    <a:pt x="807685" y="1270221"/>
                    <a:pt x="820746" y="1254431"/>
                  </a:cubicBezTo>
                  <a:lnTo>
                    <a:pt x="587939" y="1005111"/>
                  </a:lnTo>
                  <a:lnTo>
                    <a:pt x="601769" y="977687"/>
                  </a:lnTo>
                  <a:lnTo>
                    <a:pt x="405841" y="770751"/>
                  </a:ln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G004">
              <a:extLst>
                <a:ext uri="{FF2B5EF4-FFF2-40B4-BE49-F238E27FC236}">
                  <a16:creationId xmlns:a16="http://schemas.microsoft.com/office/drawing/2014/main" id="{DCEAAB84-9E00-4B60-8BD1-A621C125BE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76781" y="6305287"/>
              <a:ext cx="437841" cy="147676"/>
            </a:xfrm>
            <a:custGeom>
              <a:avLst/>
              <a:gdLst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91540 w 1333500"/>
                <a:gd name="connsiteY5" fmla="*/ 388620 h 632460"/>
                <a:gd name="connsiteX6" fmla="*/ 304800 w 1333500"/>
                <a:gd name="connsiteY6" fmla="*/ 50292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91540 w 1333500"/>
                <a:gd name="connsiteY5" fmla="*/ 38862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51460 w 1333500"/>
                <a:gd name="connsiteY11" fmla="*/ 22098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28600 w 1333500"/>
                <a:gd name="connsiteY11" fmla="*/ 22098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68580 w 1356360"/>
                <a:gd name="connsiteY0" fmla="*/ 419100 h 632460"/>
                <a:gd name="connsiteX1" fmla="*/ 304800 w 1356360"/>
                <a:gd name="connsiteY1" fmla="*/ 350520 h 632460"/>
                <a:gd name="connsiteX2" fmla="*/ 365760 w 1356360"/>
                <a:gd name="connsiteY2" fmla="*/ 381000 h 632460"/>
                <a:gd name="connsiteX3" fmla="*/ 731520 w 1356360"/>
                <a:gd name="connsiteY3" fmla="*/ 297180 h 632460"/>
                <a:gd name="connsiteX4" fmla="*/ 861060 w 1356360"/>
                <a:gd name="connsiteY4" fmla="*/ 320040 h 632460"/>
                <a:gd name="connsiteX5" fmla="*/ 899160 w 1356360"/>
                <a:gd name="connsiteY5" fmla="*/ 358140 h 632460"/>
                <a:gd name="connsiteX6" fmla="*/ 304800 w 1356360"/>
                <a:gd name="connsiteY6" fmla="*/ 518160 h 632460"/>
                <a:gd name="connsiteX7" fmla="*/ 457200 w 1356360"/>
                <a:gd name="connsiteY7" fmla="*/ 632460 h 632460"/>
                <a:gd name="connsiteX8" fmla="*/ 1356360 w 1356360"/>
                <a:gd name="connsiteY8" fmla="*/ 403860 h 632460"/>
                <a:gd name="connsiteX9" fmla="*/ 1005840 w 1356360"/>
                <a:gd name="connsiteY9" fmla="*/ 0 h 632460"/>
                <a:gd name="connsiteX10" fmla="*/ 350520 w 1356360"/>
                <a:gd name="connsiteY10" fmla="*/ 160020 h 632460"/>
                <a:gd name="connsiteX11" fmla="*/ 251460 w 1356360"/>
                <a:gd name="connsiteY11" fmla="*/ 220980 h 632460"/>
                <a:gd name="connsiteX12" fmla="*/ 0 w 1356360"/>
                <a:gd name="connsiteY12" fmla="*/ 281940 h 632460"/>
                <a:gd name="connsiteX13" fmla="*/ 68580 w 1356360"/>
                <a:gd name="connsiteY13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426720 w 1325880"/>
                <a:gd name="connsiteY7" fmla="*/ 632460 h 632460"/>
                <a:gd name="connsiteX8" fmla="*/ 1325880 w 1325880"/>
                <a:gd name="connsiteY8" fmla="*/ 403860 h 632460"/>
                <a:gd name="connsiteX9" fmla="*/ 975360 w 1325880"/>
                <a:gd name="connsiteY9" fmla="*/ 0 h 632460"/>
                <a:gd name="connsiteX10" fmla="*/ 320040 w 1325880"/>
                <a:gd name="connsiteY10" fmla="*/ 160020 h 632460"/>
                <a:gd name="connsiteX11" fmla="*/ 220980 w 1325880"/>
                <a:gd name="connsiteY11" fmla="*/ 220980 h 632460"/>
                <a:gd name="connsiteX12" fmla="*/ 0 w 1325880"/>
                <a:gd name="connsiteY12" fmla="*/ 289560 h 632460"/>
                <a:gd name="connsiteX13" fmla="*/ 38100 w 1325880"/>
                <a:gd name="connsiteY13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426720 w 1325880"/>
                <a:gd name="connsiteY7" fmla="*/ 632460 h 632460"/>
                <a:gd name="connsiteX8" fmla="*/ 533400 w 1325880"/>
                <a:gd name="connsiteY8" fmla="*/ 601980 h 632460"/>
                <a:gd name="connsiteX9" fmla="*/ 1325880 w 1325880"/>
                <a:gd name="connsiteY9" fmla="*/ 403860 h 632460"/>
                <a:gd name="connsiteX10" fmla="*/ 975360 w 1325880"/>
                <a:gd name="connsiteY10" fmla="*/ 0 h 632460"/>
                <a:gd name="connsiteX11" fmla="*/ 320040 w 1325880"/>
                <a:gd name="connsiteY11" fmla="*/ 160020 h 632460"/>
                <a:gd name="connsiteX12" fmla="*/ 220980 w 1325880"/>
                <a:gd name="connsiteY12" fmla="*/ 220980 h 632460"/>
                <a:gd name="connsiteX13" fmla="*/ 0 w 1325880"/>
                <a:gd name="connsiteY13" fmla="*/ 289560 h 632460"/>
                <a:gd name="connsiteX14" fmla="*/ 38100 w 1325880"/>
                <a:gd name="connsiteY14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342900 w 1325880"/>
                <a:gd name="connsiteY7" fmla="*/ 571500 h 632460"/>
                <a:gd name="connsiteX8" fmla="*/ 426720 w 1325880"/>
                <a:gd name="connsiteY8" fmla="*/ 632460 h 632460"/>
                <a:gd name="connsiteX9" fmla="*/ 533400 w 1325880"/>
                <a:gd name="connsiteY9" fmla="*/ 601980 h 632460"/>
                <a:gd name="connsiteX10" fmla="*/ 1325880 w 1325880"/>
                <a:gd name="connsiteY10" fmla="*/ 403860 h 632460"/>
                <a:gd name="connsiteX11" fmla="*/ 975360 w 1325880"/>
                <a:gd name="connsiteY11" fmla="*/ 0 h 632460"/>
                <a:gd name="connsiteX12" fmla="*/ 320040 w 1325880"/>
                <a:gd name="connsiteY12" fmla="*/ 160020 h 632460"/>
                <a:gd name="connsiteX13" fmla="*/ 220980 w 1325880"/>
                <a:gd name="connsiteY13" fmla="*/ 220980 h 632460"/>
                <a:gd name="connsiteX14" fmla="*/ 0 w 1325880"/>
                <a:gd name="connsiteY14" fmla="*/ 289560 h 632460"/>
                <a:gd name="connsiteX15" fmla="*/ 38100 w 1325880"/>
                <a:gd name="connsiteY15" fmla="*/ 419100 h 63246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42900 w 1325880"/>
                <a:gd name="connsiteY7" fmla="*/ 571500 h 601980"/>
                <a:gd name="connsiteX8" fmla="*/ 426720 w 1325880"/>
                <a:gd name="connsiteY8" fmla="*/ 59436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12420 w 1325880"/>
                <a:gd name="connsiteY7" fmla="*/ 556260 h 601980"/>
                <a:gd name="connsiteX8" fmla="*/ 426720 w 1325880"/>
                <a:gd name="connsiteY8" fmla="*/ 59436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12420 w 1325880"/>
                <a:gd name="connsiteY7" fmla="*/ 556260 h 601980"/>
                <a:gd name="connsiteX8" fmla="*/ 396240 w 1325880"/>
                <a:gd name="connsiteY8" fmla="*/ 60198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78180 w 1325880"/>
                <a:gd name="connsiteY3" fmla="*/ 29718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47700 w 1325880"/>
                <a:gd name="connsiteY3" fmla="*/ 30480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47700 w 1325880"/>
                <a:gd name="connsiteY3" fmla="*/ 304800 h 601980"/>
                <a:gd name="connsiteX4" fmla="*/ 800100 w 1325880"/>
                <a:gd name="connsiteY4" fmla="*/ 37338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68580 w 1356360"/>
                <a:gd name="connsiteY0" fmla="*/ 419100 h 601980"/>
                <a:gd name="connsiteX1" fmla="*/ 304800 w 1356360"/>
                <a:gd name="connsiteY1" fmla="*/ 350520 h 601980"/>
                <a:gd name="connsiteX2" fmla="*/ 365760 w 1356360"/>
                <a:gd name="connsiteY2" fmla="*/ 381000 h 601980"/>
                <a:gd name="connsiteX3" fmla="*/ 678180 w 1356360"/>
                <a:gd name="connsiteY3" fmla="*/ 304800 h 601980"/>
                <a:gd name="connsiteX4" fmla="*/ 830580 w 1356360"/>
                <a:gd name="connsiteY4" fmla="*/ 373380 h 601980"/>
                <a:gd name="connsiteX5" fmla="*/ 304800 w 1356360"/>
                <a:gd name="connsiteY5" fmla="*/ 518160 h 601980"/>
                <a:gd name="connsiteX6" fmla="*/ 342900 w 1356360"/>
                <a:gd name="connsiteY6" fmla="*/ 556260 h 601980"/>
                <a:gd name="connsiteX7" fmla="*/ 426720 w 1356360"/>
                <a:gd name="connsiteY7" fmla="*/ 601980 h 601980"/>
                <a:gd name="connsiteX8" fmla="*/ 563880 w 1356360"/>
                <a:gd name="connsiteY8" fmla="*/ 601980 h 601980"/>
                <a:gd name="connsiteX9" fmla="*/ 1356360 w 1356360"/>
                <a:gd name="connsiteY9" fmla="*/ 403860 h 601980"/>
                <a:gd name="connsiteX10" fmla="*/ 1005840 w 1356360"/>
                <a:gd name="connsiteY10" fmla="*/ 0 h 601980"/>
                <a:gd name="connsiteX11" fmla="*/ 350520 w 1356360"/>
                <a:gd name="connsiteY11" fmla="*/ 160020 h 601980"/>
                <a:gd name="connsiteX12" fmla="*/ 251460 w 1356360"/>
                <a:gd name="connsiteY12" fmla="*/ 220980 h 601980"/>
                <a:gd name="connsiteX13" fmla="*/ 0 w 1356360"/>
                <a:gd name="connsiteY13" fmla="*/ 297180 h 601980"/>
                <a:gd name="connsiteX14" fmla="*/ 68580 w 1356360"/>
                <a:gd name="connsiteY14" fmla="*/ 419100 h 601980"/>
                <a:gd name="connsiteX0" fmla="*/ 46222 w 1334002"/>
                <a:gd name="connsiteY0" fmla="*/ 419100 h 601980"/>
                <a:gd name="connsiteX1" fmla="*/ 282442 w 1334002"/>
                <a:gd name="connsiteY1" fmla="*/ 350520 h 601980"/>
                <a:gd name="connsiteX2" fmla="*/ 343402 w 1334002"/>
                <a:gd name="connsiteY2" fmla="*/ 381000 h 601980"/>
                <a:gd name="connsiteX3" fmla="*/ 655822 w 1334002"/>
                <a:gd name="connsiteY3" fmla="*/ 304800 h 601980"/>
                <a:gd name="connsiteX4" fmla="*/ 808222 w 1334002"/>
                <a:gd name="connsiteY4" fmla="*/ 373380 h 601980"/>
                <a:gd name="connsiteX5" fmla="*/ 282442 w 1334002"/>
                <a:gd name="connsiteY5" fmla="*/ 518160 h 601980"/>
                <a:gd name="connsiteX6" fmla="*/ 320542 w 1334002"/>
                <a:gd name="connsiteY6" fmla="*/ 556260 h 601980"/>
                <a:gd name="connsiteX7" fmla="*/ 404362 w 1334002"/>
                <a:gd name="connsiteY7" fmla="*/ 601980 h 601980"/>
                <a:gd name="connsiteX8" fmla="*/ 541522 w 1334002"/>
                <a:gd name="connsiteY8" fmla="*/ 601980 h 601980"/>
                <a:gd name="connsiteX9" fmla="*/ 1334002 w 1334002"/>
                <a:gd name="connsiteY9" fmla="*/ 403860 h 601980"/>
                <a:gd name="connsiteX10" fmla="*/ 983482 w 1334002"/>
                <a:gd name="connsiteY10" fmla="*/ 0 h 601980"/>
                <a:gd name="connsiteX11" fmla="*/ 328162 w 1334002"/>
                <a:gd name="connsiteY11" fmla="*/ 160020 h 601980"/>
                <a:gd name="connsiteX12" fmla="*/ 229102 w 1334002"/>
                <a:gd name="connsiteY12" fmla="*/ 220980 h 601980"/>
                <a:gd name="connsiteX13" fmla="*/ 0 w 1334002"/>
                <a:gd name="connsiteY13" fmla="*/ 289560 h 601980"/>
                <a:gd name="connsiteX14" fmla="*/ 46222 w 1334002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14758 w 1320598"/>
                <a:gd name="connsiteY11" fmla="*/ 160020 h 601980"/>
                <a:gd name="connsiteX12" fmla="*/ 215698 w 1320598"/>
                <a:gd name="connsiteY12" fmla="*/ 220980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14758 w 1320598"/>
                <a:gd name="connsiteY11" fmla="*/ 160020 h 601980"/>
                <a:gd name="connsiteX12" fmla="*/ 204528 w 1320598"/>
                <a:gd name="connsiteY12" fmla="*/ 201937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30396 w 1320598"/>
                <a:gd name="connsiteY11" fmla="*/ 110034 h 601980"/>
                <a:gd name="connsiteX12" fmla="*/ 204528 w 1320598"/>
                <a:gd name="connsiteY12" fmla="*/ 201937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42904 h 625784"/>
                <a:gd name="connsiteX1" fmla="*/ 269038 w 1320598"/>
                <a:gd name="connsiteY1" fmla="*/ 374324 h 625784"/>
                <a:gd name="connsiteX2" fmla="*/ 329998 w 1320598"/>
                <a:gd name="connsiteY2" fmla="*/ 404804 h 625784"/>
                <a:gd name="connsiteX3" fmla="*/ 642418 w 1320598"/>
                <a:gd name="connsiteY3" fmla="*/ 328604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269038 w 1320598"/>
                <a:gd name="connsiteY1" fmla="*/ 374324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16074 w 1320598"/>
                <a:gd name="connsiteY6" fmla="*/ 572923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711476"/>
                <a:gd name="connsiteX1" fmla="*/ 315950 w 1320598"/>
                <a:gd name="connsiteY1" fmla="*/ 376705 h 711476"/>
                <a:gd name="connsiteX2" fmla="*/ 329998 w 1320598"/>
                <a:gd name="connsiteY2" fmla="*/ 404804 h 711476"/>
                <a:gd name="connsiteX3" fmla="*/ 704968 w 1320598"/>
                <a:gd name="connsiteY3" fmla="*/ 319083 h 711476"/>
                <a:gd name="connsiteX4" fmla="*/ 823859 w 1320598"/>
                <a:gd name="connsiteY4" fmla="*/ 401944 h 711476"/>
                <a:gd name="connsiteX5" fmla="*/ 304781 w 1320598"/>
                <a:gd name="connsiteY5" fmla="*/ 522922 h 711476"/>
                <a:gd name="connsiteX6" fmla="*/ 316074 w 1320598"/>
                <a:gd name="connsiteY6" fmla="*/ 572923 h 711476"/>
                <a:gd name="connsiteX7" fmla="*/ 451273 w 1320598"/>
                <a:gd name="connsiteY7" fmla="*/ 711476 h 711476"/>
                <a:gd name="connsiteX8" fmla="*/ 528118 w 1320598"/>
                <a:gd name="connsiteY8" fmla="*/ 625784 h 711476"/>
                <a:gd name="connsiteX9" fmla="*/ 1320598 w 1320598"/>
                <a:gd name="connsiteY9" fmla="*/ 427664 h 711476"/>
                <a:gd name="connsiteX10" fmla="*/ 920931 w 1320598"/>
                <a:gd name="connsiteY10" fmla="*/ 0 h 711476"/>
                <a:gd name="connsiteX11" fmla="*/ 330396 w 1320598"/>
                <a:gd name="connsiteY11" fmla="*/ 133838 h 711476"/>
                <a:gd name="connsiteX12" fmla="*/ 204528 w 1320598"/>
                <a:gd name="connsiteY12" fmla="*/ 225741 h 711476"/>
                <a:gd name="connsiteX13" fmla="*/ 0 w 1320598"/>
                <a:gd name="connsiteY13" fmla="*/ 275279 h 711476"/>
                <a:gd name="connsiteX14" fmla="*/ 32818 w 1320598"/>
                <a:gd name="connsiteY14" fmla="*/ 442904 h 711476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16074 w 1320598"/>
                <a:gd name="connsiteY6" fmla="*/ 572923 h 625784"/>
                <a:gd name="connsiteX7" fmla="*/ 528118 w 1320598"/>
                <a:gd name="connsiteY7" fmla="*/ 625784 h 625784"/>
                <a:gd name="connsiteX8" fmla="*/ 1320598 w 1320598"/>
                <a:gd name="connsiteY8" fmla="*/ 427664 h 625784"/>
                <a:gd name="connsiteX9" fmla="*/ 920931 w 1320598"/>
                <a:gd name="connsiteY9" fmla="*/ 0 h 625784"/>
                <a:gd name="connsiteX10" fmla="*/ 330396 w 1320598"/>
                <a:gd name="connsiteY10" fmla="*/ 133838 h 625784"/>
                <a:gd name="connsiteX11" fmla="*/ 204528 w 1320598"/>
                <a:gd name="connsiteY11" fmla="*/ 225741 h 625784"/>
                <a:gd name="connsiteX12" fmla="*/ 0 w 1320598"/>
                <a:gd name="connsiteY12" fmla="*/ 275279 h 625784"/>
                <a:gd name="connsiteX13" fmla="*/ 32818 w 1320598"/>
                <a:gd name="connsiteY13" fmla="*/ 442904 h 625784"/>
                <a:gd name="connsiteX0" fmla="*/ 32818 w 1320598"/>
                <a:gd name="connsiteY0" fmla="*/ 442904 h 630544"/>
                <a:gd name="connsiteX1" fmla="*/ 315950 w 1320598"/>
                <a:gd name="connsiteY1" fmla="*/ 376705 h 630544"/>
                <a:gd name="connsiteX2" fmla="*/ 329998 w 1320598"/>
                <a:gd name="connsiteY2" fmla="*/ 404804 h 630544"/>
                <a:gd name="connsiteX3" fmla="*/ 704968 w 1320598"/>
                <a:gd name="connsiteY3" fmla="*/ 319083 h 630544"/>
                <a:gd name="connsiteX4" fmla="*/ 823859 w 1320598"/>
                <a:gd name="connsiteY4" fmla="*/ 401944 h 630544"/>
                <a:gd name="connsiteX5" fmla="*/ 304781 w 1320598"/>
                <a:gd name="connsiteY5" fmla="*/ 522922 h 630544"/>
                <a:gd name="connsiteX6" fmla="*/ 316074 w 1320598"/>
                <a:gd name="connsiteY6" fmla="*/ 572923 h 630544"/>
                <a:gd name="connsiteX7" fmla="*/ 423123 w 1320598"/>
                <a:gd name="connsiteY7" fmla="*/ 630544 h 630544"/>
                <a:gd name="connsiteX8" fmla="*/ 1320598 w 1320598"/>
                <a:gd name="connsiteY8" fmla="*/ 427664 h 630544"/>
                <a:gd name="connsiteX9" fmla="*/ 920931 w 1320598"/>
                <a:gd name="connsiteY9" fmla="*/ 0 h 630544"/>
                <a:gd name="connsiteX10" fmla="*/ 330396 w 1320598"/>
                <a:gd name="connsiteY10" fmla="*/ 133838 h 630544"/>
                <a:gd name="connsiteX11" fmla="*/ 204528 w 1320598"/>
                <a:gd name="connsiteY11" fmla="*/ 225741 h 630544"/>
                <a:gd name="connsiteX12" fmla="*/ 0 w 1320598"/>
                <a:gd name="connsiteY12" fmla="*/ 275279 h 630544"/>
                <a:gd name="connsiteX13" fmla="*/ 32818 w 1320598"/>
                <a:gd name="connsiteY13" fmla="*/ 442904 h 630544"/>
                <a:gd name="connsiteX0" fmla="*/ 32818 w 1320598"/>
                <a:gd name="connsiteY0" fmla="*/ 442904 h 630885"/>
                <a:gd name="connsiteX1" fmla="*/ 315950 w 1320598"/>
                <a:gd name="connsiteY1" fmla="*/ 376705 h 630885"/>
                <a:gd name="connsiteX2" fmla="*/ 329998 w 1320598"/>
                <a:gd name="connsiteY2" fmla="*/ 404804 h 630885"/>
                <a:gd name="connsiteX3" fmla="*/ 704968 w 1320598"/>
                <a:gd name="connsiteY3" fmla="*/ 319083 h 630885"/>
                <a:gd name="connsiteX4" fmla="*/ 823859 w 1320598"/>
                <a:gd name="connsiteY4" fmla="*/ 401944 h 630885"/>
                <a:gd name="connsiteX5" fmla="*/ 304781 w 1320598"/>
                <a:gd name="connsiteY5" fmla="*/ 522922 h 630885"/>
                <a:gd name="connsiteX6" fmla="*/ 316074 w 1320598"/>
                <a:gd name="connsiteY6" fmla="*/ 572923 h 630885"/>
                <a:gd name="connsiteX7" fmla="*/ 423123 w 1320598"/>
                <a:gd name="connsiteY7" fmla="*/ 630544 h 630885"/>
                <a:gd name="connsiteX8" fmla="*/ 1320598 w 1320598"/>
                <a:gd name="connsiteY8" fmla="*/ 427664 h 630885"/>
                <a:gd name="connsiteX9" fmla="*/ 920931 w 1320598"/>
                <a:gd name="connsiteY9" fmla="*/ 0 h 630885"/>
                <a:gd name="connsiteX10" fmla="*/ 330396 w 1320598"/>
                <a:gd name="connsiteY10" fmla="*/ 133838 h 630885"/>
                <a:gd name="connsiteX11" fmla="*/ 204528 w 1320598"/>
                <a:gd name="connsiteY11" fmla="*/ 225741 h 630885"/>
                <a:gd name="connsiteX12" fmla="*/ 0 w 1320598"/>
                <a:gd name="connsiteY12" fmla="*/ 275279 h 630885"/>
                <a:gd name="connsiteX13" fmla="*/ 32818 w 1320598"/>
                <a:gd name="connsiteY13" fmla="*/ 442904 h 630885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30396 w 1320598"/>
                <a:gd name="connsiteY10" fmla="*/ 133838 h 631106"/>
                <a:gd name="connsiteX11" fmla="*/ 204528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30396 w 1320598"/>
                <a:gd name="connsiteY10" fmla="*/ 133838 h 631106"/>
                <a:gd name="connsiteX11" fmla="*/ 191124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12524 w 1320598"/>
                <a:gd name="connsiteY10" fmla="*/ 133838 h 631106"/>
                <a:gd name="connsiteX11" fmla="*/ 191124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760906 w 1320598"/>
                <a:gd name="connsiteY4" fmla="*/ 361475 h 631106"/>
                <a:gd name="connsiteX5" fmla="*/ 823859 w 1320598"/>
                <a:gd name="connsiteY5" fmla="*/ 401944 h 631106"/>
                <a:gd name="connsiteX6" fmla="*/ 304781 w 1320598"/>
                <a:gd name="connsiteY6" fmla="*/ 522922 h 631106"/>
                <a:gd name="connsiteX7" fmla="*/ 316074 w 1320598"/>
                <a:gd name="connsiteY7" fmla="*/ 572923 h 631106"/>
                <a:gd name="connsiteX8" fmla="*/ 423123 w 1320598"/>
                <a:gd name="connsiteY8" fmla="*/ 630544 h 631106"/>
                <a:gd name="connsiteX9" fmla="*/ 1320598 w 1320598"/>
                <a:gd name="connsiteY9" fmla="*/ 427664 h 631106"/>
                <a:gd name="connsiteX10" fmla="*/ 920931 w 1320598"/>
                <a:gd name="connsiteY10" fmla="*/ 0 h 631106"/>
                <a:gd name="connsiteX11" fmla="*/ 312524 w 1320598"/>
                <a:gd name="connsiteY11" fmla="*/ 133838 h 631106"/>
                <a:gd name="connsiteX12" fmla="*/ 191124 w 1320598"/>
                <a:gd name="connsiteY12" fmla="*/ 225741 h 631106"/>
                <a:gd name="connsiteX13" fmla="*/ 0 w 1320598"/>
                <a:gd name="connsiteY13" fmla="*/ 275279 h 631106"/>
                <a:gd name="connsiteX14" fmla="*/ 32818 w 1320598"/>
                <a:gd name="connsiteY14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23859 w 1320598"/>
                <a:gd name="connsiteY5" fmla="*/ 401944 h 631106"/>
                <a:gd name="connsiteX6" fmla="*/ 304781 w 1320598"/>
                <a:gd name="connsiteY6" fmla="*/ 522922 h 631106"/>
                <a:gd name="connsiteX7" fmla="*/ 316074 w 1320598"/>
                <a:gd name="connsiteY7" fmla="*/ 572923 h 631106"/>
                <a:gd name="connsiteX8" fmla="*/ 423123 w 1320598"/>
                <a:gd name="connsiteY8" fmla="*/ 630544 h 631106"/>
                <a:gd name="connsiteX9" fmla="*/ 1320598 w 1320598"/>
                <a:gd name="connsiteY9" fmla="*/ 427664 h 631106"/>
                <a:gd name="connsiteX10" fmla="*/ 920931 w 1320598"/>
                <a:gd name="connsiteY10" fmla="*/ 0 h 631106"/>
                <a:gd name="connsiteX11" fmla="*/ 312524 w 1320598"/>
                <a:gd name="connsiteY11" fmla="*/ 133838 h 631106"/>
                <a:gd name="connsiteX12" fmla="*/ 191124 w 1320598"/>
                <a:gd name="connsiteY12" fmla="*/ 225741 h 631106"/>
                <a:gd name="connsiteX13" fmla="*/ 0 w 1320598"/>
                <a:gd name="connsiteY13" fmla="*/ 275279 h 631106"/>
                <a:gd name="connsiteX14" fmla="*/ 32818 w 1320598"/>
                <a:gd name="connsiteY14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27925 w 1320598"/>
                <a:gd name="connsiteY5" fmla="*/ 378137 h 631106"/>
                <a:gd name="connsiteX6" fmla="*/ 823859 w 1320598"/>
                <a:gd name="connsiteY6" fmla="*/ 401944 h 631106"/>
                <a:gd name="connsiteX7" fmla="*/ 304781 w 1320598"/>
                <a:gd name="connsiteY7" fmla="*/ 522922 h 631106"/>
                <a:gd name="connsiteX8" fmla="*/ 316074 w 1320598"/>
                <a:gd name="connsiteY8" fmla="*/ 572923 h 631106"/>
                <a:gd name="connsiteX9" fmla="*/ 423123 w 1320598"/>
                <a:gd name="connsiteY9" fmla="*/ 630544 h 631106"/>
                <a:gd name="connsiteX10" fmla="*/ 1320598 w 1320598"/>
                <a:gd name="connsiteY10" fmla="*/ 427664 h 631106"/>
                <a:gd name="connsiteX11" fmla="*/ 920931 w 1320598"/>
                <a:gd name="connsiteY11" fmla="*/ 0 h 631106"/>
                <a:gd name="connsiteX12" fmla="*/ 312524 w 1320598"/>
                <a:gd name="connsiteY12" fmla="*/ 133838 h 631106"/>
                <a:gd name="connsiteX13" fmla="*/ 191124 w 1320598"/>
                <a:gd name="connsiteY13" fmla="*/ 225741 h 631106"/>
                <a:gd name="connsiteX14" fmla="*/ 0 w 1320598"/>
                <a:gd name="connsiteY14" fmla="*/ 275279 h 631106"/>
                <a:gd name="connsiteX15" fmla="*/ 32818 w 1320598"/>
                <a:gd name="connsiteY15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23859 w 1320598"/>
                <a:gd name="connsiteY6" fmla="*/ 401944 h 631106"/>
                <a:gd name="connsiteX7" fmla="*/ 304781 w 1320598"/>
                <a:gd name="connsiteY7" fmla="*/ 522922 h 631106"/>
                <a:gd name="connsiteX8" fmla="*/ 316074 w 1320598"/>
                <a:gd name="connsiteY8" fmla="*/ 572923 h 631106"/>
                <a:gd name="connsiteX9" fmla="*/ 423123 w 1320598"/>
                <a:gd name="connsiteY9" fmla="*/ 630544 h 631106"/>
                <a:gd name="connsiteX10" fmla="*/ 1320598 w 1320598"/>
                <a:gd name="connsiteY10" fmla="*/ 427664 h 631106"/>
                <a:gd name="connsiteX11" fmla="*/ 920931 w 1320598"/>
                <a:gd name="connsiteY11" fmla="*/ 0 h 631106"/>
                <a:gd name="connsiteX12" fmla="*/ 312524 w 1320598"/>
                <a:gd name="connsiteY12" fmla="*/ 133838 h 631106"/>
                <a:gd name="connsiteX13" fmla="*/ 191124 w 1320598"/>
                <a:gd name="connsiteY13" fmla="*/ 225741 h 631106"/>
                <a:gd name="connsiteX14" fmla="*/ 0 w 1320598"/>
                <a:gd name="connsiteY14" fmla="*/ 275279 h 631106"/>
                <a:gd name="connsiteX15" fmla="*/ 32818 w 1320598"/>
                <a:gd name="connsiteY15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6860 w 1320598"/>
                <a:gd name="connsiteY6" fmla="*/ 428124 h 631106"/>
                <a:gd name="connsiteX7" fmla="*/ 823859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48030 w 1320598"/>
                <a:gd name="connsiteY6" fmla="*/ 473351 h 631106"/>
                <a:gd name="connsiteX7" fmla="*/ 823859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48030 w 1320598"/>
                <a:gd name="connsiteY6" fmla="*/ 473351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612723 w 1320598"/>
                <a:gd name="connsiteY13" fmla="*/ 67886 h 631106"/>
                <a:gd name="connsiteX14" fmla="*/ 312524 w 1320598"/>
                <a:gd name="connsiteY14" fmla="*/ 133838 h 631106"/>
                <a:gd name="connsiteX15" fmla="*/ 191124 w 1320598"/>
                <a:gd name="connsiteY15" fmla="*/ 225741 h 631106"/>
                <a:gd name="connsiteX16" fmla="*/ 0 w 1320598"/>
                <a:gd name="connsiteY16" fmla="*/ 275279 h 631106"/>
                <a:gd name="connsiteX17" fmla="*/ 32818 w 1320598"/>
                <a:gd name="connsiteY17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665751 w 1320598"/>
                <a:gd name="connsiteY13" fmla="*/ 50788 h 631106"/>
                <a:gd name="connsiteX14" fmla="*/ 612723 w 1320598"/>
                <a:gd name="connsiteY14" fmla="*/ 67886 h 631106"/>
                <a:gd name="connsiteX15" fmla="*/ 312524 w 1320598"/>
                <a:gd name="connsiteY15" fmla="*/ 133838 h 631106"/>
                <a:gd name="connsiteX16" fmla="*/ 191124 w 1320598"/>
                <a:gd name="connsiteY16" fmla="*/ 225741 h 631106"/>
                <a:gd name="connsiteX17" fmla="*/ 0 w 1320598"/>
                <a:gd name="connsiteY17" fmla="*/ 275279 h 631106"/>
                <a:gd name="connsiteX18" fmla="*/ 32818 w 1320598"/>
                <a:gd name="connsiteY18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665751 w 1320598"/>
                <a:gd name="connsiteY14" fmla="*/ 50788 h 631106"/>
                <a:gd name="connsiteX15" fmla="*/ 612723 w 1320598"/>
                <a:gd name="connsiteY15" fmla="*/ 67886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665751 w 1320598"/>
                <a:gd name="connsiteY14" fmla="*/ 50788 h 631106"/>
                <a:gd name="connsiteX15" fmla="*/ 589667 w 1320598"/>
                <a:gd name="connsiteY15" fmla="*/ 72770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596583 w 1320598"/>
                <a:gd name="connsiteY14" fmla="*/ 16593 h 631106"/>
                <a:gd name="connsiteX15" fmla="*/ 589667 w 1320598"/>
                <a:gd name="connsiteY15" fmla="*/ 72770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55622 h 643824"/>
                <a:gd name="connsiteX1" fmla="*/ 315950 w 1320598"/>
                <a:gd name="connsiteY1" fmla="*/ 389423 h 643824"/>
                <a:gd name="connsiteX2" fmla="*/ 329998 w 1320598"/>
                <a:gd name="connsiteY2" fmla="*/ 417522 h 643824"/>
                <a:gd name="connsiteX3" fmla="*/ 704968 w 1320598"/>
                <a:gd name="connsiteY3" fmla="*/ 331801 h 643824"/>
                <a:gd name="connsiteX4" fmla="*/ 843563 w 1320598"/>
                <a:gd name="connsiteY4" fmla="*/ 355150 h 643824"/>
                <a:gd name="connsiteX5" fmla="*/ 863668 w 1320598"/>
                <a:gd name="connsiteY5" fmla="*/ 476547 h 643824"/>
                <a:gd name="connsiteX6" fmla="*/ 839094 w 1320598"/>
                <a:gd name="connsiteY6" fmla="*/ 483688 h 643824"/>
                <a:gd name="connsiteX7" fmla="*/ 832795 w 1320598"/>
                <a:gd name="connsiteY7" fmla="*/ 414662 h 643824"/>
                <a:gd name="connsiteX8" fmla="*/ 304781 w 1320598"/>
                <a:gd name="connsiteY8" fmla="*/ 535640 h 643824"/>
                <a:gd name="connsiteX9" fmla="*/ 316074 w 1320598"/>
                <a:gd name="connsiteY9" fmla="*/ 585641 h 643824"/>
                <a:gd name="connsiteX10" fmla="*/ 423123 w 1320598"/>
                <a:gd name="connsiteY10" fmla="*/ 643262 h 643824"/>
                <a:gd name="connsiteX11" fmla="*/ 1320598 w 1320598"/>
                <a:gd name="connsiteY11" fmla="*/ 440382 h 643824"/>
                <a:gd name="connsiteX12" fmla="*/ 920931 w 1320598"/>
                <a:gd name="connsiteY12" fmla="*/ 12718 h 643824"/>
                <a:gd name="connsiteX13" fmla="*/ 806393 w 1320598"/>
                <a:gd name="connsiteY13" fmla="*/ 0 h 643824"/>
                <a:gd name="connsiteX14" fmla="*/ 596583 w 1320598"/>
                <a:gd name="connsiteY14" fmla="*/ 29311 h 643824"/>
                <a:gd name="connsiteX15" fmla="*/ 589667 w 1320598"/>
                <a:gd name="connsiteY15" fmla="*/ 85488 h 643824"/>
                <a:gd name="connsiteX16" fmla="*/ 312524 w 1320598"/>
                <a:gd name="connsiteY16" fmla="*/ 146556 h 643824"/>
                <a:gd name="connsiteX17" fmla="*/ 191124 w 1320598"/>
                <a:gd name="connsiteY17" fmla="*/ 238459 h 643824"/>
                <a:gd name="connsiteX18" fmla="*/ 0 w 1320598"/>
                <a:gd name="connsiteY18" fmla="*/ 287997 h 643824"/>
                <a:gd name="connsiteX19" fmla="*/ 32818 w 1320598"/>
                <a:gd name="connsiteY19" fmla="*/ 455622 h 643824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596583 w 1320598"/>
                <a:gd name="connsiteY14" fmla="*/ 48346 h 662859"/>
                <a:gd name="connsiteX15" fmla="*/ 589667 w 1320598"/>
                <a:gd name="connsiteY15" fmla="*/ 104523 h 662859"/>
                <a:gd name="connsiteX16" fmla="*/ 312524 w 1320598"/>
                <a:gd name="connsiteY16" fmla="*/ 165591 h 662859"/>
                <a:gd name="connsiteX17" fmla="*/ 191124 w 1320598"/>
                <a:gd name="connsiteY17" fmla="*/ 257494 h 662859"/>
                <a:gd name="connsiteX18" fmla="*/ 0 w 1320598"/>
                <a:gd name="connsiteY18" fmla="*/ 307032 h 662859"/>
                <a:gd name="connsiteX19" fmla="*/ 32818 w 1320598"/>
                <a:gd name="connsiteY19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693419 w 1320598"/>
                <a:gd name="connsiteY15" fmla="*/ 58115 h 662859"/>
                <a:gd name="connsiteX16" fmla="*/ 596583 w 1320598"/>
                <a:gd name="connsiteY16" fmla="*/ 48346 h 662859"/>
                <a:gd name="connsiteX17" fmla="*/ 589667 w 1320598"/>
                <a:gd name="connsiteY17" fmla="*/ 104523 h 662859"/>
                <a:gd name="connsiteX18" fmla="*/ 312524 w 1320598"/>
                <a:gd name="connsiteY18" fmla="*/ 165591 h 662859"/>
                <a:gd name="connsiteX19" fmla="*/ 191124 w 1320598"/>
                <a:gd name="connsiteY19" fmla="*/ 257494 h 662859"/>
                <a:gd name="connsiteX20" fmla="*/ 0 w 1320598"/>
                <a:gd name="connsiteY20" fmla="*/ 307032 h 662859"/>
                <a:gd name="connsiteX21" fmla="*/ 32818 w 1320598"/>
                <a:gd name="connsiteY21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596583 w 1320598"/>
                <a:gd name="connsiteY16" fmla="*/ 48346 h 662859"/>
                <a:gd name="connsiteX17" fmla="*/ 589667 w 1320598"/>
                <a:gd name="connsiteY17" fmla="*/ 104523 h 662859"/>
                <a:gd name="connsiteX18" fmla="*/ 312524 w 1320598"/>
                <a:gd name="connsiteY18" fmla="*/ 165591 h 662859"/>
                <a:gd name="connsiteX19" fmla="*/ 191124 w 1320598"/>
                <a:gd name="connsiteY19" fmla="*/ 257494 h 662859"/>
                <a:gd name="connsiteX20" fmla="*/ 0 w 1320598"/>
                <a:gd name="connsiteY20" fmla="*/ 307032 h 662859"/>
                <a:gd name="connsiteX21" fmla="*/ 32818 w 1320598"/>
                <a:gd name="connsiteY21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58835 w 1320598"/>
                <a:gd name="connsiteY16" fmla="*/ 38575 h 662859"/>
                <a:gd name="connsiteX17" fmla="*/ 596583 w 1320598"/>
                <a:gd name="connsiteY17" fmla="*/ 48346 h 662859"/>
                <a:gd name="connsiteX18" fmla="*/ 589667 w 1320598"/>
                <a:gd name="connsiteY18" fmla="*/ 104523 h 662859"/>
                <a:gd name="connsiteX19" fmla="*/ 312524 w 1320598"/>
                <a:gd name="connsiteY19" fmla="*/ 165591 h 662859"/>
                <a:gd name="connsiteX20" fmla="*/ 191124 w 1320598"/>
                <a:gd name="connsiteY20" fmla="*/ 257494 h 662859"/>
                <a:gd name="connsiteX21" fmla="*/ 0 w 1320598"/>
                <a:gd name="connsiteY21" fmla="*/ 307032 h 662859"/>
                <a:gd name="connsiteX22" fmla="*/ 32818 w 1320598"/>
                <a:gd name="connsiteY22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42695 w 1320598"/>
                <a:gd name="connsiteY16" fmla="*/ 94753 h 662859"/>
                <a:gd name="connsiteX17" fmla="*/ 596583 w 1320598"/>
                <a:gd name="connsiteY17" fmla="*/ 48346 h 662859"/>
                <a:gd name="connsiteX18" fmla="*/ 589667 w 1320598"/>
                <a:gd name="connsiteY18" fmla="*/ 104523 h 662859"/>
                <a:gd name="connsiteX19" fmla="*/ 312524 w 1320598"/>
                <a:gd name="connsiteY19" fmla="*/ 165591 h 662859"/>
                <a:gd name="connsiteX20" fmla="*/ 191124 w 1320598"/>
                <a:gd name="connsiteY20" fmla="*/ 257494 h 662859"/>
                <a:gd name="connsiteX21" fmla="*/ 0 w 1320598"/>
                <a:gd name="connsiteY21" fmla="*/ 307032 h 662859"/>
                <a:gd name="connsiteX22" fmla="*/ 32818 w 1320598"/>
                <a:gd name="connsiteY22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95724 w 1320598"/>
                <a:gd name="connsiteY16" fmla="*/ 45903 h 662859"/>
                <a:gd name="connsiteX17" fmla="*/ 642695 w 1320598"/>
                <a:gd name="connsiteY17" fmla="*/ 94753 h 662859"/>
                <a:gd name="connsiteX18" fmla="*/ 596583 w 1320598"/>
                <a:gd name="connsiteY18" fmla="*/ 48346 h 662859"/>
                <a:gd name="connsiteX19" fmla="*/ 589667 w 1320598"/>
                <a:gd name="connsiteY19" fmla="*/ 104523 h 662859"/>
                <a:gd name="connsiteX20" fmla="*/ 312524 w 1320598"/>
                <a:gd name="connsiteY20" fmla="*/ 165591 h 662859"/>
                <a:gd name="connsiteX21" fmla="*/ 191124 w 1320598"/>
                <a:gd name="connsiteY21" fmla="*/ 257494 h 662859"/>
                <a:gd name="connsiteX22" fmla="*/ 0 w 1320598"/>
                <a:gd name="connsiteY22" fmla="*/ 307032 h 662859"/>
                <a:gd name="connsiteX23" fmla="*/ 32818 w 1320598"/>
                <a:gd name="connsiteY23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8807 w 1320598"/>
                <a:gd name="connsiteY16" fmla="*/ 84984 h 662859"/>
                <a:gd name="connsiteX17" fmla="*/ 642695 w 1320598"/>
                <a:gd name="connsiteY17" fmla="*/ 94753 h 662859"/>
                <a:gd name="connsiteX18" fmla="*/ 596583 w 1320598"/>
                <a:gd name="connsiteY18" fmla="*/ 48346 h 662859"/>
                <a:gd name="connsiteX19" fmla="*/ 589667 w 1320598"/>
                <a:gd name="connsiteY19" fmla="*/ 104523 h 662859"/>
                <a:gd name="connsiteX20" fmla="*/ 312524 w 1320598"/>
                <a:gd name="connsiteY20" fmla="*/ 165591 h 662859"/>
                <a:gd name="connsiteX21" fmla="*/ 191124 w 1320598"/>
                <a:gd name="connsiteY21" fmla="*/ 257494 h 662859"/>
                <a:gd name="connsiteX22" fmla="*/ 0 w 1320598"/>
                <a:gd name="connsiteY22" fmla="*/ 307032 h 662859"/>
                <a:gd name="connsiteX23" fmla="*/ 32818 w 1320598"/>
                <a:gd name="connsiteY23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704947 w 1320598"/>
                <a:gd name="connsiteY16" fmla="*/ 48346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596583 w 1320598"/>
                <a:gd name="connsiteY19" fmla="*/ 48346 h 662859"/>
                <a:gd name="connsiteX20" fmla="*/ 589667 w 1320598"/>
                <a:gd name="connsiteY20" fmla="*/ 104523 h 662859"/>
                <a:gd name="connsiteX21" fmla="*/ 312524 w 1320598"/>
                <a:gd name="connsiteY21" fmla="*/ 165591 h 662859"/>
                <a:gd name="connsiteX22" fmla="*/ 191124 w 1320598"/>
                <a:gd name="connsiteY22" fmla="*/ 257494 h 662859"/>
                <a:gd name="connsiteX23" fmla="*/ 0 w 1320598"/>
                <a:gd name="connsiteY23" fmla="*/ 307032 h 662859"/>
                <a:gd name="connsiteX24" fmla="*/ 32818 w 1320598"/>
                <a:gd name="connsiteY24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596583 w 1320598"/>
                <a:gd name="connsiteY19" fmla="*/ 48346 h 662859"/>
                <a:gd name="connsiteX20" fmla="*/ 589667 w 1320598"/>
                <a:gd name="connsiteY20" fmla="*/ 104523 h 662859"/>
                <a:gd name="connsiteX21" fmla="*/ 312524 w 1320598"/>
                <a:gd name="connsiteY21" fmla="*/ 165591 h 662859"/>
                <a:gd name="connsiteX22" fmla="*/ 191124 w 1320598"/>
                <a:gd name="connsiteY22" fmla="*/ 257494 h 662859"/>
                <a:gd name="connsiteX23" fmla="*/ 0 w 1320598"/>
                <a:gd name="connsiteY23" fmla="*/ 307032 h 662859"/>
                <a:gd name="connsiteX24" fmla="*/ 32818 w 1320598"/>
                <a:gd name="connsiteY24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21945 w 1320598"/>
                <a:gd name="connsiteY19" fmla="*/ 67886 h 662859"/>
                <a:gd name="connsiteX20" fmla="*/ 596583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96583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85055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85055 w 1320598"/>
                <a:gd name="connsiteY20" fmla="*/ 48346 h 662859"/>
                <a:gd name="connsiteX21" fmla="*/ 598889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51059 w 1320598"/>
                <a:gd name="connsiteY15" fmla="*/ 36132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31247 h 662859"/>
                <a:gd name="connsiteX14" fmla="*/ 778727 w 1320598"/>
                <a:gd name="connsiteY14" fmla="*/ 6300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31247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19035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19035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4892 w 1320598"/>
                <a:gd name="connsiteY13" fmla="*/ 41018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4892 w 1320598"/>
                <a:gd name="connsiteY13" fmla="*/ 41018 h 662859"/>
                <a:gd name="connsiteX14" fmla="*/ 831756 w 1320598"/>
                <a:gd name="connsiteY14" fmla="*/ 231537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831756 w 1320598"/>
                <a:gd name="connsiteY14" fmla="*/ 231537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769505 w 1320598"/>
                <a:gd name="connsiteY14" fmla="*/ 7277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774116 w 1320598"/>
                <a:gd name="connsiteY14" fmla="*/ 65443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1107166 w 1320598"/>
                <a:gd name="connsiteY12" fmla="*/ 236220 h 662859"/>
                <a:gd name="connsiteX13" fmla="*/ 897875 w 1320598"/>
                <a:gd name="connsiteY13" fmla="*/ 0 h 662859"/>
                <a:gd name="connsiteX14" fmla="*/ 767198 w 1320598"/>
                <a:gd name="connsiteY14" fmla="*/ 31247 h 662859"/>
                <a:gd name="connsiteX15" fmla="*/ 774116 w 1320598"/>
                <a:gd name="connsiteY15" fmla="*/ 65443 h 662859"/>
                <a:gd name="connsiteX16" fmla="*/ 737225 w 1320598"/>
                <a:gd name="connsiteY16" fmla="*/ 70329 h 662859"/>
                <a:gd name="connsiteX17" fmla="*/ 728003 w 1320598"/>
                <a:gd name="connsiteY17" fmla="*/ 21477 h 662859"/>
                <a:gd name="connsiteX18" fmla="*/ 681891 w 1320598"/>
                <a:gd name="connsiteY18" fmla="*/ 28804 h 662859"/>
                <a:gd name="connsiteX19" fmla="*/ 688807 w 1320598"/>
                <a:gd name="connsiteY19" fmla="*/ 84984 h 662859"/>
                <a:gd name="connsiteX20" fmla="*/ 642695 w 1320598"/>
                <a:gd name="connsiteY20" fmla="*/ 94753 h 662859"/>
                <a:gd name="connsiteX21" fmla="*/ 635779 w 1320598"/>
                <a:gd name="connsiteY21" fmla="*/ 45903 h 662859"/>
                <a:gd name="connsiteX22" fmla="*/ 585055 w 1320598"/>
                <a:gd name="connsiteY22" fmla="*/ 48346 h 662859"/>
                <a:gd name="connsiteX23" fmla="*/ 598889 w 1320598"/>
                <a:gd name="connsiteY23" fmla="*/ 104523 h 662859"/>
                <a:gd name="connsiteX24" fmla="*/ 312524 w 1320598"/>
                <a:gd name="connsiteY24" fmla="*/ 165591 h 662859"/>
                <a:gd name="connsiteX25" fmla="*/ 191124 w 1320598"/>
                <a:gd name="connsiteY25" fmla="*/ 257494 h 662859"/>
                <a:gd name="connsiteX26" fmla="*/ 0 w 1320598"/>
                <a:gd name="connsiteY26" fmla="*/ 307032 h 662859"/>
                <a:gd name="connsiteX27" fmla="*/ 32818 w 1320598"/>
                <a:gd name="connsiteY27" fmla="*/ 474657 h 662859"/>
                <a:gd name="connsiteX0" fmla="*/ 32818 w 1545017"/>
                <a:gd name="connsiteY0" fmla="*/ 607306 h 795508"/>
                <a:gd name="connsiteX1" fmla="*/ 315950 w 1545017"/>
                <a:gd name="connsiteY1" fmla="*/ 541107 h 795508"/>
                <a:gd name="connsiteX2" fmla="*/ 329998 w 1545017"/>
                <a:gd name="connsiteY2" fmla="*/ 569206 h 795508"/>
                <a:gd name="connsiteX3" fmla="*/ 704968 w 1545017"/>
                <a:gd name="connsiteY3" fmla="*/ 483485 h 795508"/>
                <a:gd name="connsiteX4" fmla="*/ 843563 w 1545017"/>
                <a:gd name="connsiteY4" fmla="*/ 506834 h 795508"/>
                <a:gd name="connsiteX5" fmla="*/ 863668 w 1545017"/>
                <a:gd name="connsiteY5" fmla="*/ 628231 h 795508"/>
                <a:gd name="connsiteX6" fmla="*/ 839094 w 1545017"/>
                <a:gd name="connsiteY6" fmla="*/ 635372 h 795508"/>
                <a:gd name="connsiteX7" fmla="*/ 832795 w 1545017"/>
                <a:gd name="connsiteY7" fmla="*/ 566346 h 795508"/>
                <a:gd name="connsiteX8" fmla="*/ 304781 w 1545017"/>
                <a:gd name="connsiteY8" fmla="*/ 687324 h 795508"/>
                <a:gd name="connsiteX9" fmla="*/ 316074 w 1545017"/>
                <a:gd name="connsiteY9" fmla="*/ 737325 h 795508"/>
                <a:gd name="connsiteX10" fmla="*/ 423123 w 1545017"/>
                <a:gd name="connsiteY10" fmla="*/ 794946 h 795508"/>
                <a:gd name="connsiteX11" fmla="*/ 1320598 w 1545017"/>
                <a:gd name="connsiteY11" fmla="*/ 592066 h 795508"/>
                <a:gd name="connsiteX12" fmla="*/ 1545017 w 1545017"/>
                <a:gd name="connsiteY12" fmla="*/ 0 h 795508"/>
                <a:gd name="connsiteX13" fmla="*/ 897875 w 1545017"/>
                <a:gd name="connsiteY13" fmla="*/ 132649 h 795508"/>
                <a:gd name="connsiteX14" fmla="*/ 767198 w 1545017"/>
                <a:gd name="connsiteY14" fmla="*/ 163896 h 795508"/>
                <a:gd name="connsiteX15" fmla="*/ 774116 w 1545017"/>
                <a:gd name="connsiteY15" fmla="*/ 198092 h 795508"/>
                <a:gd name="connsiteX16" fmla="*/ 737225 w 1545017"/>
                <a:gd name="connsiteY16" fmla="*/ 202978 h 795508"/>
                <a:gd name="connsiteX17" fmla="*/ 728003 w 1545017"/>
                <a:gd name="connsiteY17" fmla="*/ 154126 h 795508"/>
                <a:gd name="connsiteX18" fmla="*/ 681891 w 1545017"/>
                <a:gd name="connsiteY18" fmla="*/ 161453 h 795508"/>
                <a:gd name="connsiteX19" fmla="*/ 688807 w 1545017"/>
                <a:gd name="connsiteY19" fmla="*/ 217633 h 795508"/>
                <a:gd name="connsiteX20" fmla="*/ 642695 w 1545017"/>
                <a:gd name="connsiteY20" fmla="*/ 227402 h 795508"/>
                <a:gd name="connsiteX21" fmla="*/ 635779 w 1545017"/>
                <a:gd name="connsiteY21" fmla="*/ 178552 h 795508"/>
                <a:gd name="connsiteX22" fmla="*/ 585055 w 1545017"/>
                <a:gd name="connsiteY22" fmla="*/ 180995 h 795508"/>
                <a:gd name="connsiteX23" fmla="*/ 598889 w 1545017"/>
                <a:gd name="connsiteY23" fmla="*/ 237172 h 795508"/>
                <a:gd name="connsiteX24" fmla="*/ 312524 w 1545017"/>
                <a:gd name="connsiteY24" fmla="*/ 298240 h 795508"/>
                <a:gd name="connsiteX25" fmla="*/ 191124 w 1545017"/>
                <a:gd name="connsiteY25" fmla="*/ 390143 h 795508"/>
                <a:gd name="connsiteX26" fmla="*/ 0 w 1545017"/>
                <a:gd name="connsiteY26" fmla="*/ 439681 h 795508"/>
                <a:gd name="connsiteX27" fmla="*/ 32818 w 1545017"/>
                <a:gd name="connsiteY27" fmla="*/ 607306 h 795508"/>
                <a:gd name="connsiteX0" fmla="*/ 32818 w 1545017"/>
                <a:gd name="connsiteY0" fmla="*/ 607306 h 795508"/>
                <a:gd name="connsiteX1" fmla="*/ 315950 w 1545017"/>
                <a:gd name="connsiteY1" fmla="*/ 541107 h 795508"/>
                <a:gd name="connsiteX2" fmla="*/ 329998 w 1545017"/>
                <a:gd name="connsiteY2" fmla="*/ 569206 h 795508"/>
                <a:gd name="connsiteX3" fmla="*/ 704968 w 1545017"/>
                <a:gd name="connsiteY3" fmla="*/ 483485 h 795508"/>
                <a:gd name="connsiteX4" fmla="*/ 843563 w 1545017"/>
                <a:gd name="connsiteY4" fmla="*/ 506834 h 795508"/>
                <a:gd name="connsiteX5" fmla="*/ 863668 w 1545017"/>
                <a:gd name="connsiteY5" fmla="*/ 628231 h 795508"/>
                <a:gd name="connsiteX6" fmla="*/ 839094 w 1545017"/>
                <a:gd name="connsiteY6" fmla="*/ 635372 h 795508"/>
                <a:gd name="connsiteX7" fmla="*/ 832795 w 1545017"/>
                <a:gd name="connsiteY7" fmla="*/ 566346 h 795508"/>
                <a:gd name="connsiteX8" fmla="*/ 304781 w 1545017"/>
                <a:gd name="connsiteY8" fmla="*/ 687324 h 795508"/>
                <a:gd name="connsiteX9" fmla="*/ 316074 w 1545017"/>
                <a:gd name="connsiteY9" fmla="*/ 737325 h 795508"/>
                <a:gd name="connsiteX10" fmla="*/ 423123 w 1545017"/>
                <a:gd name="connsiteY10" fmla="*/ 794946 h 795508"/>
                <a:gd name="connsiteX11" fmla="*/ 1320598 w 1545017"/>
                <a:gd name="connsiteY11" fmla="*/ 592066 h 795508"/>
                <a:gd name="connsiteX12" fmla="*/ 1417682 w 1545017"/>
                <a:gd name="connsiteY12" fmla="*/ 347452 h 795508"/>
                <a:gd name="connsiteX13" fmla="*/ 1545017 w 1545017"/>
                <a:gd name="connsiteY13" fmla="*/ 0 h 795508"/>
                <a:gd name="connsiteX14" fmla="*/ 897875 w 1545017"/>
                <a:gd name="connsiteY14" fmla="*/ 132649 h 795508"/>
                <a:gd name="connsiteX15" fmla="*/ 767198 w 1545017"/>
                <a:gd name="connsiteY15" fmla="*/ 163896 h 795508"/>
                <a:gd name="connsiteX16" fmla="*/ 774116 w 1545017"/>
                <a:gd name="connsiteY16" fmla="*/ 198092 h 795508"/>
                <a:gd name="connsiteX17" fmla="*/ 737225 w 1545017"/>
                <a:gd name="connsiteY17" fmla="*/ 202978 h 795508"/>
                <a:gd name="connsiteX18" fmla="*/ 728003 w 1545017"/>
                <a:gd name="connsiteY18" fmla="*/ 154126 h 795508"/>
                <a:gd name="connsiteX19" fmla="*/ 681891 w 1545017"/>
                <a:gd name="connsiteY19" fmla="*/ 161453 h 795508"/>
                <a:gd name="connsiteX20" fmla="*/ 688807 w 1545017"/>
                <a:gd name="connsiteY20" fmla="*/ 217633 h 795508"/>
                <a:gd name="connsiteX21" fmla="*/ 642695 w 1545017"/>
                <a:gd name="connsiteY21" fmla="*/ 227402 h 795508"/>
                <a:gd name="connsiteX22" fmla="*/ 635779 w 1545017"/>
                <a:gd name="connsiteY22" fmla="*/ 178552 h 795508"/>
                <a:gd name="connsiteX23" fmla="*/ 585055 w 1545017"/>
                <a:gd name="connsiteY23" fmla="*/ 180995 h 795508"/>
                <a:gd name="connsiteX24" fmla="*/ 598889 w 1545017"/>
                <a:gd name="connsiteY24" fmla="*/ 237172 h 795508"/>
                <a:gd name="connsiteX25" fmla="*/ 312524 w 1545017"/>
                <a:gd name="connsiteY25" fmla="*/ 298240 h 795508"/>
                <a:gd name="connsiteX26" fmla="*/ 191124 w 1545017"/>
                <a:gd name="connsiteY26" fmla="*/ 390143 h 795508"/>
                <a:gd name="connsiteX27" fmla="*/ 0 w 1545017"/>
                <a:gd name="connsiteY27" fmla="*/ 439681 h 795508"/>
                <a:gd name="connsiteX28" fmla="*/ 32818 w 1545017"/>
                <a:gd name="connsiteY28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2174985 w 2174985"/>
                <a:gd name="connsiteY12" fmla="*/ 468821 h 795508"/>
                <a:gd name="connsiteX13" fmla="*/ 1545017 w 2174985"/>
                <a:gd name="connsiteY13" fmla="*/ 0 h 795508"/>
                <a:gd name="connsiteX14" fmla="*/ 897875 w 2174985"/>
                <a:gd name="connsiteY14" fmla="*/ 132649 h 795508"/>
                <a:gd name="connsiteX15" fmla="*/ 767198 w 2174985"/>
                <a:gd name="connsiteY15" fmla="*/ 163896 h 795508"/>
                <a:gd name="connsiteX16" fmla="*/ 774116 w 2174985"/>
                <a:gd name="connsiteY16" fmla="*/ 198092 h 795508"/>
                <a:gd name="connsiteX17" fmla="*/ 737225 w 2174985"/>
                <a:gd name="connsiteY17" fmla="*/ 202978 h 795508"/>
                <a:gd name="connsiteX18" fmla="*/ 728003 w 2174985"/>
                <a:gd name="connsiteY18" fmla="*/ 154126 h 795508"/>
                <a:gd name="connsiteX19" fmla="*/ 681891 w 2174985"/>
                <a:gd name="connsiteY19" fmla="*/ 161453 h 795508"/>
                <a:gd name="connsiteX20" fmla="*/ 688807 w 2174985"/>
                <a:gd name="connsiteY20" fmla="*/ 217633 h 795508"/>
                <a:gd name="connsiteX21" fmla="*/ 642695 w 2174985"/>
                <a:gd name="connsiteY21" fmla="*/ 227402 h 795508"/>
                <a:gd name="connsiteX22" fmla="*/ 635779 w 2174985"/>
                <a:gd name="connsiteY22" fmla="*/ 178552 h 795508"/>
                <a:gd name="connsiteX23" fmla="*/ 585055 w 2174985"/>
                <a:gd name="connsiteY23" fmla="*/ 180995 h 795508"/>
                <a:gd name="connsiteX24" fmla="*/ 598889 w 2174985"/>
                <a:gd name="connsiteY24" fmla="*/ 237172 h 795508"/>
                <a:gd name="connsiteX25" fmla="*/ 312524 w 2174985"/>
                <a:gd name="connsiteY25" fmla="*/ 298240 h 795508"/>
                <a:gd name="connsiteX26" fmla="*/ 191124 w 2174985"/>
                <a:gd name="connsiteY26" fmla="*/ 390143 h 795508"/>
                <a:gd name="connsiteX27" fmla="*/ 0 w 2174985"/>
                <a:gd name="connsiteY27" fmla="*/ 439681 h 795508"/>
                <a:gd name="connsiteX28" fmla="*/ 32818 w 2174985"/>
                <a:gd name="connsiteY28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2027545 w 2174985"/>
                <a:gd name="connsiteY12" fmla="*/ 495000 h 795508"/>
                <a:gd name="connsiteX13" fmla="*/ 2174985 w 2174985"/>
                <a:gd name="connsiteY13" fmla="*/ 468821 h 795508"/>
                <a:gd name="connsiteX14" fmla="*/ 1545017 w 2174985"/>
                <a:gd name="connsiteY14" fmla="*/ 0 h 795508"/>
                <a:gd name="connsiteX15" fmla="*/ 897875 w 2174985"/>
                <a:gd name="connsiteY15" fmla="*/ 132649 h 795508"/>
                <a:gd name="connsiteX16" fmla="*/ 767198 w 2174985"/>
                <a:gd name="connsiteY16" fmla="*/ 163896 h 795508"/>
                <a:gd name="connsiteX17" fmla="*/ 774116 w 2174985"/>
                <a:gd name="connsiteY17" fmla="*/ 198092 h 795508"/>
                <a:gd name="connsiteX18" fmla="*/ 737225 w 2174985"/>
                <a:gd name="connsiteY18" fmla="*/ 202978 h 795508"/>
                <a:gd name="connsiteX19" fmla="*/ 728003 w 2174985"/>
                <a:gd name="connsiteY19" fmla="*/ 154126 h 795508"/>
                <a:gd name="connsiteX20" fmla="*/ 681891 w 2174985"/>
                <a:gd name="connsiteY20" fmla="*/ 161453 h 795508"/>
                <a:gd name="connsiteX21" fmla="*/ 688807 w 2174985"/>
                <a:gd name="connsiteY21" fmla="*/ 217633 h 795508"/>
                <a:gd name="connsiteX22" fmla="*/ 642695 w 2174985"/>
                <a:gd name="connsiteY22" fmla="*/ 227402 h 795508"/>
                <a:gd name="connsiteX23" fmla="*/ 635779 w 2174985"/>
                <a:gd name="connsiteY23" fmla="*/ 178552 h 795508"/>
                <a:gd name="connsiteX24" fmla="*/ 585055 w 2174985"/>
                <a:gd name="connsiteY24" fmla="*/ 180995 h 795508"/>
                <a:gd name="connsiteX25" fmla="*/ 598889 w 2174985"/>
                <a:gd name="connsiteY25" fmla="*/ 237172 h 795508"/>
                <a:gd name="connsiteX26" fmla="*/ 312524 w 2174985"/>
                <a:gd name="connsiteY26" fmla="*/ 298240 h 795508"/>
                <a:gd name="connsiteX27" fmla="*/ 191124 w 2174985"/>
                <a:gd name="connsiteY27" fmla="*/ 390143 h 795508"/>
                <a:gd name="connsiteX28" fmla="*/ 0 w 2174985"/>
                <a:gd name="connsiteY28" fmla="*/ 439681 h 795508"/>
                <a:gd name="connsiteX29" fmla="*/ 32818 w 2174985"/>
                <a:gd name="connsiteY29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1971697 w 2174985"/>
                <a:gd name="connsiteY12" fmla="*/ 459304 h 795508"/>
                <a:gd name="connsiteX13" fmla="*/ 2174985 w 2174985"/>
                <a:gd name="connsiteY13" fmla="*/ 468821 h 795508"/>
                <a:gd name="connsiteX14" fmla="*/ 1545017 w 2174985"/>
                <a:gd name="connsiteY14" fmla="*/ 0 h 795508"/>
                <a:gd name="connsiteX15" fmla="*/ 897875 w 2174985"/>
                <a:gd name="connsiteY15" fmla="*/ 132649 h 795508"/>
                <a:gd name="connsiteX16" fmla="*/ 767198 w 2174985"/>
                <a:gd name="connsiteY16" fmla="*/ 163896 h 795508"/>
                <a:gd name="connsiteX17" fmla="*/ 774116 w 2174985"/>
                <a:gd name="connsiteY17" fmla="*/ 198092 h 795508"/>
                <a:gd name="connsiteX18" fmla="*/ 737225 w 2174985"/>
                <a:gd name="connsiteY18" fmla="*/ 202978 h 795508"/>
                <a:gd name="connsiteX19" fmla="*/ 728003 w 2174985"/>
                <a:gd name="connsiteY19" fmla="*/ 154126 h 795508"/>
                <a:gd name="connsiteX20" fmla="*/ 681891 w 2174985"/>
                <a:gd name="connsiteY20" fmla="*/ 161453 h 795508"/>
                <a:gd name="connsiteX21" fmla="*/ 688807 w 2174985"/>
                <a:gd name="connsiteY21" fmla="*/ 217633 h 795508"/>
                <a:gd name="connsiteX22" fmla="*/ 642695 w 2174985"/>
                <a:gd name="connsiteY22" fmla="*/ 227402 h 795508"/>
                <a:gd name="connsiteX23" fmla="*/ 635779 w 2174985"/>
                <a:gd name="connsiteY23" fmla="*/ 178552 h 795508"/>
                <a:gd name="connsiteX24" fmla="*/ 585055 w 2174985"/>
                <a:gd name="connsiteY24" fmla="*/ 180995 h 795508"/>
                <a:gd name="connsiteX25" fmla="*/ 598889 w 2174985"/>
                <a:gd name="connsiteY25" fmla="*/ 237172 h 795508"/>
                <a:gd name="connsiteX26" fmla="*/ 312524 w 2174985"/>
                <a:gd name="connsiteY26" fmla="*/ 298240 h 795508"/>
                <a:gd name="connsiteX27" fmla="*/ 191124 w 2174985"/>
                <a:gd name="connsiteY27" fmla="*/ 390143 h 795508"/>
                <a:gd name="connsiteX28" fmla="*/ 0 w 2174985"/>
                <a:gd name="connsiteY28" fmla="*/ 439681 h 795508"/>
                <a:gd name="connsiteX29" fmla="*/ 32818 w 2174985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1697 w 2130306"/>
                <a:gd name="connsiteY12" fmla="*/ 459304 h 795508"/>
                <a:gd name="connsiteX13" fmla="*/ 2130306 w 2130306"/>
                <a:gd name="connsiteY13" fmla="*/ 371249 h 795508"/>
                <a:gd name="connsiteX14" fmla="*/ 1545017 w 2130306"/>
                <a:gd name="connsiteY14" fmla="*/ 0 h 795508"/>
                <a:gd name="connsiteX15" fmla="*/ 897875 w 2130306"/>
                <a:gd name="connsiteY15" fmla="*/ 132649 h 795508"/>
                <a:gd name="connsiteX16" fmla="*/ 767198 w 2130306"/>
                <a:gd name="connsiteY16" fmla="*/ 163896 h 795508"/>
                <a:gd name="connsiteX17" fmla="*/ 774116 w 2130306"/>
                <a:gd name="connsiteY17" fmla="*/ 198092 h 795508"/>
                <a:gd name="connsiteX18" fmla="*/ 737225 w 2130306"/>
                <a:gd name="connsiteY18" fmla="*/ 202978 h 795508"/>
                <a:gd name="connsiteX19" fmla="*/ 728003 w 2130306"/>
                <a:gd name="connsiteY19" fmla="*/ 154126 h 795508"/>
                <a:gd name="connsiteX20" fmla="*/ 681891 w 2130306"/>
                <a:gd name="connsiteY20" fmla="*/ 161453 h 795508"/>
                <a:gd name="connsiteX21" fmla="*/ 688807 w 2130306"/>
                <a:gd name="connsiteY21" fmla="*/ 217633 h 795508"/>
                <a:gd name="connsiteX22" fmla="*/ 642695 w 2130306"/>
                <a:gd name="connsiteY22" fmla="*/ 227402 h 795508"/>
                <a:gd name="connsiteX23" fmla="*/ 635779 w 2130306"/>
                <a:gd name="connsiteY23" fmla="*/ 178552 h 795508"/>
                <a:gd name="connsiteX24" fmla="*/ 585055 w 2130306"/>
                <a:gd name="connsiteY24" fmla="*/ 180995 h 795508"/>
                <a:gd name="connsiteX25" fmla="*/ 598889 w 2130306"/>
                <a:gd name="connsiteY25" fmla="*/ 237172 h 795508"/>
                <a:gd name="connsiteX26" fmla="*/ 312524 w 2130306"/>
                <a:gd name="connsiteY26" fmla="*/ 298240 h 795508"/>
                <a:gd name="connsiteX27" fmla="*/ 191124 w 2130306"/>
                <a:gd name="connsiteY27" fmla="*/ 390143 h 795508"/>
                <a:gd name="connsiteX28" fmla="*/ 0 w 2130306"/>
                <a:gd name="connsiteY28" fmla="*/ 439681 h 795508"/>
                <a:gd name="connsiteX29" fmla="*/ 32818 w 2130306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545017 w 2130306"/>
                <a:gd name="connsiteY14" fmla="*/ 0 h 795508"/>
                <a:gd name="connsiteX15" fmla="*/ 897875 w 2130306"/>
                <a:gd name="connsiteY15" fmla="*/ 132649 h 795508"/>
                <a:gd name="connsiteX16" fmla="*/ 767198 w 2130306"/>
                <a:gd name="connsiteY16" fmla="*/ 163896 h 795508"/>
                <a:gd name="connsiteX17" fmla="*/ 774116 w 2130306"/>
                <a:gd name="connsiteY17" fmla="*/ 198092 h 795508"/>
                <a:gd name="connsiteX18" fmla="*/ 737225 w 2130306"/>
                <a:gd name="connsiteY18" fmla="*/ 202978 h 795508"/>
                <a:gd name="connsiteX19" fmla="*/ 728003 w 2130306"/>
                <a:gd name="connsiteY19" fmla="*/ 154126 h 795508"/>
                <a:gd name="connsiteX20" fmla="*/ 681891 w 2130306"/>
                <a:gd name="connsiteY20" fmla="*/ 161453 h 795508"/>
                <a:gd name="connsiteX21" fmla="*/ 688807 w 2130306"/>
                <a:gd name="connsiteY21" fmla="*/ 217633 h 795508"/>
                <a:gd name="connsiteX22" fmla="*/ 642695 w 2130306"/>
                <a:gd name="connsiteY22" fmla="*/ 227402 h 795508"/>
                <a:gd name="connsiteX23" fmla="*/ 635779 w 2130306"/>
                <a:gd name="connsiteY23" fmla="*/ 178552 h 795508"/>
                <a:gd name="connsiteX24" fmla="*/ 585055 w 2130306"/>
                <a:gd name="connsiteY24" fmla="*/ 180995 h 795508"/>
                <a:gd name="connsiteX25" fmla="*/ 598889 w 2130306"/>
                <a:gd name="connsiteY25" fmla="*/ 237172 h 795508"/>
                <a:gd name="connsiteX26" fmla="*/ 312524 w 2130306"/>
                <a:gd name="connsiteY26" fmla="*/ 298240 h 795508"/>
                <a:gd name="connsiteX27" fmla="*/ 191124 w 2130306"/>
                <a:gd name="connsiteY27" fmla="*/ 390143 h 795508"/>
                <a:gd name="connsiteX28" fmla="*/ 0 w 2130306"/>
                <a:gd name="connsiteY28" fmla="*/ 439681 h 795508"/>
                <a:gd name="connsiteX29" fmla="*/ 32818 w 2130306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792982 w 2130306"/>
                <a:gd name="connsiteY14" fmla="*/ 159447 h 795508"/>
                <a:gd name="connsiteX15" fmla="*/ 1545017 w 2130306"/>
                <a:gd name="connsiteY15" fmla="*/ 0 h 795508"/>
                <a:gd name="connsiteX16" fmla="*/ 897875 w 2130306"/>
                <a:gd name="connsiteY16" fmla="*/ 132649 h 795508"/>
                <a:gd name="connsiteX17" fmla="*/ 767198 w 2130306"/>
                <a:gd name="connsiteY17" fmla="*/ 163896 h 795508"/>
                <a:gd name="connsiteX18" fmla="*/ 774116 w 2130306"/>
                <a:gd name="connsiteY18" fmla="*/ 198092 h 795508"/>
                <a:gd name="connsiteX19" fmla="*/ 737225 w 2130306"/>
                <a:gd name="connsiteY19" fmla="*/ 202978 h 795508"/>
                <a:gd name="connsiteX20" fmla="*/ 728003 w 2130306"/>
                <a:gd name="connsiteY20" fmla="*/ 154126 h 795508"/>
                <a:gd name="connsiteX21" fmla="*/ 681891 w 2130306"/>
                <a:gd name="connsiteY21" fmla="*/ 161453 h 795508"/>
                <a:gd name="connsiteX22" fmla="*/ 688807 w 2130306"/>
                <a:gd name="connsiteY22" fmla="*/ 217633 h 795508"/>
                <a:gd name="connsiteX23" fmla="*/ 642695 w 2130306"/>
                <a:gd name="connsiteY23" fmla="*/ 227402 h 795508"/>
                <a:gd name="connsiteX24" fmla="*/ 635779 w 2130306"/>
                <a:gd name="connsiteY24" fmla="*/ 178552 h 795508"/>
                <a:gd name="connsiteX25" fmla="*/ 585055 w 2130306"/>
                <a:gd name="connsiteY25" fmla="*/ 180995 h 795508"/>
                <a:gd name="connsiteX26" fmla="*/ 598889 w 2130306"/>
                <a:gd name="connsiteY26" fmla="*/ 237172 h 795508"/>
                <a:gd name="connsiteX27" fmla="*/ 312524 w 2130306"/>
                <a:gd name="connsiteY27" fmla="*/ 298240 h 795508"/>
                <a:gd name="connsiteX28" fmla="*/ 191124 w 2130306"/>
                <a:gd name="connsiteY28" fmla="*/ 390143 h 795508"/>
                <a:gd name="connsiteX29" fmla="*/ 0 w 2130306"/>
                <a:gd name="connsiteY29" fmla="*/ 439681 h 795508"/>
                <a:gd name="connsiteX30" fmla="*/ 32818 w 2130306"/>
                <a:gd name="connsiteY30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545017 w 2130306"/>
                <a:gd name="connsiteY15" fmla="*/ 0 h 795508"/>
                <a:gd name="connsiteX16" fmla="*/ 897875 w 2130306"/>
                <a:gd name="connsiteY16" fmla="*/ 132649 h 795508"/>
                <a:gd name="connsiteX17" fmla="*/ 767198 w 2130306"/>
                <a:gd name="connsiteY17" fmla="*/ 163896 h 795508"/>
                <a:gd name="connsiteX18" fmla="*/ 774116 w 2130306"/>
                <a:gd name="connsiteY18" fmla="*/ 198092 h 795508"/>
                <a:gd name="connsiteX19" fmla="*/ 737225 w 2130306"/>
                <a:gd name="connsiteY19" fmla="*/ 202978 h 795508"/>
                <a:gd name="connsiteX20" fmla="*/ 728003 w 2130306"/>
                <a:gd name="connsiteY20" fmla="*/ 154126 h 795508"/>
                <a:gd name="connsiteX21" fmla="*/ 681891 w 2130306"/>
                <a:gd name="connsiteY21" fmla="*/ 161453 h 795508"/>
                <a:gd name="connsiteX22" fmla="*/ 688807 w 2130306"/>
                <a:gd name="connsiteY22" fmla="*/ 217633 h 795508"/>
                <a:gd name="connsiteX23" fmla="*/ 642695 w 2130306"/>
                <a:gd name="connsiteY23" fmla="*/ 227402 h 795508"/>
                <a:gd name="connsiteX24" fmla="*/ 635779 w 2130306"/>
                <a:gd name="connsiteY24" fmla="*/ 178552 h 795508"/>
                <a:gd name="connsiteX25" fmla="*/ 585055 w 2130306"/>
                <a:gd name="connsiteY25" fmla="*/ 180995 h 795508"/>
                <a:gd name="connsiteX26" fmla="*/ 598889 w 2130306"/>
                <a:gd name="connsiteY26" fmla="*/ 237172 h 795508"/>
                <a:gd name="connsiteX27" fmla="*/ 312524 w 2130306"/>
                <a:gd name="connsiteY27" fmla="*/ 298240 h 795508"/>
                <a:gd name="connsiteX28" fmla="*/ 191124 w 2130306"/>
                <a:gd name="connsiteY28" fmla="*/ 390143 h 795508"/>
                <a:gd name="connsiteX29" fmla="*/ 0 w 2130306"/>
                <a:gd name="connsiteY29" fmla="*/ 439681 h 795508"/>
                <a:gd name="connsiteX30" fmla="*/ 32818 w 2130306"/>
                <a:gd name="connsiteY30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786280 w 2130306"/>
                <a:gd name="connsiteY15" fmla="*/ 54736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757239 w 2130306"/>
                <a:gd name="connsiteY15" fmla="*/ 211802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636608 w 2130306"/>
                <a:gd name="connsiteY15" fmla="*/ 85673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76164 w 2130306"/>
                <a:gd name="connsiteY14" fmla="*/ 71395 h 795508"/>
                <a:gd name="connsiteX15" fmla="*/ 1636608 w 2130306"/>
                <a:gd name="connsiteY15" fmla="*/ 85673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2090095 w 2130306"/>
                <a:gd name="connsiteY14" fmla="*/ 292716 h 795508"/>
                <a:gd name="connsiteX15" fmla="*/ 1976164 w 2130306"/>
                <a:gd name="connsiteY15" fmla="*/ 71395 h 795508"/>
                <a:gd name="connsiteX16" fmla="*/ 1636608 w 2130306"/>
                <a:gd name="connsiteY16" fmla="*/ 85673 h 795508"/>
                <a:gd name="connsiteX17" fmla="*/ 1545017 w 2130306"/>
                <a:gd name="connsiteY17" fmla="*/ 0 h 795508"/>
                <a:gd name="connsiteX18" fmla="*/ 897875 w 2130306"/>
                <a:gd name="connsiteY18" fmla="*/ 132649 h 795508"/>
                <a:gd name="connsiteX19" fmla="*/ 767198 w 2130306"/>
                <a:gd name="connsiteY19" fmla="*/ 163896 h 795508"/>
                <a:gd name="connsiteX20" fmla="*/ 774116 w 2130306"/>
                <a:gd name="connsiteY20" fmla="*/ 198092 h 795508"/>
                <a:gd name="connsiteX21" fmla="*/ 737225 w 2130306"/>
                <a:gd name="connsiteY21" fmla="*/ 202978 h 795508"/>
                <a:gd name="connsiteX22" fmla="*/ 728003 w 2130306"/>
                <a:gd name="connsiteY22" fmla="*/ 154126 h 795508"/>
                <a:gd name="connsiteX23" fmla="*/ 681891 w 2130306"/>
                <a:gd name="connsiteY23" fmla="*/ 161453 h 795508"/>
                <a:gd name="connsiteX24" fmla="*/ 688807 w 2130306"/>
                <a:gd name="connsiteY24" fmla="*/ 217633 h 795508"/>
                <a:gd name="connsiteX25" fmla="*/ 642695 w 2130306"/>
                <a:gd name="connsiteY25" fmla="*/ 227402 h 795508"/>
                <a:gd name="connsiteX26" fmla="*/ 635779 w 2130306"/>
                <a:gd name="connsiteY26" fmla="*/ 178552 h 795508"/>
                <a:gd name="connsiteX27" fmla="*/ 585055 w 2130306"/>
                <a:gd name="connsiteY27" fmla="*/ 180995 h 795508"/>
                <a:gd name="connsiteX28" fmla="*/ 598889 w 2130306"/>
                <a:gd name="connsiteY28" fmla="*/ 237172 h 795508"/>
                <a:gd name="connsiteX29" fmla="*/ 312524 w 2130306"/>
                <a:gd name="connsiteY29" fmla="*/ 298240 h 795508"/>
                <a:gd name="connsiteX30" fmla="*/ 191124 w 2130306"/>
                <a:gd name="connsiteY30" fmla="*/ 390143 h 795508"/>
                <a:gd name="connsiteX31" fmla="*/ 0 w 2130306"/>
                <a:gd name="connsiteY31" fmla="*/ 439681 h 795508"/>
                <a:gd name="connsiteX32" fmla="*/ 32818 w 2130306"/>
                <a:gd name="connsiteY32" fmla="*/ 607306 h 795508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6164 w 2130306"/>
                <a:gd name="connsiteY15" fmla="*/ 99698 h 823811"/>
                <a:gd name="connsiteX16" fmla="*/ 1636608 w 2130306"/>
                <a:gd name="connsiteY16" fmla="*/ 113976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6164 w 2130306"/>
                <a:gd name="connsiteY15" fmla="*/ 99698 h 823811"/>
                <a:gd name="connsiteX16" fmla="*/ 1626277 w 2130306"/>
                <a:gd name="connsiteY16" fmla="*/ 91335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0996 w 2130306"/>
                <a:gd name="connsiteY15" fmla="*/ 71398 h 823811"/>
                <a:gd name="connsiteX16" fmla="*/ 1626277 w 2130306"/>
                <a:gd name="connsiteY16" fmla="*/ 91335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1970996 w 2130306"/>
                <a:gd name="connsiteY15" fmla="*/ 77673 h 830086"/>
                <a:gd name="connsiteX16" fmla="*/ 1626277 w 2130306"/>
                <a:gd name="connsiteY16" fmla="*/ 97610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1970996 w 2130306"/>
                <a:gd name="connsiteY15" fmla="*/ 77673 h 830086"/>
                <a:gd name="connsiteX16" fmla="*/ 1651255 w 2130306"/>
                <a:gd name="connsiteY16" fmla="*/ 91334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2002216 w 2130306"/>
                <a:gd name="connsiteY15" fmla="*/ 65120 h 830086"/>
                <a:gd name="connsiteX16" fmla="*/ 1651255 w 2130306"/>
                <a:gd name="connsiteY16" fmla="*/ 91334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30306" h="830086">
                  <a:moveTo>
                    <a:pt x="32818" y="641884"/>
                  </a:moveTo>
                  <a:lnTo>
                    <a:pt x="315950" y="575685"/>
                  </a:lnTo>
                  <a:lnTo>
                    <a:pt x="329998" y="603784"/>
                  </a:lnTo>
                  <a:lnTo>
                    <a:pt x="704968" y="518063"/>
                  </a:lnTo>
                  <a:lnTo>
                    <a:pt x="843563" y="541412"/>
                  </a:lnTo>
                  <a:lnTo>
                    <a:pt x="863668" y="662809"/>
                  </a:lnTo>
                  <a:lnTo>
                    <a:pt x="839094" y="669950"/>
                  </a:lnTo>
                  <a:lnTo>
                    <a:pt x="832795" y="600924"/>
                  </a:lnTo>
                  <a:lnTo>
                    <a:pt x="304781" y="721902"/>
                  </a:lnTo>
                  <a:cubicBezTo>
                    <a:pt x="305567" y="740949"/>
                    <a:pt x="315288" y="752856"/>
                    <a:pt x="316074" y="771903"/>
                  </a:cubicBezTo>
                  <a:cubicBezTo>
                    <a:pt x="347289" y="810153"/>
                    <a:pt x="374037" y="834121"/>
                    <a:pt x="423123" y="829524"/>
                  </a:cubicBezTo>
                  <a:lnTo>
                    <a:pt x="1320598" y="626644"/>
                  </a:lnTo>
                  <a:lnTo>
                    <a:pt x="1976165" y="486742"/>
                  </a:lnTo>
                  <a:lnTo>
                    <a:pt x="2130306" y="405827"/>
                  </a:lnTo>
                  <a:lnTo>
                    <a:pt x="2090095" y="327294"/>
                  </a:lnTo>
                  <a:lnTo>
                    <a:pt x="2002216" y="65120"/>
                  </a:lnTo>
                  <a:lnTo>
                    <a:pt x="1651255" y="91334"/>
                  </a:lnTo>
                  <a:lnTo>
                    <a:pt x="1568916" y="0"/>
                  </a:lnTo>
                  <a:lnTo>
                    <a:pt x="897875" y="167227"/>
                  </a:lnTo>
                  <a:lnTo>
                    <a:pt x="767198" y="198474"/>
                  </a:lnTo>
                  <a:cubicBezTo>
                    <a:pt x="771809" y="235112"/>
                    <a:pt x="774116" y="193590"/>
                    <a:pt x="774116" y="232670"/>
                  </a:cubicBezTo>
                  <a:lnTo>
                    <a:pt x="737225" y="237556"/>
                  </a:lnTo>
                  <a:lnTo>
                    <a:pt x="728003" y="188704"/>
                  </a:lnTo>
                  <a:lnTo>
                    <a:pt x="681891" y="196031"/>
                  </a:lnTo>
                  <a:lnTo>
                    <a:pt x="688807" y="252211"/>
                  </a:lnTo>
                  <a:lnTo>
                    <a:pt x="642695" y="261980"/>
                  </a:lnTo>
                  <a:lnTo>
                    <a:pt x="635779" y="213130"/>
                  </a:lnTo>
                  <a:lnTo>
                    <a:pt x="585055" y="215573"/>
                  </a:lnTo>
                  <a:lnTo>
                    <a:pt x="598889" y="271750"/>
                  </a:lnTo>
                  <a:lnTo>
                    <a:pt x="312524" y="332818"/>
                  </a:lnTo>
                  <a:lnTo>
                    <a:pt x="191124" y="424721"/>
                  </a:lnTo>
                  <a:lnTo>
                    <a:pt x="0" y="474259"/>
                  </a:lnTo>
                  <a:lnTo>
                    <a:pt x="32818" y="641884"/>
                  </a:lnTo>
                  <a:close/>
                </a:path>
              </a:pathLst>
            </a:cu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T104N">
              <a:extLst>
                <a:ext uri="{FF2B5EF4-FFF2-40B4-BE49-F238E27FC236}">
                  <a16:creationId xmlns:a16="http://schemas.microsoft.com/office/drawing/2014/main" id="{B1EDF21D-D8F1-4220-B638-685E181F03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809257" y="6409691"/>
              <a:ext cx="221462" cy="167232"/>
            </a:xfrm>
            <a:custGeom>
              <a:avLst/>
              <a:gdLst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84667 h 926042"/>
                <a:gd name="connsiteX1" fmla="*/ 407458 w 1079500"/>
                <a:gd name="connsiteY1" fmla="*/ 0 h 926042"/>
                <a:gd name="connsiteX2" fmla="*/ 1079500 w 1079500"/>
                <a:gd name="connsiteY2" fmla="*/ 714376 h 926042"/>
                <a:gd name="connsiteX3" fmla="*/ 851958 w 1079500"/>
                <a:gd name="connsiteY3" fmla="*/ 926042 h 926042"/>
                <a:gd name="connsiteX4" fmla="*/ 0 w 1079500"/>
                <a:gd name="connsiteY4" fmla="*/ 84667 h 926042"/>
                <a:gd name="connsiteX0" fmla="*/ 0 w 1090084"/>
                <a:gd name="connsiteY0" fmla="*/ 84667 h 926042"/>
                <a:gd name="connsiteX1" fmla="*/ 407458 w 1090084"/>
                <a:gd name="connsiteY1" fmla="*/ 0 h 926042"/>
                <a:gd name="connsiteX2" fmla="*/ 1090084 w 1090084"/>
                <a:gd name="connsiteY2" fmla="*/ 693209 h 926042"/>
                <a:gd name="connsiteX3" fmla="*/ 851958 w 1090084"/>
                <a:gd name="connsiteY3" fmla="*/ 926042 h 926042"/>
                <a:gd name="connsiteX4" fmla="*/ 0 w 1090084"/>
                <a:gd name="connsiteY4" fmla="*/ 84667 h 926042"/>
                <a:gd name="connsiteX0" fmla="*/ 0 w 1090084"/>
                <a:gd name="connsiteY0" fmla="*/ 84667 h 942189"/>
                <a:gd name="connsiteX1" fmla="*/ 407458 w 1090084"/>
                <a:gd name="connsiteY1" fmla="*/ 0 h 942189"/>
                <a:gd name="connsiteX2" fmla="*/ 1090084 w 1090084"/>
                <a:gd name="connsiteY2" fmla="*/ 693209 h 942189"/>
                <a:gd name="connsiteX3" fmla="*/ 871529 w 1090084"/>
                <a:gd name="connsiteY3" fmla="*/ 942189 h 942189"/>
                <a:gd name="connsiteX4" fmla="*/ 0 w 1090084"/>
                <a:gd name="connsiteY4" fmla="*/ 84667 h 942189"/>
                <a:gd name="connsiteX0" fmla="*/ 0 w 1102868"/>
                <a:gd name="connsiteY0" fmla="*/ 58814 h 942189"/>
                <a:gd name="connsiteX1" fmla="*/ 420242 w 1102868"/>
                <a:gd name="connsiteY1" fmla="*/ 0 h 942189"/>
                <a:gd name="connsiteX2" fmla="*/ 1102868 w 1102868"/>
                <a:gd name="connsiteY2" fmla="*/ 693209 h 942189"/>
                <a:gd name="connsiteX3" fmla="*/ 884313 w 1102868"/>
                <a:gd name="connsiteY3" fmla="*/ 942189 h 942189"/>
                <a:gd name="connsiteX4" fmla="*/ 0 w 1102868"/>
                <a:gd name="connsiteY4" fmla="*/ 58814 h 942189"/>
                <a:gd name="connsiteX0" fmla="*/ 0 w 1102868"/>
                <a:gd name="connsiteY0" fmla="*/ 84667 h 968042"/>
                <a:gd name="connsiteX1" fmla="*/ 413849 w 1102868"/>
                <a:gd name="connsiteY1" fmla="*/ 0 h 968042"/>
                <a:gd name="connsiteX2" fmla="*/ 1102868 w 1102868"/>
                <a:gd name="connsiteY2" fmla="*/ 719062 h 968042"/>
                <a:gd name="connsiteX3" fmla="*/ 884313 w 1102868"/>
                <a:gd name="connsiteY3" fmla="*/ 968042 h 968042"/>
                <a:gd name="connsiteX4" fmla="*/ 0 w 1102868"/>
                <a:gd name="connsiteY4" fmla="*/ 84667 h 96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868" h="968042">
                  <a:moveTo>
                    <a:pt x="0" y="84667"/>
                  </a:moveTo>
                  <a:lnTo>
                    <a:pt x="413849" y="0"/>
                  </a:lnTo>
                  <a:lnTo>
                    <a:pt x="1102868" y="719062"/>
                  </a:lnTo>
                  <a:cubicBezTo>
                    <a:pt x="1023493" y="796673"/>
                    <a:pt x="963688" y="890431"/>
                    <a:pt x="884313" y="968042"/>
                  </a:cubicBezTo>
                  <a:cubicBezTo>
                    <a:pt x="722036" y="639959"/>
                    <a:pt x="474486" y="333375"/>
                    <a:pt x="0" y="84667"/>
                  </a:cubicBezTo>
                  <a:close/>
                </a:path>
              </a:pathLst>
            </a:cu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T112N">
              <a:extLst>
                <a:ext uri="{FF2B5EF4-FFF2-40B4-BE49-F238E27FC236}">
                  <a16:creationId xmlns:a16="http://schemas.microsoft.com/office/drawing/2014/main" id="{B37B9B41-39F9-4490-A51F-F6816F84B3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855841" y="6408644"/>
              <a:ext cx="217903" cy="103257"/>
            </a:xfrm>
            <a:custGeom>
              <a:avLst/>
              <a:gdLst>
                <a:gd name="connsiteX0" fmla="*/ 1019175 w 1088232"/>
                <a:gd name="connsiteY0" fmla="*/ 578644 h 578644"/>
                <a:gd name="connsiteX1" fmla="*/ 0 w 1088232"/>
                <a:gd name="connsiteY1" fmla="*/ 54769 h 578644"/>
                <a:gd name="connsiteX2" fmla="*/ 247650 w 1088232"/>
                <a:gd name="connsiteY2" fmla="*/ 0 h 578644"/>
                <a:gd name="connsiteX3" fmla="*/ 273844 w 1088232"/>
                <a:gd name="connsiteY3" fmla="*/ 14288 h 578644"/>
                <a:gd name="connsiteX4" fmla="*/ 850107 w 1088232"/>
                <a:gd name="connsiteY4" fmla="*/ 302419 h 578644"/>
                <a:gd name="connsiteX5" fmla="*/ 850107 w 1088232"/>
                <a:gd name="connsiteY5" fmla="*/ 316706 h 578644"/>
                <a:gd name="connsiteX6" fmla="*/ 1088232 w 1088232"/>
                <a:gd name="connsiteY6" fmla="*/ 433388 h 578644"/>
                <a:gd name="connsiteX7" fmla="*/ 1019175 w 1088232"/>
                <a:gd name="connsiteY7" fmla="*/ 578644 h 57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8232" h="578644">
                  <a:moveTo>
                    <a:pt x="1019175" y="578644"/>
                  </a:moveTo>
                  <a:lnTo>
                    <a:pt x="0" y="54769"/>
                  </a:lnTo>
                  <a:lnTo>
                    <a:pt x="247650" y="0"/>
                  </a:lnTo>
                  <a:lnTo>
                    <a:pt x="273844" y="14288"/>
                  </a:lnTo>
                  <a:lnTo>
                    <a:pt x="850107" y="302419"/>
                  </a:lnTo>
                  <a:lnTo>
                    <a:pt x="850107" y="316706"/>
                  </a:lnTo>
                  <a:lnTo>
                    <a:pt x="1088232" y="433388"/>
                  </a:lnTo>
                  <a:lnTo>
                    <a:pt x="1019175" y="578644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G017A">
              <a:extLst>
                <a:ext uri="{FF2B5EF4-FFF2-40B4-BE49-F238E27FC236}">
                  <a16:creationId xmlns:a16="http://schemas.microsoft.com/office/drawing/2014/main" id="{5E8EA55E-B175-4E92-9285-5097F044F7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25438" y="6175658"/>
              <a:ext cx="336014" cy="183116"/>
            </a:xfrm>
            <a:custGeom>
              <a:avLst/>
              <a:gdLst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409700 w 1645920"/>
                <a:gd name="connsiteY2" fmla="*/ 754380 h 1097280"/>
                <a:gd name="connsiteX3" fmla="*/ 1645920 w 1645920"/>
                <a:gd name="connsiteY3" fmla="*/ 434340 h 1097280"/>
                <a:gd name="connsiteX4" fmla="*/ 1584960 w 1645920"/>
                <a:gd name="connsiteY4" fmla="*/ 304800 h 1097280"/>
                <a:gd name="connsiteX5" fmla="*/ 1150620 w 1645920"/>
                <a:gd name="connsiteY5" fmla="*/ 457200 h 1097280"/>
                <a:gd name="connsiteX6" fmla="*/ 1021080 w 1645920"/>
                <a:gd name="connsiteY6" fmla="*/ 0 h 1097280"/>
                <a:gd name="connsiteX7" fmla="*/ 0 w 1645920"/>
                <a:gd name="connsiteY7" fmla="*/ 312420 h 1097280"/>
                <a:gd name="connsiteX8" fmla="*/ 99060 w 1645920"/>
                <a:gd name="connsiteY8" fmla="*/ 624840 h 1097280"/>
                <a:gd name="connsiteX9" fmla="*/ 190500 w 1645920"/>
                <a:gd name="connsiteY9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409700 w 1645920"/>
                <a:gd name="connsiteY2" fmla="*/ 754380 h 1097280"/>
                <a:gd name="connsiteX3" fmla="*/ 1501140 w 1645920"/>
                <a:gd name="connsiteY3" fmla="*/ 647700 h 1097280"/>
                <a:gd name="connsiteX4" fmla="*/ 1645920 w 1645920"/>
                <a:gd name="connsiteY4" fmla="*/ 434340 h 1097280"/>
                <a:gd name="connsiteX5" fmla="*/ 1584960 w 1645920"/>
                <a:gd name="connsiteY5" fmla="*/ 304800 h 1097280"/>
                <a:gd name="connsiteX6" fmla="*/ 1150620 w 1645920"/>
                <a:gd name="connsiteY6" fmla="*/ 457200 h 1097280"/>
                <a:gd name="connsiteX7" fmla="*/ 1021080 w 1645920"/>
                <a:gd name="connsiteY7" fmla="*/ 0 h 1097280"/>
                <a:gd name="connsiteX8" fmla="*/ 0 w 1645920"/>
                <a:gd name="connsiteY8" fmla="*/ 312420 h 1097280"/>
                <a:gd name="connsiteX9" fmla="*/ 99060 w 1645920"/>
                <a:gd name="connsiteY9" fmla="*/ 624840 h 1097280"/>
                <a:gd name="connsiteX10" fmla="*/ 190500 w 1645920"/>
                <a:gd name="connsiteY10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09700 w 1645920"/>
                <a:gd name="connsiteY3" fmla="*/ 75438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09700 w 1645920"/>
                <a:gd name="connsiteY3" fmla="*/ 73152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32560 w 1645920"/>
                <a:gd name="connsiteY3" fmla="*/ 75438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32560 w 1645920"/>
                <a:gd name="connsiteY3" fmla="*/ 754380 h 1097280"/>
                <a:gd name="connsiteX4" fmla="*/ 153162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995493 w 1645920"/>
                <a:gd name="connsiteY8" fmla="*/ 0 h 1042700"/>
                <a:gd name="connsiteX9" fmla="*/ 0 w 1645920"/>
                <a:gd name="connsiteY9" fmla="*/ 257840 h 1042700"/>
                <a:gd name="connsiteX10" fmla="*/ 99060 w 1645920"/>
                <a:gd name="connsiteY10" fmla="*/ 570260 h 1042700"/>
                <a:gd name="connsiteX11" fmla="*/ 190500 w 1645920"/>
                <a:gd name="connsiteY11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995493 w 1645920"/>
                <a:gd name="connsiteY9" fmla="*/ 0 h 1042700"/>
                <a:gd name="connsiteX10" fmla="*/ 0 w 1645920"/>
                <a:gd name="connsiteY10" fmla="*/ 257840 h 1042700"/>
                <a:gd name="connsiteX11" fmla="*/ 99060 w 1645920"/>
                <a:gd name="connsiteY11" fmla="*/ 570260 h 1042700"/>
                <a:gd name="connsiteX12" fmla="*/ 190500 w 1645920"/>
                <a:gd name="connsiteY12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1040712 w 1645920"/>
                <a:gd name="connsiteY9" fmla="*/ 129052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1069143 w 1645920"/>
                <a:gd name="connsiteY9" fmla="*/ 256407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56407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71569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71569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42802 w 1645920"/>
                <a:gd name="connsiteY12" fmla="*/ 371633 h 1042700"/>
                <a:gd name="connsiteX13" fmla="*/ 99060 w 1645920"/>
                <a:gd name="connsiteY13" fmla="*/ 570260 h 1042700"/>
                <a:gd name="connsiteX14" fmla="*/ 190500 w 1645920"/>
                <a:gd name="connsiteY14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113118 w 1659978"/>
                <a:gd name="connsiteY13" fmla="*/ 570260 h 1042700"/>
                <a:gd name="connsiteX14" fmla="*/ 204558 w 1659978"/>
                <a:gd name="connsiteY14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71076 w 1659978"/>
                <a:gd name="connsiteY13" fmla="*/ 508085 h 1042700"/>
                <a:gd name="connsiteX14" fmla="*/ 113118 w 1659978"/>
                <a:gd name="connsiteY14" fmla="*/ 570260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31273 w 1659978"/>
                <a:gd name="connsiteY13" fmla="*/ 380730 h 1042700"/>
                <a:gd name="connsiteX14" fmla="*/ 113118 w 1659978"/>
                <a:gd name="connsiteY14" fmla="*/ 570260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31273 w 1659978"/>
                <a:gd name="connsiteY13" fmla="*/ 380730 h 1042700"/>
                <a:gd name="connsiteX14" fmla="*/ 73316 w 1659978"/>
                <a:gd name="connsiteY14" fmla="*/ 576324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256118 w 1659978"/>
                <a:gd name="connsiteY2" fmla="*/ 753140 h 1054829"/>
                <a:gd name="connsiteX3" fmla="*/ 1446618 w 1659978"/>
                <a:gd name="connsiteY3" fmla="*/ 699800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46618 w 1659978"/>
                <a:gd name="connsiteY3" fmla="*/ 699800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71266 w 1659978"/>
                <a:gd name="connsiteY4" fmla="*/ 441507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71266 w 1659978"/>
                <a:gd name="connsiteY4" fmla="*/ 441507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15665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1107 w 1671085"/>
                <a:gd name="connsiteY12" fmla="*/ 377697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15665 w 1671085"/>
                <a:gd name="connsiteY15" fmla="*/ 532160 h 1054829"/>
                <a:gd name="connsiteX0" fmla="*/ 215665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15665 w 1671085"/>
                <a:gd name="connsiteY15" fmla="*/ 532160 h 1054829"/>
                <a:gd name="connsiteX0" fmla="*/ 204227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04227 w 1671085"/>
                <a:gd name="connsiteY15" fmla="*/ 532160 h 1054829"/>
                <a:gd name="connsiteX0" fmla="*/ 204227 w 1671085"/>
                <a:gd name="connsiteY0" fmla="*/ 532160 h 1054829"/>
                <a:gd name="connsiteX1" fmla="*/ 346432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04227 w 1671085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75785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05549 w 1650496"/>
                <a:gd name="connsiteY6" fmla="*/ 252647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27306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4308 w 1650496"/>
                <a:gd name="connsiteY9" fmla="*/ 26671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7306 h 1049975"/>
                <a:gd name="connsiteX0" fmla="*/ 204227 w 1650496"/>
                <a:gd name="connsiteY0" fmla="*/ 527306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2019 w 1650496"/>
                <a:gd name="connsiteY9" fmla="*/ 25943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7306 h 1049975"/>
                <a:gd name="connsiteX0" fmla="*/ 204227 w 1650496"/>
                <a:gd name="connsiteY0" fmla="*/ 529732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2019 w 1650496"/>
                <a:gd name="connsiteY9" fmla="*/ 25943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9732 h 1049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496" h="1049975">
                  <a:moveTo>
                    <a:pt x="204227" y="529732"/>
                  </a:moveTo>
                  <a:lnTo>
                    <a:pt x="346432" y="1049975"/>
                  </a:lnTo>
                  <a:lnTo>
                    <a:pt x="1352517" y="742222"/>
                  </a:lnTo>
                  <a:cubicBezTo>
                    <a:pt x="1411248" y="720200"/>
                    <a:pt x="1424093" y="718797"/>
                    <a:pt x="1457790" y="661591"/>
                  </a:cubicBezTo>
                  <a:cubicBezTo>
                    <a:pt x="1503130" y="586612"/>
                    <a:pt x="1556933" y="469180"/>
                    <a:pt x="1582373" y="436653"/>
                  </a:cubicBezTo>
                  <a:cubicBezTo>
                    <a:pt x="1602792" y="402318"/>
                    <a:pt x="1627788" y="382544"/>
                    <a:pt x="1650496" y="370052"/>
                  </a:cubicBezTo>
                  <a:lnTo>
                    <a:pt x="1605549" y="247793"/>
                  </a:lnTo>
                  <a:cubicBezTo>
                    <a:pt x="1473733" y="320436"/>
                    <a:pt x="1314464" y="346966"/>
                    <a:pt x="1166634" y="397766"/>
                  </a:cubicBezTo>
                  <a:lnTo>
                    <a:pt x="1135221" y="250948"/>
                  </a:lnTo>
                  <a:lnTo>
                    <a:pt x="1092019" y="259435"/>
                  </a:lnTo>
                  <a:lnTo>
                    <a:pt x="1027521" y="0"/>
                  </a:lnTo>
                  <a:lnTo>
                    <a:pt x="0" y="318515"/>
                  </a:lnTo>
                  <a:lnTo>
                    <a:pt x="13394" y="384978"/>
                  </a:lnTo>
                  <a:lnTo>
                    <a:pt x="42380" y="375876"/>
                  </a:lnTo>
                  <a:lnTo>
                    <a:pt x="84423" y="571470"/>
                  </a:lnTo>
                  <a:lnTo>
                    <a:pt x="204227" y="529732"/>
                  </a:lnTo>
                  <a:close/>
                </a:path>
              </a:pathLst>
            </a:custGeom>
            <a:solidFill>
              <a:srgbClr val="DF80B2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G017.1">
              <a:extLst>
                <a:ext uri="{FF2B5EF4-FFF2-40B4-BE49-F238E27FC236}">
                  <a16:creationId xmlns:a16="http://schemas.microsoft.com/office/drawing/2014/main" id="{0570B42E-084B-46F2-B3EC-7BA493B39CDA}"/>
                </a:ext>
              </a:extLst>
            </p:cNvPr>
            <p:cNvSpPr>
              <a:spLocks noChangeAspect="1"/>
            </p:cNvSpPr>
            <p:nvPr/>
          </p:nvSpPr>
          <p:spPr>
            <a:xfrm rot="156744">
              <a:off x="11490329" y="6083860"/>
              <a:ext cx="525211" cy="444205"/>
            </a:xfrm>
            <a:custGeom>
              <a:avLst/>
              <a:gdLst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685800 w 2583180"/>
                <a:gd name="connsiteY5" fmla="*/ 0 h 2804160"/>
                <a:gd name="connsiteX6" fmla="*/ 175260 w 2583180"/>
                <a:gd name="connsiteY6" fmla="*/ 83820 h 2804160"/>
                <a:gd name="connsiteX7" fmla="*/ 106680 w 2583180"/>
                <a:gd name="connsiteY7" fmla="*/ 7620 h 2804160"/>
                <a:gd name="connsiteX8" fmla="*/ 0 w 2583180"/>
                <a:gd name="connsiteY8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685800 w 2583180"/>
                <a:gd name="connsiteY5" fmla="*/ 0 h 2804160"/>
                <a:gd name="connsiteX6" fmla="*/ 487680 w 2583180"/>
                <a:gd name="connsiteY6" fmla="*/ 30480 h 2804160"/>
                <a:gd name="connsiteX7" fmla="*/ 175260 w 2583180"/>
                <a:gd name="connsiteY7" fmla="*/ 83820 h 2804160"/>
                <a:gd name="connsiteX8" fmla="*/ 106680 w 2583180"/>
                <a:gd name="connsiteY8" fmla="*/ 7620 h 2804160"/>
                <a:gd name="connsiteX9" fmla="*/ 0 w 2583180"/>
                <a:gd name="connsiteY9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685800 w 2583180"/>
                <a:gd name="connsiteY6" fmla="*/ 0 h 2804160"/>
                <a:gd name="connsiteX7" fmla="*/ 487680 w 2583180"/>
                <a:gd name="connsiteY7" fmla="*/ 30480 h 2804160"/>
                <a:gd name="connsiteX8" fmla="*/ 175260 w 2583180"/>
                <a:gd name="connsiteY8" fmla="*/ 83820 h 2804160"/>
                <a:gd name="connsiteX9" fmla="*/ 106680 w 2583180"/>
                <a:gd name="connsiteY9" fmla="*/ 7620 h 2804160"/>
                <a:gd name="connsiteX10" fmla="*/ 0 w 2583180"/>
                <a:gd name="connsiteY10" fmla="*/ 129540 h 280416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87680 w 2583180"/>
                <a:gd name="connsiteY7" fmla="*/ 22860 h 2796540"/>
                <a:gd name="connsiteX8" fmla="*/ 175260 w 2583180"/>
                <a:gd name="connsiteY8" fmla="*/ 7620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19100 w 2583180"/>
                <a:gd name="connsiteY7" fmla="*/ 30480 h 2796540"/>
                <a:gd name="connsiteX8" fmla="*/ 175260 w 2583180"/>
                <a:gd name="connsiteY8" fmla="*/ 7620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19100 w 2583180"/>
                <a:gd name="connsiteY7" fmla="*/ 30480 h 2796540"/>
                <a:gd name="connsiteX8" fmla="*/ 213360 w 2583180"/>
                <a:gd name="connsiteY8" fmla="*/ 6858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624840 w 2583180"/>
                <a:gd name="connsiteY6" fmla="*/ 0 h 2811780"/>
                <a:gd name="connsiteX7" fmla="*/ 419100 w 2583180"/>
                <a:gd name="connsiteY7" fmla="*/ 45720 h 2811780"/>
                <a:gd name="connsiteX8" fmla="*/ 213360 w 2583180"/>
                <a:gd name="connsiteY8" fmla="*/ 83820 h 2811780"/>
                <a:gd name="connsiteX9" fmla="*/ 106680 w 2583180"/>
                <a:gd name="connsiteY9" fmla="*/ 15240 h 2811780"/>
                <a:gd name="connsiteX10" fmla="*/ 0 w 2583180"/>
                <a:gd name="connsiteY10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624840 w 2583180"/>
                <a:gd name="connsiteY6" fmla="*/ 0 h 2811780"/>
                <a:gd name="connsiteX7" fmla="*/ 381000 w 2583180"/>
                <a:gd name="connsiteY7" fmla="*/ 60960 h 2811780"/>
                <a:gd name="connsiteX8" fmla="*/ 213360 w 2583180"/>
                <a:gd name="connsiteY8" fmla="*/ 83820 h 2811780"/>
                <a:gd name="connsiteX9" fmla="*/ 106680 w 2583180"/>
                <a:gd name="connsiteY9" fmla="*/ 15240 h 2811780"/>
                <a:gd name="connsiteX10" fmla="*/ 0 w 2583180"/>
                <a:gd name="connsiteY10" fmla="*/ 137160 h 2811780"/>
                <a:gd name="connsiteX0" fmla="*/ 0 w 2583180"/>
                <a:gd name="connsiteY0" fmla="*/ 144780 h 2819400"/>
                <a:gd name="connsiteX1" fmla="*/ 2453640 w 2583180"/>
                <a:gd name="connsiteY1" fmla="*/ 2819400 h 2819400"/>
                <a:gd name="connsiteX2" fmla="*/ 2583180 w 2583180"/>
                <a:gd name="connsiteY2" fmla="*/ 2682240 h 2819400"/>
                <a:gd name="connsiteX3" fmla="*/ 2430780 w 2583180"/>
                <a:gd name="connsiteY3" fmla="*/ 2522220 h 2819400"/>
                <a:gd name="connsiteX4" fmla="*/ 2446020 w 2583180"/>
                <a:gd name="connsiteY4" fmla="*/ 1920240 h 2819400"/>
                <a:gd name="connsiteX5" fmla="*/ 800100 w 2583180"/>
                <a:gd name="connsiteY5" fmla="*/ 129540 h 2819400"/>
                <a:gd name="connsiteX6" fmla="*/ 655320 w 2583180"/>
                <a:gd name="connsiteY6" fmla="*/ 0 h 2819400"/>
                <a:gd name="connsiteX7" fmla="*/ 381000 w 2583180"/>
                <a:gd name="connsiteY7" fmla="*/ 68580 h 2819400"/>
                <a:gd name="connsiteX8" fmla="*/ 213360 w 2583180"/>
                <a:gd name="connsiteY8" fmla="*/ 91440 h 2819400"/>
                <a:gd name="connsiteX9" fmla="*/ 106680 w 2583180"/>
                <a:gd name="connsiteY9" fmla="*/ 22860 h 2819400"/>
                <a:gd name="connsiteX10" fmla="*/ 0 w 2583180"/>
                <a:gd name="connsiteY10" fmla="*/ 144780 h 2819400"/>
                <a:gd name="connsiteX0" fmla="*/ 0 w 2583180"/>
                <a:gd name="connsiteY0" fmla="*/ 144780 h 2819400"/>
                <a:gd name="connsiteX1" fmla="*/ 2453640 w 2583180"/>
                <a:gd name="connsiteY1" fmla="*/ 2819400 h 2819400"/>
                <a:gd name="connsiteX2" fmla="*/ 2583180 w 2583180"/>
                <a:gd name="connsiteY2" fmla="*/ 2682240 h 2819400"/>
                <a:gd name="connsiteX3" fmla="*/ 2430780 w 2583180"/>
                <a:gd name="connsiteY3" fmla="*/ 2522220 h 2819400"/>
                <a:gd name="connsiteX4" fmla="*/ 2446020 w 2583180"/>
                <a:gd name="connsiteY4" fmla="*/ 1920240 h 2819400"/>
                <a:gd name="connsiteX5" fmla="*/ 800100 w 2583180"/>
                <a:gd name="connsiteY5" fmla="*/ 129540 h 2819400"/>
                <a:gd name="connsiteX6" fmla="*/ 723900 w 2583180"/>
                <a:gd name="connsiteY6" fmla="*/ 45720 h 2819400"/>
                <a:gd name="connsiteX7" fmla="*/ 655320 w 2583180"/>
                <a:gd name="connsiteY7" fmla="*/ 0 h 2819400"/>
                <a:gd name="connsiteX8" fmla="*/ 381000 w 2583180"/>
                <a:gd name="connsiteY8" fmla="*/ 68580 h 2819400"/>
                <a:gd name="connsiteX9" fmla="*/ 213360 w 2583180"/>
                <a:gd name="connsiteY9" fmla="*/ 91440 h 2819400"/>
                <a:gd name="connsiteX10" fmla="*/ 106680 w 2583180"/>
                <a:gd name="connsiteY10" fmla="*/ 22860 h 2819400"/>
                <a:gd name="connsiteX11" fmla="*/ 0 w 2583180"/>
                <a:gd name="connsiteY11" fmla="*/ 144780 h 281940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381000 w 2583180"/>
                <a:gd name="connsiteY8" fmla="*/ 53340 h 2804160"/>
                <a:gd name="connsiteX9" fmla="*/ 213360 w 2583180"/>
                <a:gd name="connsiteY9" fmla="*/ 76200 h 2804160"/>
                <a:gd name="connsiteX10" fmla="*/ 106680 w 2583180"/>
                <a:gd name="connsiteY10" fmla="*/ 762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213360 w 2583180"/>
                <a:gd name="connsiteY9" fmla="*/ 76200 h 2804160"/>
                <a:gd name="connsiteX10" fmla="*/ 106680 w 2583180"/>
                <a:gd name="connsiteY10" fmla="*/ 762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76200 h 2804160"/>
                <a:gd name="connsiteX11" fmla="*/ 106680 w 2583180"/>
                <a:gd name="connsiteY11" fmla="*/ 7620 h 2804160"/>
                <a:gd name="connsiteX12" fmla="*/ 0 w 2583180"/>
                <a:gd name="connsiteY12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7620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114300 w 2583180"/>
                <a:gd name="connsiteY10" fmla="*/ 1524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38100 h 2804160"/>
                <a:gd name="connsiteX11" fmla="*/ 114300 w 2583180"/>
                <a:gd name="connsiteY11" fmla="*/ 15240 h 2804160"/>
                <a:gd name="connsiteX12" fmla="*/ 0 w 2583180"/>
                <a:gd name="connsiteY12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289560 w 2583180"/>
                <a:gd name="connsiteY9" fmla="*/ 91440 h 2804160"/>
                <a:gd name="connsiteX10" fmla="*/ 213360 w 2583180"/>
                <a:gd name="connsiteY10" fmla="*/ 38100 h 2804160"/>
                <a:gd name="connsiteX11" fmla="*/ 114300 w 2583180"/>
                <a:gd name="connsiteY11" fmla="*/ 15240 h 2804160"/>
                <a:gd name="connsiteX12" fmla="*/ 0 w 2583180"/>
                <a:gd name="connsiteY12" fmla="*/ 129540 h 280416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23900 w 2583180"/>
                <a:gd name="connsiteY6" fmla="*/ 3810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89560 w 2583180"/>
                <a:gd name="connsiteY9" fmla="*/ 990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23900 w 2583180"/>
                <a:gd name="connsiteY6" fmla="*/ 3810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01040 w 2583180"/>
                <a:gd name="connsiteY6" fmla="*/ 3048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01040 w 2583180"/>
                <a:gd name="connsiteY6" fmla="*/ 30480 h 2811780"/>
                <a:gd name="connsiteX7" fmla="*/ 55626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080260 h 2811780"/>
                <a:gd name="connsiteX5" fmla="*/ 2446020 w 2583180"/>
                <a:gd name="connsiteY5" fmla="*/ 1912620 h 2811780"/>
                <a:gd name="connsiteX6" fmla="*/ 800100 w 2583180"/>
                <a:gd name="connsiteY6" fmla="*/ 121920 h 2811780"/>
                <a:gd name="connsiteX7" fmla="*/ 701040 w 2583180"/>
                <a:gd name="connsiteY7" fmla="*/ 30480 h 2811780"/>
                <a:gd name="connsiteX8" fmla="*/ 556260 w 2583180"/>
                <a:gd name="connsiteY8" fmla="*/ 7620 h 2811780"/>
                <a:gd name="connsiteX9" fmla="*/ 419100 w 2583180"/>
                <a:gd name="connsiteY9" fmla="*/ 45720 h 2811780"/>
                <a:gd name="connsiteX10" fmla="*/ 274320 w 2583180"/>
                <a:gd name="connsiteY10" fmla="*/ 60960 h 2811780"/>
                <a:gd name="connsiteX11" fmla="*/ 213360 w 2583180"/>
                <a:gd name="connsiteY11" fmla="*/ 45720 h 2811780"/>
                <a:gd name="connsiteX12" fmla="*/ 144780 w 2583180"/>
                <a:gd name="connsiteY12" fmla="*/ 0 h 2811780"/>
                <a:gd name="connsiteX13" fmla="*/ 0 w 2583180"/>
                <a:gd name="connsiteY13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080260 h 2811780"/>
                <a:gd name="connsiteX5" fmla="*/ 2446020 w 2583180"/>
                <a:gd name="connsiteY5" fmla="*/ 1912620 h 2811780"/>
                <a:gd name="connsiteX6" fmla="*/ 2385060 w 2583180"/>
                <a:gd name="connsiteY6" fmla="*/ 1828800 h 2811780"/>
                <a:gd name="connsiteX7" fmla="*/ 800100 w 2583180"/>
                <a:gd name="connsiteY7" fmla="*/ 121920 h 2811780"/>
                <a:gd name="connsiteX8" fmla="*/ 701040 w 2583180"/>
                <a:gd name="connsiteY8" fmla="*/ 30480 h 2811780"/>
                <a:gd name="connsiteX9" fmla="*/ 556260 w 2583180"/>
                <a:gd name="connsiteY9" fmla="*/ 7620 h 2811780"/>
                <a:gd name="connsiteX10" fmla="*/ 419100 w 2583180"/>
                <a:gd name="connsiteY10" fmla="*/ 45720 h 2811780"/>
                <a:gd name="connsiteX11" fmla="*/ 274320 w 2583180"/>
                <a:gd name="connsiteY11" fmla="*/ 60960 h 2811780"/>
                <a:gd name="connsiteX12" fmla="*/ 213360 w 2583180"/>
                <a:gd name="connsiteY12" fmla="*/ 45720 h 2811780"/>
                <a:gd name="connsiteX13" fmla="*/ 144780 w 2583180"/>
                <a:gd name="connsiteY13" fmla="*/ 0 h 2811780"/>
                <a:gd name="connsiteX14" fmla="*/ 0 w 2583180"/>
                <a:gd name="connsiteY14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46020 w 2583180"/>
                <a:gd name="connsiteY5" fmla="*/ 2080260 h 2811780"/>
                <a:gd name="connsiteX6" fmla="*/ 244602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4602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6888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46020 w 2583180"/>
                <a:gd name="connsiteY6" fmla="*/ 192024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46020 w 2583180"/>
                <a:gd name="connsiteY5" fmla="*/ 2263140 h 2811780"/>
                <a:gd name="connsiteX6" fmla="*/ 2484120 w 2583180"/>
                <a:gd name="connsiteY6" fmla="*/ 2087880 h 2811780"/>
                <a:gd name="connsiteX7" fmla="*/ 2446020 w 2583180"/>
                <a:gd name="connsiteY7" fmla="*/ 1920240 h 2811780"/>
                <a:gd name="connsiteX8" fmla="*/ 2385060 w 2583180"/>
                <a:gd name="connsiteY8" fmla="*/ 1828800 h 2811780"/>
                <a:gd name="connsiteX9" fmla="*/ 800100 w 2583180"/>
                <a:gd name="connsiteY9" fmla="*/ 121920 h 2811780"/>
                <a:gd name="connsiteX10" fmla="*/ 701040 w 2583180"/>
                <a:gd name="connsiteY10" fmla="*/ 30480 h 2811780"/>
                <a:gd name="connsiteX11" fmla="*/ 556260 w 2583180"/>
                <a:gd name="connsiteY11" fmla="*/ 7620 h 2811780"/>
                <a:gd name="connsiteX12" fmla="*/ 419100 w 2583180"/>
                <a:gd name="connsiteY12" fmla="*/ 45720 h 2811780"/>
                <a:gd name="connsiteX13" fmla="*/ 274320 w 2583180"/>
                <a:gd name="connsiteY13" fmla="*/ 60960 h 2811780"/>
                <a:gd name="connsiteX14" fmla="*/ 213360 w 2583180"/>
                <a:gd name="connsiteY14" fmla="*/ 45720 h 2811780"/>
                <a:gd name="connsiteX15" fmla="*/ 144780 w 2583180"/>
                <a:gd name="connsiteY15" fmla="*/ 0 h 2811780"/>
                <a:gd name="connsiteX16" fmla="*/ 0 w 2583180"/>
                <a:gd name="connsiteY16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8400 w 2583180"/>
                <a:gd name="connsiteY5" fmla="*/ 2407920 h 2811780"/>
                <a:gd name="connsiteX6" fmla="*/ 2446020 w 2583180"/>
                <a:gd name="connsiteY6" fmla="*/ 2263140 h 2811780"/>
                <a:gd name="connsiteX7" fmla="*/ 2484120 w 2583180"/>
                <a:gd name="connsiteY7" fmla="*/ 20878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84120 w 2583180"/>
                <a:gd name="connsiteY7" fmla="*/ 20878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84120 w 2583180"/>
                <a:gd name="connsiteY7" fmla="*/ 20497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68880 w 2583180"/>
                <a:gd name="connsiteY7" fmla="*/ 2156460 h 2811780"/>
                <a:gd name="connsiteX8" fmla="*/ 2484120 w 2583180"/>
                <a:gd name="connsiteY8" fmla="*/ 2049780 h 2811780"/>
                <a:gd name="connsiteX9" fmla="*/ 2446020 w 2583180"/>
                <a:gd name="connsiteY9" fmla="*/ 1920240 h 2811780"/>
                <a:gd name="connsiteX10" fmla="*/ 2385060 w 2583180"/>
                <a:gd name="connsiteY10" fmla="*/ 1828800 h 2811780"/>
                <a:gd name="connsiteX11" fmla="*/ 800100 w 2583180"/>
                <a:gd name="connsiteY11" fmla="*/ 121920 h 2811780"/>
                <a:gd name="connsiteX12" fmla="*/ 701040 w 2583180"/>
                <a:gd name="connsiteY12" fmla="*/ 30480 h 2811780"/>
                <a:gd name="connsiteX13" fmla="*/ 556260 w 2583180"/>
                <a:gd name="connsiteY13" fmla="*/ 7620 h 2811780"/>
                <a:gd name="connsiteX14" fmla="*/ 419100 w 2583180"/>
                <a:gd name="connsiteY14" fmla="*/ 45720 h 2811780"/>
                <a:gd name="connsiteX15" fmla="*/ 274320 w 2583180"/>
                <a:gd name="connsiteY15" fmla="*/ 60960 h 2811780"/>
                <a:gd name="connsiteX16" fmla="*/ 213360 w 2583180"/>
                <a:gd name="connsiteY16" fmla="*/ 45720 h 2811780"/>
                <a:gd name="connsiteX17" fmla="*/ 144780 w 2583180"/>
                <a:gd name="connsiteY17" fmla="*/ 0 h 2811780"/>
                <a:gd name="connsiteX18" fmla="*/ 0 w 2583180"/>
                <a:gd name="connsiteY18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68880 w 2583180"/>
                <a:gd name="connsiteY7" fmla="*/ 2156460 h 2811780"/>
                <a:gd name="connsiteX8" fmla="*/ 2484120 w 2583180"/>
                <a:gd name="connsiteY8" fmla="*/ 2034540 h 2811780"/>
                <a:gd name="connsiteX9" fmla="*/ 2446020 w 2583180"/>
                <a:gd name="connsiteY9" fmla="*/ 1920240 h 2811780"/>
                <a:gd name="connsiteX10" fmla="*/ 2385060 w 2583180"/>
                <a:gd name="connsiteY10" fmla="*/ 1828800 h 2811780"/>
                <a:gd name="connsiteX11" fmla="*/ 800100 w 2583180"/>
                <a:gd name="connsiteY11" fmla="*/ 121920 h 2811780"/>
                <a:gd name="connsiteX12" fmla="*/ 701040 w 2583180"/>
                <a:gd name="connsiteY12" fmla="*/ 30480 h 2811780"/>
                <a:gd name="connsiteX13" fmla="*/ 556260 w 2583180"/>
                <a:gd name="connsiteY13" fmla="*/ 7620 h 2811780"/>
                <a:gd name="connsiteX14" fmla="*/ 419100 w 2583180"/>
                <a:gd name="connsiteY14" fmla="*/ 45720 h 2811780"/>
                <a:gd name="connsiteX15" fmla="*/ 274320 w 2583180"/>
                <a:gd name="connsiteY15" fmla="*/ 60960 h 2811780"/>
                <a:gd name="connsiteX16" fmla="*/ 213360 w 2583180"/>
                <a:gd name="connsiteY16" fmla="*/ 45720 h 2811780"/>
                <a:gd name="connsiteX17" fmla="*/ 144780 w 2583180"/>
                <a:gd name="connsiteY17" fmla="*/ 0 h 2811780"/>
                <a:gd name="connsiteX18" fmla="*/ 0 w 2583180"/>
                <a:gd name="connsiteY18" fmla="*/ 137160 h 2811780"/>
                <a:gd name="connsiteX0" fmla="*/ 0 w 2583180"/>
                <a:gd name="connsiteY0" fmla="*/ 137160 h 2839528"/>
                <a:gd name="connsiteX1" fmla="*/ 2578015 w 2583180"/>
                <a:gd name="connsiteY1" fmla="*/ 2839528 h 2839528"/>
                <a:gd name="connsiteX2" fmla="*/ 2583180 w 2583180"/>
                <a:gd name="connsiteY2" fmla="*/ 2674620 h 2839528"/>
                <a:gd name="connsiteX3" fmla="*/ 2514600 w 2583180"/>
                <a:gd name="connsiteY3" fmla="*/ 2598420 h 2839528"/>
                <a:gd name="connsiteX4" fmla="*/ 2430780 w 2583180"/>
                <a:gd name="connsiteY4" fmla="*/ 2514600 h 2839528"/>
                <a:gd name="connsiteX5" fmla="*/ 2430780 w 2583180"/>
                <a:gd name="connsiteY5" fmla="*/ 2369820 h 2839528"/>
                <a:gd name="connsiteX6" fmla="*/ 2446020 w 2583180"/>
                <a:gd name="connsiteY6" fmla="*/ 2263140 h 2839528"/>
                <a:gd name="connsiteX7" fmla="*/ 2468880 w 2583180"/>
                <a:gd name="connsiteY7" fmla="*/ 2156460 h 2839528"/>
                <a:gd name="connsiteX8" fmla="*/ 2484120 w 2583180"/>
                <a:gd name="connsiteY8" fmla="*/ 2034540 h 2839528"/>
                <a:gd name="connsiteX9" fmla="*/ 2446020 w 2583180"/>
                <a:gd name="connsiteY9" fmla="*/ 1920240 h 2839528"/>
                <a:gd name="connsiteX10" fmla="*/ 2385060 w 2583180"/>
                <a:gd name="connsiteY10" fmla="*/ 1828800 h 2839528"/>
                <a:gd name="connsiteX11" fmla="*/ 800100 w 2583180"/>
                <a:gd name="connsiteY11" fmla="*/ 121920 h 2839528"/>
                <a:gd name="connsiteX12" fmla="*/ 701040 w 2583180"/>
                <a:gd name="connsiteY12" fmla="*/ 30480 h 2839528"/>
                <a:gd name="connsiteX13" fmla="*/ 556260 w 2583180"/>
                <a:gd name="connsiteY13" fmla="*/ 7620 h 2839528"/>
                <a:gd name="connsiteX14" fmla="*/ 419100 w 2583180"/>
                <a:gd name="connsiteY14" fmla="*/ 45720 h 2839528"/>
                <a:gd name="connsiteX15" fmla="*/ 274320 w 2583180"/>
                <a:gd name="connsiteY15" fmla="*/ 60960 h 2839528"/>
                <a:gd name="connsiteX16" fmla="*/ 213360 w 2583180"/>
                <a:gd name="connsiteY16" fmla="*/ 45720 h 2839528"/>
                <a:gd name="connsiteX17" fmla="*/ 144780 w 2583180"/>
                <a:gd name="connsiteY17" fmla="*/ 0 h 2839528"/>
                <a:gd name="connsiteX18" fmla="*/ 0 w 2583180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14600 w 2707555"/>
                <a:gd name="connsiteY3" fmla="*/ 2598420 h 2839528"/>
                <a:gd name="connsiteX4" fmla="*/ 2430780 w 2707555"/>
                <a:gd name="connsiteY4" fmla="*/ 2514600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14600 w 2707555"/>
                <a:gd name="connsiteY3" fmla="*/ 2598420 h 2839528"/>
                <a:gd name="connsiteX4" fmla="*/ 2497752 w 2707555"/>
                <a:gd name="connsiteY4" fmla="*/ 2459105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81572 w 2707555"/>
                <a:gd name="connsiteY3" fmla="*/ 2552174 h 2839528"/>
                <a:gd name="connsiteX4" fmla="*/ 2497752 w 2707555"/>
                <a:gd name="connsiteY4" fmla="*/ 2459105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688420"/>
                <a:gd name="connsiteY0" fmla="*/ 137160 h 2839528"/>
                <a:gd name="connsiteX1" fmla="*/ 2578015 w 2688420"/>
                <a:gd name="connsiteY1" fmla="*/ 2839528 h 2839528"/>
                <a:gd name="connsiteX2" fmla="*/ 2688420 w 2688420"/>
                <a:gd name="connsiteY2" fmla="*/ 2665371 h 2839528"/>
                <a:gd name="connsiteX3" fmla="*/ 2581572 w 2688420"/>
                <a:gd name="connsiteY3" fmla="*/ 2552174 h 2839528"/>
                <a:gd name="connsiteX4" fmla="*/ 2497752 w 2688420"/>
                <a:gd name="connsiteY4" fmla="*/ 2459105 h 2839528"/>
                <a:gd name="connsiteX5" fmla="*/ 2430780 w 2688420"/>
                <a:gd name="connsiteY5" fmla="*/ 2369820 h 2839528"/>
                <a:gd name="connsiteX6" fmla="*/ 2446020 w 2688420"/>
                <a:gd name="connsiteY6" fmla="*/ 2263140 h 2839528"/>
                <a:gd name="connsiteX7" fmla="*/ 2468880 w 2688420"/>
                <a:gd name="connsiteY7" fmla="*/ 2156460 h 2839528"/>
                <a:gd name="connsiteX8" fmla="*/ 2484120 w 2688420"/>
                <a:gd name="connsiteY8" fmla="*/ 2034540 h 2839528"/>
                <a:gd name="connsiteX9" fmla="*/ 2446020 w 2688420"/>
                <a:gd name="connsiteY9" fmla="*/ 1920240 h 2839528"/>
                <a:gd name="connsiteX10" fmla="*/ 2385060 w 2688420"/>
                <a:gd name="connsiteY10" fmla="*/ 1828800 h 2839528"/>
                <a:gd name="connsiteX11" fmla="*/ 800100 w 2688420"/>
                <a:gd name="connsiteY11" fmla="*/ 121920 h 2839528"/>
                <a:gd name="connsiteX12" fmla="*/ 701040 w 2688420"/>
                <a:gd name="connsiteY12" fmla="*/ 30480 h 2839528"/>
                <a:gd name="connsiteX13" fmla="*/ 556260 w 2688420"/>
                <a:gd name="connsiteY13" fmla="*/ 7620 h 2839528"/>
                <a:gd name="connsiteX14" fmla="*/ 419100 w 2688420"/>
                <a:gd name="connsiteY14" fmla="*/ 45720 h 2839528"/>
                <a:gd name="connsiteX15" fmla="*/ 274320 w 2688420"/>
                <a:gd name="connsiteY15" fmla="*/ 60960 h 2839528"/>
                <a:gd name="connsiteX16" fmla="*/ 213360 w 2688420"/>
                <a:gd name="connsiteY16" fmla="*/ 45720 h 2839528"/>
                <a:gd name="connsiteX17" fmla="*/ 144780 w 2688420"/>
                <a:gd name="connsiteY17" fmla="*/ 0 h 2839528"/>
                <a:gd name="connsiteX18" fmla="*/ 0 w 2688420"/>
                <a:gd name="connsiteY18" fmla="*/ 137160 h 2839528"/>
                <a:gd name="connsiteX0" fmla="*/ 0 w 2688420"/>
                <a:gd name="connsiteY0" fmla="*/ 137160 h 2793282"/>
                <a:gd name="connsiteX1" fmla="*/ 2539746 w 2688420"/>
                <a:gd name="connsiteY1" fmla="*/ 2793282 h 2793282"/>
                <a:gd name="connsiteX2" fmla="*/ 2688420 w 2688420"/>
                <a:gd name="connsiteY2" fmla="*/ 2665371 h 2793282"/>
                <a:gd name="connsiteX3" fmla="*/ 2581572 w 2688420"/>
                <a:gd name="connsiteY3" fmla="*/ 2552174 h 2793282"/>
                <a:gd name="connsiteX4" fmla="*/ 2497752 w 2688420"/>
                <a:gd name="connsiteY4" fmla="*/ 2459105 h 2793282"/>
                <a:gd name="connsiteX5" fmla="*/ 2430780 w 2688420"/>
                <a:gd name="connsiteY5" fmla="*/ 2369820 h 2793282"/>
                <a:gd name="connsiteX6" fmla="*/ 2446020 w 2688420"/>
                <a:gd name="connsiteY6" fmla="*/ 2263140 h 2793282"/>
                <a:gd name="connsiteX7" fmla="*/ 2468880 w 2688420"/>
                <a:gd name="connsiteY7" fmla="*/ 2156460 h 2793282"/>
                <a:gd name="connsiteX8" fmla="*/ 2484120 w 2688420"/>
                <a:gd name="connsiteY8" fmla="*/ 2034540 h 2793282"/>
                <a:gd name="connsiteX9" fmla="*/ 2446020 w 2688420"/>
                <a:gd name="connsiteY9" fmla="*/ 1920240 h 2793282"/>
                <a:gd name="connsiteX10" fmla="*/ 2385060 w 2688420"/>
                <a:gd name="connsiteY10" fmla="*/ 1828800 h 2793282"/>
                <a:gd name="connsiteX11" fmla="*/ 800100 w 2688420"/>
                <a:gd name="connsiteY11" fmla="*/ 121920 h 2793282"/>
                <a:gd name="connsiteX12" fmla="*/ 701040 w 2688420"/>
                <a:gd name="connsiteY12" fmla="*/ 30480 h 2793282"/>
                <a:gd name="connsiteX13" fmla="*/ 556260 w 2688420"/>
                <a:gd name="connsiteY13" fmla="*/ 7620 h 2793282"/>
                <a:gd name="connsiteX14" fmla="*/ 419100 w 2688420"/>
                <a:gd name="connsiteY14" fmla="*/ 45720 h 2793282"/>
                <a:gd name="connsiteX15" fmla="*/ 274320 w 2688420"/>
                <a:gd name="connsiteY15" fmla="*/ 60960 h 2793282"/>
                <a:gd name="connsiteX16" fmla="*/ 213360 w 2688420"/>
                <a:gd name="connsiteY16" fmla="*/ 45720 h 2793282"/>
                <a:gd name="connsiteX17" fmla="*/ 144780 w 2688420"/>
                <a:gd name="connsiteY17" fmla="*/ 0 h 2793282"/>
                <a:gd name="connsiteX18" fmla="*/ 0 w 2688420"/>
                <a:gd name="connsiteY18" fmla="*/ 137160 h 2793282"/>
                <a:gd name="connsiteX0" fmla="*/ 0 w 2770358"/>
                <a:gd name="connsiteY0" fmla="*/ 46036 h 2793282"/>
                <a:gd name="connsiteX1" fmla="*/ 2621684 w 2770358"/>
                <a:gd name="connsiteY1" fmla="*/ 2793282 h 2793282"/>
                <a:gd name="connsiteX2" fmla="*/ 2770358 w 2770358"/>
                <a:gd name="connsiteY2" fmla="*/ 2665371 h 2793282"/>
                <a:gd name="connsiteX3" fmla="*/ 2663510 w 2770358"/>
                <a:gd name="connsiteY3" fmla="*/ 2552174 h 2793282"/>
                <a:gd name="connsiteX4" fmla="*/ 2579690 w 2770358"/>
                <a:gd name="connsiteY4" fmla="*/ 2459105 h 2793282"/>
                <a:gd name="connsiteX5" fmla="*/ 2512718 w 2770358"/>
                <a:gd name="connsiteY5" fmla="*/ 2369820 h 2793282"/>
                <a:gd name="connsiteX6" fmla="*/ 2527958 w 2770358"/>
                <a:gd name="connsiteY6" fmla="*/ 2263140 h 2793282"/>
                <a:gd name="connsiteX7" fmla="*/ 2550818 w 2770358"/>
                <a:gd name="connsiteY7" fmla="*/ 2156460 h 2793282"/>
                <a:gd name="connsiteX8" fmla="*/ 2566058 w 2770358"/>
                <a:gd name="connsiteY8" fmla="*/ 2034540 h 2793282"/>
                <a:gd name="connsiteX9" fmla="*/ 2527958 w 2770358"/>
                <a:gd name="connsiteY9" fmla="*/ 1920240 h 2793282"/>
                <a:gd name="connsiteX10" fmla="*/ 2466998 w 2770358"/>
                <a:gd name="connsiteY10" fmla="*/ 1828800 h 2793282"/>
                <a:gd name="connsiteX11" fmla="*/ 882038 w 2770358"/>
                <a:gd name="connsiteY11" fmla="*/ 121920 h 2793282"/>
                <a:gd name="connsiteX12" fmla="*/ 782978 w 2770358"/>
                <a:gd name="connsiteY12" fmla="*/ 30480 h 2793282"/>
                <a:gd name="connsiteX13" fmla="*/ 638198 w 2770358"/>
                <a:gd name="connsiteY13" fmla="*/ 7620 h 2793282"/>
                <a:gd name="connsiteX14" fmla="*/ 501038 w 2770358"/>
                <a:gd name="connsiteY14" fmla="*/ 45720 h 2793282"/>
                <a:gd name="connsiteX15" fmla="*/ 356258 w 2770358"/>
                <a:gd name="connsiteY15" fmla="*/ 60960 h 2793282"/>
                <a:gd name="connsiteX16" fmla="*/ 295298 w 2770358"/>
                <a:gd name="connsiteY16" fmla="*/ 45720 h 2793282"/>
                <a:gd name="connsiteX17" fmla="*/ 226718 w 2770358"/>
                <a:gd name="connsiteY17" fmla="*/ 0 h 2793282"/>
                <a:gd name="connsiteX18" fmla="*/ 0 w 2770358"/>
                <a:gd name="connsiteY18" fmla="*/ 46036 h 2793282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501038 w 2770358"/>
                <a:gd name="connsiteY14" fmla="*/ 38127 h 2785689"/>
                <a:gd name="connsiteX15" fmla="*/ 356258 w 2770358"/>
                <a:gd name="connsiteY15" fmla="*/ 53367 h 2785689"/>
                <a:gd name="connsiteX16" fmla="*/ 295298 w 2770358"/>
                <a:gd name="connsiteY16" fmla="*/ 38127 h 2785689"/>
                <a:gd name="connsiteX17" fmla="*/ 169717 w 2770358"/>
                <a:gd name="connsiteY17" fmla="*/ 0 h 2785689"/>
                <a:gd name="connsiteX18" fmla="*/ 0 w 2770358"/>
                <a:gd name="connsiteY18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501038 w 2770358"/>
                <a:gd name="connsiteY14" fmla="*/ 38127 h 2785689"/>
                <a:gd name="connsiteX15" fmla="*/ 356258 w 2770358"/>
                <a:gd name="connsiteY15" fmla="*/ 53367 h 2785689"/>
                <a:gd name="connsiteX16" fmla="*/ 227610 w 2770358"/>
                <a:gd name="connsiteY16" fmla="*/ 53315 h 2785689"/>
                <a:gd name="connsiteX17" fmla="*/ 169717 w 2770358"/>
                <a:gd name="connsiteY17" fmla="*/ 0 h 2785689"/>
                <a:gd name="connsiteX18" fmla="*/ 0 w 2770358"/>
                <a:gd name="connsiteY18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356258 w 2770358"/>
                <a:gd name="connsiteY14" fmla="*/ 53367 h 2785689"/>
                <a:gd name="connsiteX15" fmla="*/ 227610 w 2770358"/>
                <a:gd name="connsiteY15" fmla="*/ 53315 h 2785689"/>
                <a:gd name="connsiteX16" fmla="*/ 169717 w 2770358"/>
                <a:gd name="connsiteY16" fmla="*/ 0 h 2785689"/>
                <a:gd name="connsiteX17" fmla="*/ 0 w 2770358"/>
                <a:gd name="connsiteY17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67788 w 2770358"/>
                <a:gd name="connsiteY11" fmla="*/ 140905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356258 w 2770358"/>
                <a:gd name="connsiteY14" fmla="*/ 53367 h 2785689"/>
                <a:gd name="connsiteX15" fmla="*/ 227610 w 2770358"/>
                <a:gd name="connsiteY15" fmla="*/ 53315 h 2785689"/>
                <a:gd name="connsiteX16" fmla="*/ 169717 w 2770358"/>
                <a:gd name="connsiteY16" fmla="*/ 0 h 2785689"/>
                <a:gd name="connsiteX17" fmla="*/ 0 w 2770358"/>
                <a:gd name="connsiteY17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67788 w 2770358"/>
                <a:gd name="connsiteY11" fmla="*/ 140905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07226 w 2770358"/>
                <a:gd name="connsiteY11" fmla="*/ 64969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07226 w 2770358"/>
                <a:gd name="connsiteY11" fmla="*/ 64969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45767 h 2793013"/>
                <a:gd name="connsiteX1" fmla="*/ 2621684 w 2770358"/>
                <a:gd name="connsiteY1" fmla="*/ 2793013 h 2793013"/>
                <a:gd name="connsiteX2" fmla="*/ 2770358 w 2770358"/>
                <a:gd name="connsiteY2" fmla="*/ 2665102 h 2793013"/>
                <a:gd name="connsiteX3" fmla="*/ 2663510 w 2770358"/>
                <a:gd name="connsiteY3" fmla="*/ 2551905 h 2793013"/>
                <a:gd name="connsiteX4" fmla="*/ 2579690 w 2770358"/>
                <a:gd name="connsiteY4" fmla="*/ 2458836 h 2793013"/>
                <a:gd name="connsiteX5" fmla="*/ 2512718 w 2770358"/>
                <a:gd name="connsiteY5" fmla="*/ 2369551 h 2793013"/>
                <a:gd name="connsiteX6" fmla="*/ 2527958 w 2770358"/>
                <a:gd name="connsiteY6" fmla="*/ 2262871 h 2793013"/>
                <a:gd name="connsiteX7" fmla="*/ 2550818 w 2770358"/>
                <a:gd name="connsiteY7" fmla="*/ 2156191 h 2793013"/>
                <a:gd name="connsiteX8" fmla="*/ 2566058 w 2770358"/>
                <a:gd name="connsiteY8" fmla="*/ 2034271 h 2793013"/>
                <a:gd name="connsiteX9" fmla="*/ 2527958 w 2770358"/>
                <a:gd name="connsiteY9" fmla="*/ 1919971 h 2793013"/>
                <a:gd name="connsiteX10" fmla="*/ 2466998 w 2770358"/>
                <a:gd name="connsiteY10" fmla="*/ 1828531 h 2793013"/>
                <a:gd name="connsiteX11" fmla="*/ 807226 w 2770358"/>
                <a:gd name="connsiteY11" fmla="*/ 72293 h 2793013"/>
                <a:gd name="connsiteX12" fmla="*/ 638198 w 2770358"/>
                <a:gd name="connsiteY12" fmla="*/ 7351 h 2793013"/>
                <a:gd name="connsiteX13" fmla="*/ 356258 w 2770358"/>
                <a:gd name="connsiteY13" fmla="*/ 60691 h 2793013"/>
                <a:gd name="connsiteX14" fmla="*/ 227610 w 2770358"/>
                <a:gd name="connsiteY14" fmla="*/ 60639 h 2793013"/>
                <a:gd name="connsiteX15" fmla="*/ 169717 w 2770358"/>
                <a:gd name="connsiteY15" fmla="*/ 7324 h 2793013"/>
                <a:gd name="connsiteX16" fmla="*/ 0 w 2770358"/>
                <a:gd name="connsiteY16" fmla="*/ 45767 h 2793013"/>
                <a:gd name="connsiteX0" fmla="*/ 0 w 2770358"/>
                <a:gd name="connsiteY0" fmla="*/ 45767 h 2665102"/>
                <a:gd name="connsiteX1" fmla="*/ 2384318 w 2770358"/>
                <a:gd name="connsiteY1" fmla="*/ 2606666 h 2665102"/>
                <a:gd name="connsiteX2" fmla="*/ 2770358 w 2770358"/>
                <a:gd name="connsiteY2" fmla="*/ 2665102 h 2665102"/>
                <a:gd name="connsiteX3" fmla="*/ 2663510 w 2770358"/>
                <a:gd name="connsiteY3" fmla="*/ 2551905 h 2665102"/>
                <a:gd name="connsiteX4" fmla="*/ 2579690 w 2770358"/>
                <a:gd name="connsiteY4" fmla="*/ 2458836 h 2665102"/>
                <a:gd name="connsiteX5" fmla="*/ 2512718 w 2770358"/>
                <a:gd name="connsiteY5" fmla="*/ 2369551 h 2665102"/>
                <a:gd name="connsiteX6" fmla="*/ 2527958 w 2770358"/>
                <a:gd name="connsiteY6" fmla="*/ 2262871 h 2665102"/>
                <a:gd name="connsiteX7" fmla="*/ 2550818 w 2770358"/>
                <a:gd name="connsiteY7" fmla="*/ 2156191 h 2665102"/>
                <a:gd name="connsiteX8" fmla="*/ 2566058 w 2770358"/>
                <a:gd name="connsiteY8" fmla="*/ 2034271 h 2665102"/>
                <a:gd name="connsiteX9" fmla="*/ 2527958 w 2770358"/>
                <a:gd name="connsiteY9" fmla="*/ 1919971 h 2665102"/>
                <a:gd name="connsiteX10" fmla="*/ 2466998 w 2770358"/>
                <a:gd name="connsiteY10" fmla="*/ 1828531 h 2665102"/>
                <a:gd name="connsiteX11" fmla="*/ 807226 w 2770358"/>
                <a:gd name="connsiteY11" fmla="*/ 72293 h 2665102"/>
                <a:gd name="connsiteX12" fmla="*/ 638198 w 2770358"/>
                <a:gd name="connsiteY12" fmla="*/ 7351 h 2665102"/>
                <a:gd name="connsiteX13" fmla="*/ 356258 w 2770358"/>
                <a:gd name="connsiteY13" fmla="*/ 60691 h 2665102"/>
                <a:gd name="connsiteX14" fmla="*/ 227610 w 2770358"/>
                <a:gd name="connsiteY14" fmla="*/ 60639 h 2665102"/>
                <a:gd name="connsiteX15" fmla="*/ 169717 w 2770358"/>
                <a:gd name="connsiteY15" fmla="*/ 7324 h 2665102"/>
                <a:gd name="connsiteX16" fmla="*/ 0 w 2770358"/>
                <a:gd name="connsiteY16" fmla="*/ 45767 h 2665102"/>
                <a:gd name="connsiteX0" fmla="*/ 0 w 2663510"/>
                <a:gd name="connsiteY0" fmla="*/ 45767 h 2606666"/>
                <a:gd name="connsiteX1" fmla="*/ 2384318 w 2663510"/>
                <a:gd name="connsiteY1" fmla="*/ 2606666 h 2606666"/>
                <a:gd name="connsiteX2" fmla="*/ 2501039 w 2663510"/>
                <a:gd name="connsiteY2" fmla="*/ 2471494 h 2606666"/>
                <a:gd name="connsiteX3" fmla="*/ 2663510 w 2663510"/>
                <a:gd name="connsiteY3" fmla="*/ 2551905 h 2606666"/>
                <a:gd name="connsiteX4" fmla="*/ 2579690 w 2663510"/>
                <a:gd name="connsiteY4" fmla="*/ 2458836 h 2606666"/>
                <a:gd name="connsiteX5" fmla="*/ 2512718 w 2663510"/>
                <a:gd name="connsiteY5" fmla="*/ 2369551 h 2606666"/>
                <a:gd name="connsiteX6" fmla="*/ 2527958 w 2663510"/>
                <a:gd name="connsiteY6" fmla="*/ 2262871 h 2606666"/>
                <a:gd name="connsiteX7" fmla="*/ 2550818 w 2663510"/>
                <a:gd name="connsiteY7" fmla="*/ 2156191 h 2606666"/>
                <a:gd name="connsiteX8" fmla="*/ 2566058 w 2663510"/>
                <a:gd name="connsiteY8" fmla="*/ 2034271 h 2606666"/>
                <a:gd name="connsiteX9" fmla="*/ 2527958 w 2663510"/>
                <a:gd name="connsiteY9" fmla="*/ 1919971 h 2606666"/>
                <a:gd name="connsiteX10" fmla="*/ 2466998 w 2663510"/>
                <a:gd name="connsiteY10" fmla="*/ 1828531 h 2606666"/>
                <a:gd name="connsiteX11" fmla="*/ 807226 w 2663510"/>
                <a:gd name="connsiteY11" fmla="*/ 72293 h 2606666"/>
                <a:gd name="connsiteX12" fmla="*/ 638198 w 2663510"/>
                <a:gd name="connsiteY12" fmla="*/ 7351 h 2606666"/>
                <a:gd name="connsiteX13" fmla="*/ 356258 w 2663510"/>
                <a:gd name="connsiteY13" fmla="*/ 60691 h 2606666"/>
                <a:gd name="connsiteX14" fmla="*/ 227610 w 2663510"/>
                <a:gd name="connsiteY14" fmla="*/ 60639 h 2606666"/>
                <a:gd name="connsiteX15" fmla="*/ 169717 w 2663510"/>
                <a:gd name="connsiteY15" fmla="*/ 7324 h 2606666"/>
                <a:gd name="connsiteX16" fmla="*/ 0 w 2663510"/>
                <a:gd name="connsiteY16" fmla="*/ 45767 h 2606666"/>
                <a:gd name="connsiteX0" fmla="*/ 0 w 2579690"/>
                <a:gd name="connsiteY0" fmla="*/ 45767 h 2606666"/>
                <a:gd name="connsiteX1" fmla="*/ 2384318 w 2579690"/>
                <a:gd name="connsiteY1" fmla="*/ 2606666 h 2606666"/>
                <a:gd name="connsiteX2" fmla="*/ 2501039 w 2579690"/>
                <a:gd name="connsiteY2" fmla="*/ 2471494 h 2606666"/>
                <a:gd name="connsiteX3" fmla="*/ 2460379 w 2579690"/>
                <a:gd name="connsiteY3" fmla="*/ 2367977 h 2606666"/>
                <a:gd name="connsiteX4" fmla="*/ 2579690 w 2579690"/>
                <a:gd name="connsiteY4" fmla="*/ 2458836 h 2606666"/>
                <a:gd name="connsiteX5" fmla="*/ 2512718 w 2579690"/>
                <a:gd name="connsiteY5" fmla="*/ 2369551 h 2606666"/>
                <a:gd name="connsiteX6" fmla="*/ 2527958 w 2579690"/>
                <a:gd name="connsiteY6" fmla="*/ 2262871 h 2606666"/>
                <a:gd name="connsiteX7" fmla="*/ 2550818 w 2579690"/>
                <a:gd name="connsiteY7" fmla="*/ 2156191 h 2606666"/>
                <a:gd name="connsiteX8" fmla="*/ 2566058 w 2579690"/>
                <a:gd name="connsiteY8" fmla="*/ 2034271 h 2606666"/>
                <a:gd name="connsiteX9" fmla="*/ 2527958 w 2579690"/>
                <a:gd name="connsiteY9" fmla="*/ 1919971 h 2606666"/>
                <a:gd name="connsiteX10" fmla="*/ 2466998 w 2579690"/>
                <a:gd name="connsiteY10" fmla="*/ 1828531 h 2606666"/>
                <a:gd name="connsiteX11" fmla="*/ 807226 w 2579690"/>
                <a:gd name="connsiteY11" fmla="*/ 72293 h 2606666"/>
                <a:gd name="connsiteX12" fmla="*/ 638198 w 2579690"/>
                <a:gd name="connsiteY12" fmla="*/ 7351 h 2606666"/>
                <a:gd name="connsiteX13" fmla="*/ 356258 w 2579690"/>
                <a:gd name="connsiteY13" fmla="*/ 60691 h 2606666"/>
                <a:gd name="connsiteX14" fmla="*/ 227610 w 2579690"/>
                <a:gd name="connsiteY14" fmla="*/ 60639 h 2606666"/>
                <a:gd name="connsiteX15" fmla="*/ 169717 w 2579690"/>
                <a:gd name="connsiteY15" fmla="*/ 7324 h 2606666"/>
                <a:gd name="connsiteX16" fmla="*/ 0 w 2579690"/>
                <a:gd name="connsiteY16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12718 w 2566058"/>
                <a:gd name="connsiteY4" fmla="*/ 2369551 h 2606666"/>
                <a:gd name="connsiteX5" fmla="*/ 2527958 w 2566058"/>
                <a:gd name="connsiteY5" fmla="*/ 2262871 h 2606666"/>
                <a:gd name="connsiteX6" fmla="*/ 2550818 w 2566058"/>
                <a:gd name="connsiteY6" fmla="*/ 2156191 h 2606666"/>
                <a:gd name="connsiteX7" fmla="*/ 2566058 w 2566058"/>
                <a:gd name="connsiteY7" fmla="*/ 2034271 h 2606666"/>
                <a:gd name="connsiteX8" fmla="*/ 2527958 w 2566058"/>
                <a:gd name="connsiteY8" fmla="*/ 1919971 h 2606666"/>
                <a:gd name="connsiteX9" fmla="*/ 2466998 w 2566058"/>
                <a:gd name="connsiteY9" fmla="*/ 1828531 h 2606666"/>
                <a:gd name="connsiteX10" fmla="*/ 807226 w 2566058"/>
                <a:gd name="connsiteY10" fmla="*/ 72293 h 2606666"/>
                <a:gd name="connsiteX11" fmla="*/ 638198 w 2566058"/>
                <a:gd name="connsiteY11" fmla="*/ 7351 h 2606666"/>
                <a:gd name="connsiteX12" fmla="*/ 356258 w 2566058"/>
                <a:gd name="connsiteY12" fmla="*/ 60691 h 2606666"/>
                <a:gd name="connsiteX13" fmla="*/ 227610 w 2566058"/>
                <a:gd name="connsiteY13" fmla="*/ 60639 h 2606666"/>
                <a:gd name="connsiteX14" fmla="*/ 169717 w 2566058"/>
                <a:gd name="connsiteY14" fmla="*/ 7324 h 2606666"/>
                <a:gd name="connsiteX15" fmla="*/ 0 w 2566058"/>
                <a:gd name="connsiteY15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27958 w 2566058"/>
                <a:gd name="connsiteY4" fmla="*/ 2262871 h 2606666"/>
                <a:gd name="connsiteX5" fmla="*/ 2550818 w 2566058"/>
                <a:gd name="connsiteY5" fmla="*/ 2156191 h 2606666"/>
                <a:gd name="connsiteX6" fmla="*/ 2566058 w 2566058"/>
                <a:gd name="connsiteY6" fmla="*/ 2034271 h 2606666"/>
                <a:gd name="connsiteX7" fmla="*/ 2527958 w 2566058"/>
                <a:gd name="connsiteY7" fmla="*/ 1919971 h 2606666"/>
                <a:gd name="connsiteX8" fmla="*/ 2466998 w 2566058"/>
                <a:gd name="connsiteY8" fmla="*/ 1828531 h 2606666"/>
                <a:gd name="connsiteX9" fmla="*/ 807226 w 2566058"/>
                <a:gd name="connsiteY9" fmla="*/ 72293 h 2606666"/>
                <a:gd name="connsiteX10" fmla="*/ 638198 w 2566058"/>
                <a:gd name="connsiteY10" fmla="*/ 7351 h 2606666"/>
                <a:gd name="connsiteX11" fmla="*/ 356258 w 2566058"/>
                <a:gd name="connsiteY11" fmla="*/ 60691 h 2606666"/>
                <a:gd name="connsiteX12" fmla="*/ 227610 w 2566058"/>
                <a:gd name="connsiteY12" fmla="*/ 60639 h 2606666"/>
                <a:gd name="connsiteX13" fmla="*/ 169717 w 2566058"/>
                <a:gd name="connsiteY13" fmla="*/ 7324 h 2606666"/>
                <a:gd name="connsiteX14" fmla="*/ 0 w 2566058"/>
                <a:gd name="connsiteY14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50818 w 2566058"/>
                <a:gd name="connsiteY4" fmla="*/ 2156191 h 2606666"/>
                <a:gd name="connsiteX5" fmla="*/ 2566058 w 2566058"/>
                <a:gd name="connsiteY5" fmla="*/ 2034271 h 2606666"/>
                <a:gd name="connsiteX6" fmla="*/ 2527958 w 2566058"/>
                <a:gd name="connsiteY6" fmla="*/ 1919971 h 2606666"/>
                <a:gd name="connsiteX7" fmla="*/ 2466998 w 2566058"/>
                <a:gd name="connsiteY7" fmla="*/ 1828531 h 2606666"/>
                <a:gd name="connsiteX8" fmla="*/ 807226 w 2566058"/>
                <a:gd name="connsiteY8" fmla="*/ 72293 h 2606666"/>
                <a:gd name="connsiteX9" fmla="*/ 638198 w 2566058"/>
                <a:gd name="connsiteY9" fmla="*/ 7351 h 2606666"/>
                <a:gd name="connsiteX10" fmla="*/ 356258 w 2566058"/>
                <a:gd name="connsiteY10" fmla="*/ 60691 h 2606666"/>
                <a:gd name="connsiteX11" fmla="*/ 227610 w 2566058"/>
                <a:gd name="connsiteY11" fmla="*/ 60639 h 2606666"/>
                <a:gd name="connsiteX12" fmla="*/ 169717 w 2566058"/>
                <a:gd name="connsiteY12" fmla="*/ 7324 h 2606666"/>
                <a:gd name="connsiteX13" fmla="*/ 0 w 2566058"/>
                <a:gd name="connsiteY13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66058 w 2566058"/>
                <a:gd name="connsiteY4" fmla="*/ 2034271 h 2606666"/>
                <a:gd name="connsiteX5" fmla="*/ 2527958 w 2566058"/>
                <a:gd name="connsiteY5" fmla="*/ 1919971 h 2606666"/>
                <a:gd name="connsiteX6" fmla="*/ 2466998 w 2566058"/>
                <a:gd name="connsiteY6" fmla="*/ 1828531 h 2606666"/>
                <a:gd name="connsiteX7" fmla="*/ 807226 w 2566058"/>
                <a:gd name="connsiteY7" fmla="*/ 72293 h 2606666"/>
                <a:gd name="connsiteX8" fmla="*/ 638198 w 2566058"/>
                <a:gd name="connsiteY8" fmla="*/ 7351 h 2606666"/>
                <a:gd name="connsiteX9" fmla="*/ 356258 w 2566058"/>
                <a:gd name="connsiteY9" fmla="*/ 60691 h 2606666"/>
                <a:gd name="connsiteX10" fmla="*/ 227610 w 2566058"/>
                <a:gd name="connsiteY10" fmla="*/ 60639 h 2606666"/>
                <a:gd name="connsiteX11" fmla="*/ 169717 w 2566058"/>
                <a:gd name="connsiteY11" fmla="*/ 7324 h 2606666"/>
                <a:gd name="connsiteX12" fmla="*/ 0 w 2566058"/>
                <a:gd name="connsiteY12" fmla="*/ 45767 h 2606666"/>
                <a:gd name="connsiteX0" fmla="*/ 0 w 2527958"/>
                <a:gd name="connsiteY0" fmla="*/ 45767 h 2606666"/>
                <a:gd name="connsiteX1" fmla="*/ 2384318 w 2527958"/>
                <a:gd name="connsiteY1" fmla="*/ 2606666 h 2606666"/>
                <a:gd name="connsiteX2" fmla="*/ 2501039 w 2527958"/>
                <a:gd name="connsiteY2" fmla="*/ 2471494 h 2606666"/>
                <a:gd name="connsiteX3" fmla="*/ 2460379 w 2527958"/>
                <a:gd name="connsiteY3" fmla="*/ 2367977 h 2606666"/>
                <a:gd name="connsiteX4" fmla="*/ 2527958 w 2527958"/>
                <a:gd name="connsiteY4" fmla="*/ 1919971 h 2606666"/>
                <a:gd name="connsiteX5" fmla="*/ 2466998 w 2527958"/>
                <a:gd name="connsiteY5" fmla="*/ 1828531 h 2606666"/>
                <a:gd name="connsiteX6" fmla="*/ 807226 w 2527958"/>
                <a:gd name="connsiteY6" fmla="*/ 72293 h 2606666"/>
                <a:gd name="connsiteX7" fmla="*/ 638198 w 2527958"/>
                <a:gd name="connsiteY7" fmla="*/ 7351 h 2606666"/>
                <a:gd name="connsiteX8" fmla="*/ 356258 w 2527958"/>
                <a:gd name="connsiteY8" fmla="*/ 60691 h 2606666"/>
                <a:gd name="connsiteX9" fmla="*/ 227610 w 2527958"/>
                <a:gd name="connsiteY9" fmla="*/ 60639 h 2606666"/>
                <a:gd name="connsiteX10" fmla="*/ 169717 w 2527958"/>
                <a:gd name="connsiteY10" fmla="*/ 7324 h 2606666"/>
                <a:gd name="connsiteX11" fmla="*/ 0 w 2527958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28531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47892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47892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60379 w 2511019"/>
                <a:gd name="connsiteY3" fmla="*/ 2367977 h 2606666"/>
                <a:gd name="connsiteX4" fmla="*/ 2509699 w 2511019"/>
                <a:gd name="connsiteY4" fmla="*/ 1968373 h 2606666"/>
                <a:gd name="connsiteX5" fmla="*/ 2466998 w 2511019"/>
                <a:gd name="connsiteY5" fmla="*/ 1847892 h 2606666"/>
                <a:gd name="connsiteX6" fmla="*/ 807226 w 2511019"/>
                <a:gd name="connsiteY6" fmla="*/ 72293 h 2606666"/>
                <a:gd name="connsiteX7" fmla="*/ 638198 w 2511019"/>
                <a:gd name="connsiteY7" fmla="*/ 7351 h 2606666"/>
                <a:gd name="connsiteX8" fmla="*/ 356258 w 2511019"/>
                <a:gd name="connsiteY8" fmla="*/ 60691 h 2606666"/>
                <a:gd name="connsiteX9" fmla="*/ 227610 w 2511019"/>
                <a:gd name="connsiteY9" fmla="*/ 60639 h 2606666"/>
                <a:gd name="connsiteX10" fmla="*/ 169717 w 2511019"/>
                <a:gd name="connsiteY10" fmla="*/ 7324 h 2606666"/>
                <a:gd name="connsiteX11" fmla="*/ 0 w 2511019"/>
                <a:gd name="connsiteY11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2454 w 2511019"/>
                <a:gd name="connsiteY3" fmla="*/ 2420332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7435 w 2511019"/>
                <a:gd name="connsiteY11" fmla="*/ 9743 h 2606666"/>
                <a:gd name="connsiteX12" fmla="*/ 0 w 2511019"/>
                <a:gd name="connsiteY12" fmla="*/ 45767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9469 w 2522878"/>
                <a:gd name="connsiteY10" fmla="*/ 60639 h 2606666"/>
                <a:gd name="connsiteX11" fmla="*/ 179294 w 2522878"/>
                <a:gd name="connsiteY11" fmla="*/ 974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9469 w 2522878"/>
                <a:gd name="connsiteY10" fmla="*/ 60639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0569 w 2522878"/>
                <a:gd name="connsiteY10" fmla="*/ 90273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6441 w 2522878"/>
                <a:gd name="connsiteY9" fmla="*/ 89792 h 2606666"/>
                <a:gd name="connsiteX10" fmla="*/ 230569 w 2522878"/>
                <a:gd name="connsiteY10" fmla="*/ 90273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18209 h 2596824"/>
                <a:gd name="connsiteX1" fmla="*/ 2396177 w 2522878"/>
                <a:gd name="connsiteY1" fmla="*/ 2596824 h 2596824"/>
                <a:gd name="connsiteX2" fmla="*/ 2512898 w 2522878"/>
                <a:gd name="connsiteY2" fmla="*/ 2461652 h 2596824"/>
                <a:gd name="connsiteX3" fmla="*/ 2492031 w 2522878"/>
                <a:gd name="connsiteY3" fmla="*/ 2425011 h 2596824"/>
                <a:gd name="connsiteX4" fmla="*/ 2479085 w 2522878"/>
                <a:gd name="connsiteY4" fmla="*/ 2346035 h 2596824"/>
                <a:gd name="connsiteX5" fmla="*/ 2521558 w 2522878"/>
                <a:gd name="connsiteY5" fmla="*/ 1958531 h 2596824"/>
                <a:gd name="connsiteX6" fmla="*/ 2478857 w 2522878"/>
                <a:gd name="connsiteY6" fmla="*/ 1838050 h 2596824"/>
                <a:gd name="connsiteX7" fmla="*/ 819085 w 2522878"/>
                <a:gd name="connsiteY7" fmla="*/ 62451 h 2596824"/>
                <a:gd name="connsiteX8" fmla="*/ 625398 w 2522878"/>
                <a:gd name="connsiteY8" fmla="*/ 10475 h 2596824"/>
                <a:gd name="connsiteX9" fmla="*/ 346441 w 2522878"/>
                <a:gd name="connsiteY9" fmla="*/ 79950 h 2596824"/>
                <a:gd name="connsiteX10" fmla="*/ 230569 w 2522878"/>
                <a:gd name="connsiteY10" fmla="*/ 80431 h 2596824"/>
                <a:gd name="connsiteX11" fmla="*/ 165827 w 2522878"/>
                <a:gd name="connsiteY11" fmla="*/ 41441 h 2596824"/>
                <a:gd name="connsiteX12" fmla="*/ -1 w 2522878"/>
                <a:gd name="connsiteY12" fmla="*/ 118209 h 2596824"/>
                <a:gd name="connsiteX0" fmla="*/ -1 w 2522878"/>
                <a:gd name="connsiteY0" fmla="*/ 113920 h 2592535"/>
                <a:gd name="connsiteX1" fmla="*/ 2396177 w 2522878"/>
                <a:gd name="connsiteY1" fmla="*/ 2592535 h 2592535"/>
                <a:gd name="connsiteX2" fmla="*/ 2512898 w 2522878"/>
                <a:gd name="connsiteY2" fmla="*/ 2457363 h 2592535"/>
                <a:gd name="connsiteX3" fmla="*/ 2492031 w 2522878"/>
                <a:gd name="connsiteY3" fmla="*/ 2420722 h 2592535"/>
                <a:gd name="connsiteX4" fmla="*/ 2479085 w 2522878"/>
                <a:gd name="connsiteY4" fmla="*/ 2341746 h 2592535"/>
                <a:gd name="connsiteX5" fmla="*/ 2521558 w 2522878"/>
                <a:gd name="connsiteY5" fmla="*/ 1954242 h 2592535"/>
                <a:gd name="connsiteX6" fmla="*/ 2478857 w 2522878"/>
                <a:gd name="connsiteY6" fmla="*/ 1833761 h 2592535"/>
                <a:gd name="connsiteX7" fmla="*/ 774555 w 2522878"/>
                <a:gd name="connsiteY7" fmla="*/ 78014 h 2592535"/>
                <a:gd name="connsiteX8" fmla="*/ 625398 w 2522878"/>
                <a:gd name="connsiteY8" fmla="*/ 6186 h 2592535"/>
                <a:gd name="connsiteX9" fmla="*/ 346441 w 2522878"/>
                <a:gd name="connsiteY9" fmla="*/ 75661 h 2592535"/>
                <a:gd name="connsiteX10" fmla="*/ 230569 w 2522878"/>
                <a:gd name="connsiteY10" fmla="*/ 76142 h 2592535"/>
                <a:gd name="connsiteX11" fmla="*/ 165827 w 2522878"/>
                <a:gd name="connsiteY11" fmla="*/ 37152 h 2592535"/>
                <a:gd name="connsiteX12" fmla="*/ -1 w 2522878"/>
                <a:gd name="connsiteY12" fmla="*/ 113920 h 2592535"/>
                <a:gd name="connsiteX0" fmla="*/ -1 w 2522878"/>
                <a:gd name="connsiteY0" fmla="*/ 113920 h 2581494"/>
                <a:gd name="connsiteX1" fmla="*/ 2400385 w 2522878"/>
                <a:gd name="connsiteY1" fmla="*/ 2581495 h 2581494"/>
                <a:gd name="connsiteX2" fmla="*/ 2512898 w 2522878"/>
                <a:gd name="connsiteY2" fmla="*/ 2457363 h 2581494"/>
                <a:gd name="connsiteX3" fmla="*/ 2492031 w 2522878"/>
                <a:gd name="connsiteY3" fmla="*/ 2420722 h 2581494"/>
                <a:gd name="connsiteX4" fmla="*/ 2479085 w 2522878"/>
                <a:gd name="connsiteY4" fmla="*/ 2341746 h 2581494"/>
                <a:gd name="connsiteX5" fmla="*/ 2521558 w 2522878"/>
                <a:gd name="connsiteY5" fmla="*/ 1954242 h 2581494"/>
                <a:gd name="connsiteX6" fmla="*/ 2478857 w 2522878"/>
                <a:gd name="connsiteY6" fmla="*/ 1833761 h 2581494"/>
                <a:gd name="connsiteX7" fmla="*/ 774555 w 2522878"/>
                <a:gd name="connsiteY7" fmla="*/ 78014 h 2581494"/>
                <a:gd name="connsiteX8" fmla="*/ 625398 w 2522878"/>
                <a:gd name="connsiteY8" fmla="*/ 6186 h 2581494"/>
                <a:gd name="connsiteX9" fmla="*/ 346441 w 2522878"/>
                <a:gd name="connsiteY9" fmla="*/ 75661 h 2581494"/>
                <a:gd name="connsiteX10" fmla="*/ 230569 w 2522878"/>
                <a:gd name="connsiteY10" fmla="*/ 76142 h 2581494"/>
                <a:gd name="connsiteX11" fmla="*/ 165827 w 2522878"/>
                <a:gd name="connsiteY11" fmla="*/ 37152 h 2581494"/>
                <a:gd name="connsiteX12" fmla="*/ -1 w 2522878"/>
                <a:gd name="connsiteY12" fmla="*/ 113920 h 258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2878" h="2581494">
                  <a:moveTo>
                    <a:pt x="-1" y="113920"/>
                  </a:moveTo>
                  <a:lnTo>
                    <a:pt x="2400385" y="2581495"/>
                  </a:lnTo>
                  <a:lnTo>
                    <a:pt x="2512898" y="2457363"/>
                  </a:lnTo>
                  <a:lnTo>
                    <a:pt x="2492031" y="2420722"/>
                  </a:lnTo>
                  <a:cubicBezTo>
                    <a:pt x="2478586" y="2398430"/>
                    <a:pt x="2476554" y="2376138"/>
                    <a:pt x="2479085" y="2341746"/>
                  </a:cubicBezTo>
                  <a:lnTo>
                    <a:pt x="2521558" y="1954242"/>
                  </a:lnTo>
                  <a:cubicBezTo>
                    <a:pt x="2525583" y="1918922"/>
                    <a:pt x="2522763" y="1878762"/>
                    <a:pt x="2478857" y="1833761"/>
                  </a:cubicBezTo>
                  <a:lnTo>
                    <a:pt x="774555" y="78014"/>
                  </a:lnTo>
                  <a:cubicBezTo>
                    <a:pt x="711087" y="3211"/>
                    <a:pt x="699553" y="-10136"/>
                    <a:pt x="625398" y="6186"/>
                  </a:cubicBezTo>
                  <a:lnTo>
                    <a:pt x="346441" y="75661"/>
                  </a:lnTo>
                  <a:cubicBezTo>
                    <a:pt x="288343" y="82904"/>
                    <a:pt x="270407" y="90679"/>
                    <a:pt x="230569" y="76142"/>
                  </a:cubicBezTo>
                  <a:lnTo>
                    <a:pt x="165827" y="37152"/>
                  </a:lnTo>
                  <a:lnTo>
                    <a:pt x="-1" y="113920"/>
                  </a:lnTo>
                  <a:close/>
                </a:path>
              </a:pathLst>
            </a:custGeom>
            <a:solidFill>
              <a:srgbClr val="C0000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G014/T112S">
              <a:extLst>
                <a:ext uri="{FF2B5EF4-FFF2-40B4-BE49-F238E27FC236}">
                  <a16:creationId xmlns:a16="http://schemas.microsoft.com/office/drawing/2014/main" id="{B2B1663A-C70D-49B9-9C58-B25136794A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56838" y="6457773"/>
              <a:ext cx="350649" cy="204951"/>
            </a:xfrm>
            <a:custGeom>
              <a:avLst/>
              <a:gdLst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35280 h 914400"/>
                <a:gd name="connsiteX4" fmla="*/ 205740 w 982980"/>
                <a:gd name="connsiteY4" fmla="*/ 586740 h 914400"/>
                <a:gd name="connsiteX5" fmla="*/ 792480 w 982980"/>
                <a:gd name="connsiteY5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3528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1242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44780 w 982980"/>
                <a:gd name="connsiteY2" fmla="*/ 0 h 914400"/>
                <a:gd name="connsiteX3" fmla="*/ 0 w 982980"/>
                <a:gd name="connsiteY3" fmla="*/ 31242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90600"/>
                <a:gd name="connsiteY0" fmla="*/ 914400 h 914400"/>
                <a:gd name="connsiteX1" fmla="*/ 990600 w 990600"/>
                <a:gd name="connsiteY1" fmla="*/ 449580 h 914400"/>
                <a:gd name="connsiteX2" fmla="*/ 144780 w 990600"/>
                <a:gd name="connsiteY2" fmla="*/ 0 h 914400"/>
                <a:gd name="connsiteX3" fmla="*/ 0 w 990600"/>
                <a:gd name="connsiteY3" fmla="*/ 312420 h 914400"/>
                <a:gd name="connsiteX4" fmla="*/ 91440 w 990600"/>
                <a:gd name="connsiteY4" fmla="*/ 464820 h 914400"/>
                <a:gd name="connsiteX5" fmla="*/ 205740 w 990600"/>
                <a:gd name="connsiteY5" fmla="*/ 586740 h 914400"/>
                <a:gd name="connsiteX6" fmla="*/ 792480 w 990600"/>
                <a:gd name="connsiteY6" fmla="*/ 914400 h 914400"/>
                <a:gd name="connsiteX0" fmla="*/ 792480 w 990600"/>
                <a:gd name="connsiteY0" fmla="*/ 914400 h 914400"/>
                <a:gd name="connsiteX1" fmla="*/ 990600 w 990600"/>
                <a:gd name="connsiteY1" fmla="*/ 449580 h 914400"/>
                <a:gd name="connsiteX2" fmla="*/ 144780 w 990600"/>
                <a:gd name="connsiteY2" fmla="*/ 0 h 914400"/>
                <a:gd name="connsiteX3" fmla="*/ 28585 w 990600"/>
                <a:gd name="connsiteY3" fmla="*/ 201505 h 914400"/>
                <a:gd name="connsiteX4" fmla="*/ 0 w 990600"/>
                <a:gd name="connsiteY4" fmla="*/ 312420 h 914400"/>
                <a:gd name="connsiteX5" fmla="*/ 91440 w 990600"/>
                <a:gd name="connsiteY5" fmla="*/ 464820 h 914400"/>
                <a:gd name="connsiteX6" fmla="*/ 205740 w 990600"/>
                <a:gd name="connsiteY6" fmla="*/ 586740 h 914400"/>
                <a:gd name="connsiteX7" fmla="*/ 792480 w 990600"/>
                <a:gd name="connsiteY7" fmla="*/ 914400 h 914400"/>
                <a:gd name="connsiteX0" fmla="*/ 1082058 w 1280178"/>
                <a:gd name="connsiteY0" fmla="*/ 914400 h 914400"/>
                <a:gd name="connsiteX1" fmla="*/ 1280178 w 1280178"/>
                <a:gd name="connsiteY1" fmla="*/ 449580 h 914400"/>
                <a:gd name="connsiteX2" fmla="*/ 434358 w 1280178"/>
                <a:gd name="connsiteY2" fmla="*/ 0 h 914400"/>
                <a:gd name="connsiteX3" fmla="*/ 318163 w 1280178"/>
                <a:gd name="connsiteY3" fmla="*/ 201505 h 914400"/>
                <a:gd name="connsiteX4" fmla="*/ 0 w 1280178"/>
                <a:gd name="connsiteY4" fmla="*/ 239268 h 914400"/>
                <a:gd name="connsiteX5" fmla="*/ 381018 w 1280178"/>
                <a:gd name="connsiteY5" fmla="*/ 464820 h 914400"/>
                <a:gd name="connsiteX6" fmla="*/ 495318 w 1280178"/>
                <a:gd name="connsiteY6" fmla="*/ 586740 h 914400"/>
                <a:gd name="connsiteX7" fmla="*/ 1082058 w 1280178"/>
                <a:gd name="connsiteY7" fmla="*/ 914400 h 914400"/>
                <a:gd name="connsiteX0" fmla="*/ 1082058 w 1280178"/>
                <a:gd name="connsiteY0" fmla="*/ 914400 h 914400"/>
                <a:gd name="connsiteX1" fmla="*/ 1280178 w 1280178"/>
                <a:gd name="connsiteY1" fmla="*/ 449580 h 914400"/>
                <a:gd name="connsiteX2" fmla="*/ 434358 w 1280178"/>
                <a:gd name="connsiteY2" fmla="*/ 0 h 914400"/>
                <a:gd name="connsiteX3" fmla="*/ 318163 w 1280178"/>
                <a:gd name="connsiteY3" fmla="*/ 201505 h 914400"/>
                <a:gd name="connsiteX4" fmla="*/ 183026 w 1280178"/>
                <a:gd name="connsiteY4" fmla="*/ 210649 h 914400"/>
                <a:gd name="connsiteX5" fmla="*/ 0 w 1280178"/>
                <a:gd name="connsiteY5" fmla="*/ 239268 h 914400"/>
                <a:gd name="connsiteX6" fmla="*/ 381018 w 1280178"/>
                <a:gd name="connsiteY6" fmla="*/ 464820 h 914400"/>
                <a:gd name="connsiteX7" fmla="*/ 495318 w 1280178"/>
                <a:gd name="connsiteY7" fmla="*/ 586740 h 914400"/>
                <a:gd name="connsiteX8" fmla="*/ 1082058 w 1280178"/>
                <a:gd name="connsiteY8" fmla="*/ 914400 h 914400"/>
                <a:gd name="connsiteX0" fmla="*/ 1111389 w 1309509"/>
                <a:gd name="connsiteY0" fmla="*/ 914400 h 914400"/>
                <a:gd name="connsiteX1" fmla="*/ 1309509 w 1309509"/>
                <a:gd name="connsiteY1" fmla="*/ 449580 h 914400"/>
                <a:gd name="connsiteX2" fmla="*/ 463689 w 1309509"/>
                <a:gd name="connsiteY2" fmla="*/ 0 h 914400"/>
                <a:gd name="connsiteX3" fmla="*/ 347494 w 1309509"/>
                <a:gd name="connsiteY3" fmla="*/ 201505 h 914400"/>
                <a:gd name="connsiteX4" fmla="*/ 0 w 1309509"/>
                <a:gd name="connsiteY4" fmla="*/ 27769 h 914400"/>
                <a:gd name="connsiteX5" fmla="*/ 29331 w 1309509"/>
                <a:gd name="connsiteY5" fmla="*/ 239268 h 914400"/>
                <a:gd name="connsiteX6" fmla="*/ 410349 w 1309509"/>
                <a:gd name="connsiteY6" fmla="*/ 464820 h 914400"/>
                <a:gd name="connsiteX7" fmla="*/ 524649 w 1309509"/>
                <a:gd name="connsiteY7" fmla="*/ 586740 h 914400"/>
                <a:gd name="connsiteX8" fmla="*/ 1111389 w 1309509"/>
                <a:gd name="connsiteY8" fmla="*/ 914400 h 914400"/>
                <a:gd name="connsiteX0" fmla="*/ 1111389 w 1309509"/>
                <a:gd name="connsiteY0" fmla="*/ 914400 h 914400"/>
                <a:gd name="connsiteX1" fmla="*/ 1309509 w 1309509"/>
                <a:gd name="connsiteY1" fmla="*/ 449580 h 914400"/>
                <a:gd name="connsiteX2" fmla="*/ 463689 w 1309509"/>
                <a:gd name="connsiteY2" fmla="*/ 0 h 914400"/>
                <a:gd name="connsiteX3" fmla="*/ 347494 w 1309509"/>
                <a:gd name="connsiteY3" fmla="*/ 201505 h 914400"/>
                <a:gd name="connsiteX4" fmla="*/ 0 w 1309509"/>
                <a:gd name="connsiteY4" fmla="*/ 27769 h 914400"/>
                <a:gd name="connsiteX5" fmla="*/ 29331 w 1309509"/>
                <a:gd name="connsiteY5" fmla="*/ 220980 h 914400"/>
                <a:gd name="connsiteX6" fmla="*/ 410349 w 1309509"/>
                <a:gd name="connsiteY6" fmla="*/ 464820 h 914400"/>
                <a:gd name="connsiteX7" fmla="*/ 524649 w 1309509"/>
                <a:gd name="connsiteY7" fmla="*/ 586740 h 914400"/>
                <a:gd name="connsiteX8" fmla="*/ 1111389 w 1309509"/>
                <a:gd name="connsiteY8" fmla="*/ 914400 h 914400"/>
                <a:gd name="connsiteX0" fmla="*/ 1111389 w 1309509"/>
                <a:gd name="connsiteY0" fmla="*/ 914400 h 914400"/>
                <a:gd name="connsiteX1" fmla="*/ 1242619 w 1309509"/>
                <a:gd name="connsiteY1" fmla="*/ 603040 h 914400"/>
                <a:gd name="connsiteX2" fmla="*/ 1309509 w 1309509"/>
                <a:gd name="connsiteY2" fmla="*/ 449580 h 914400"/>
                <a:gd name="connsiteX3" fmla="*/ 463689 w 1309509"/>
                <a:gd name="connsiteY3" fmla="*/ 0 h 914400"/>
                <a:gd name="connsiteX4" fmla="*/ 347494 w 1309509"/>
                <a:gd name="connsiteY4" fmla="*/ 201505 h 914400"/>
                <a:gd name="connsiteX5" fmla="*/ 0 w 1309509"/>
                <a:gd name="connsiteY5" fmla="*/ 27769 h 914400"/>
                <a:gd name="connsiteX6" fmla="*/ 29331 w 1309509"/>
                <a:gd name="connsiteY6" fmla="*/ 220980 h 914400"/>
                <a:gd name="connsiteX7" fmla="*/ 410349 w 1309509"/>
                <a:gd name="connsiteY7" fmla="*/ 464820 h 914400"/>
                <a:gd name="connsiteX8" fmla="*/ 524649 w 1309509"/>
                <a:gd name="connsiteY8" fmla="*/ 586740 h 914400"/>
                <a:gd name="connsiteX9" fmla="*/ 1111389 w 1309509"/>
                <a:gd name="connsiteY9" fmla="*/ 914400 h 914400"/>
                <a:gd name="connsiteX0" fmla="*/ 1111389 w 1309509"/>
                <a:gd name="connsiteY0" fmla="*/ 914400 h 914400"/>
                <a:gd name="connsiteX1" fmla="*/ 1287598 w 1309509"/>
                <a:gd name="connsiteY1" fmla="*/ 484551 h 914400"/>
                <a:gd name="connsiteX2" fmla="*/ 1309509 w 1309509"/>
                <a:gd name="connsiteY2" fmla="*/ 449580 h 914400"/>
                <a:gd name="connsiteX3" fmla="*/ 463689 w 1309509"/>
                <a:gd name="connsiteY3" fmla="*/ 0 h 914400"/>
                <a:gd name="connsiteX4" fmla="*/ 347494 w 1309509"/>
                <a:gd name="connsiteY4" fmla="*/ 201505 h 914400"/>
                <a:gd name="connsiteX5" fmla="*/ 0 w 1309509"/>
                <a:gd name="connsiteY5" fmla="*/ 27769 h 914400"/>
                <a:gd name="connsiteX6" fmla="*/ 29331 w 1309509"/>
                <a:gd name="connsiteY6" fmla="*/ 220980 h 914400"/>
                <a:gd name="connsiteX7" fmla="*/ 410349 w 1309509"/>
                <a:gd name="connsiteY7" fmla="*/ 464820 h 914400"/>
                <a:gd name="connsiteX8" fmla="*/ 524649 w 1309509"/>
                <a:gd name="connsiteY8" fmla="*/ 586740 h 914400"/>
                <a:gd name="connsiteX9" fmla="*/ 1111389 w 1309509"/>
                <a:gd name="connsiteY9" fmla="*/ 914400 h 914400"/>
                <a:gd name="connsiteX0" fmla="*/ 1111389 w 1309509"/>
                <a:gd name="connsiteY0" fmla="*/ 914400 h 914400"/>
                <a:gd name="connsiteX1" fmla="*/ 1197640 w 1309509"/>
                <a:gd name="connsiteY1" fmla="*/ 698742 h 914400"/>
                <a:gd name="connsiteX2" fmla="*/ 1287598 w 1309509"/>
                <a:gd name="connsiteY2" fmla="*/ 484551 h 914400"/>
                <a:gd name="connsiteX3" fmla="*/ 1309509 w 1309509"/>
                <a:gd name="connsiteY3" fmla="*/ 449580 h 914400"/>
                <a:gd name="connsiteX4" fmla="*/ 463689 w 1309509"/>
                <a:gd name="connsiteY4" fmla="*/ 0 h 914400"/>
                <a:gd name="connsiteX5" fmla="*/ 347494 w 1309509"/>
                <a:gd name="connsiteY5" fmla="*/ 201505 h 914400"/>
                <a:gd name="connsiteX6" fmla="*/ 0 w 1309509"/>
                <a:gd name="connsiteY6" fmla="*/ 27769 h 914400"/>
                <a:gd name="connsiteX7" fmla="*/ 29331 w 1309509"/>
                <a:gd name="connsiteY7" fmla="*/ 220980 h 914400"/>
                <a:gd name="connsiteX8" fmla="*/ 410349 w 1309509"/>
                <a:gd name="connsiteY8" fmla="*/ 464820 h 914400"/>
                <a:gd name="connsiteX9" fmla="*/ 524649 w 1309509"/>
                <a:gd name="connsiteY9" fmla="*/ 586740 h 914400"/>
                <a:gd name="connsiteX10" fmla="*/ 1111389 w 1309509"/>
                <a:gd name="connsiteY10" fmla="*/ 914400 h 914400"/>
                <a:gd name="connsiteX0" fmla="*/ 1111389 w 1674417"/>
                <a:gd name="connsiteY0" fmla="*/ 914400 h 914400"/>
                <a:gd name="connsiteX1" fmla="*/ 1674417 w 1674417"/>
                <a:gd name="connsiteY1" fmla="*/ 666841 h 914400"/>
                <a:gd name="connsiteX2" fmla="*/ 1287598 w 1674417"/>
                <a:gd name="connsiteY2" fmla="*/ 484551 h 914400"/>
                <a:gd name="connsiteX3" fmla="*/ 1309509 w 1674417"/>
                <a:gd name="connsiteY3" fmla="*/ 449580 h 914400"/>
                <a:gd name="connsiteX4" fmla="*/ 463689 w 1674417"/>
                <a:gd name="connsiteY4" fmla="*/ 0 h 914400"/>
                <a:gd name="connsiteX5" fmla="*/ 347494 w 1674417"/>
                <a:gd name="connsiteY5" fmla="*/ 201505 h 914400"/>
                <a:gd name="connsiteX6" fmla="*/ 0 w 1674417"/>
                <a:gd name="connsiteY6" fmla="*/ 27769 h 914400"/>
                <a:gd name="connsiteX7" fmla="*/ 29331 w 1674417"/>
                <a:gd name="connsiteY7" fmla="*/ 220980 h 914400"/>
                <a:gd name="connsiteX8" fmla="*/ 410349 w 1674417"/>
                <a:gd name="connsiteY8" fmla="*/ 464820 h 914400"/>
                <a:gd name="connsiteX9" fmla="*/ 524649 w 1674417"/>
                <a:gd name="connsiteY9" fmla="*/ 586740 h 914400"/>
                <a:gd name="connsiteX10" fmla="*/ 1111389 w 1674417"/>
                <a:gd name="connsiteY10" fmla="*/ 914400 h 914400"/>
                <a:gd name="connsiteX0" fmla="*/ 1111389 w 1674417"/>
                <a:gd name="connsiteY0" fmla="*/ 914400 h 914400"/>
                <a:gd name="connsiteX1" fmla="*/ 1427033 w 1674417"/>
                <a:gd name="connsiteY1" fmla="*/ 771658 h 914400"/>
                <a:gd name="connsiteX2" fmla="*/ 1674417 w 1674417"/>
                <a:gd name="connsiteY2" fmla="*/ 666841 h 914400"/>
                <a:gd name="connsiteX3" fmla="*/ 1287598 w 1674417"/>
                <a:gd name="connsiteY3" fmla="*/ 484551 h 914400"/>
                <a:gd name="connsiteX4" fmla="*/ 1309509 w 1674417"/>
                <a:gd name="connsiteY4" fmla="*/ 449580 h 914400"/>
                <a:gd name="connsiteX5" fmla="*/ 463689 w 1674417"/>
                <a:gd name="connsiteY5" fmla="*/ 0 h 914400"/>
                <a:gd name="connsiteX6" fmla="*/ 347494 w 1674417"/>
                <a:gd name="connsiteY6" fmla="*/ 201505 h 914400"/>
                <a:gd name="connsiteX7" fmla="*/ 0 w 1674417"/>
                <a:gd name="connsiteY7" fmla="*/ 27769 h 914400"/>
                <a:gd name="connsiteX8" fmla="*/ 29331 w 1674417"/>
                <a:gd name="connsiteY8" fmla="*/ 220980 h 914400"/>
                <a:gd name="connsiteX9" fmla="*/ 410349 w 1674417"/>
                <a:gd name="connsiteY9" fmla="*/ 464820 h 914400"/>
                <a:gd name="connsiteX10" fmla="*/ 524649 w 1674417"/>
                <a:gd name="connsiteY10" fmla="*/ 586740 h 914400"/>
                <a:gd name="connsiteX11" fmla="*/ 1111389 w 1674417"/>
                <a:gd name="connsiteY11" fmla="*/ 914400 h 914400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674417 w 2034250"/>
                <a:gd name="connsiteY2" fmla="*/ 666841 h 1168138"/>
                <a:gd name="connsiteX3" fmla="*/ 1287598 w 2034250"/>
                <a:gd name="connsiteY3" fmla="*/ 484551 h 1168138"/>
                <a:gd name="connsiteX4" fmla="*/ 1309509 w 2034250"/>
                <a:gd name="connsiteY4" fmla="*/ 449580 h 1168138"/>
                <a:gd name="connsiteX5" fmla="*/ 463689 w 2034250"/>
                <a:gd name="connsiteY5" fmla="*/ 0 h 1168138"/>
                <a:gd name="connsiteX6" fmla="*/ 347494 w 2034250"/>
                <a:gd name="connsiteY6" fmla="*/ 201505 h 1168138"/>
                <a:gd name="connsiteX7" fmla="*/ 0 w 2034250"/>
                <a:gd name="connsiteY7" fmla="*/ 27769 h 1168138"/>
                <a:gd name="connsiteX8" fmla="*/ 29331 w 2034250"/>
                <a:gd name="connsiteY8" fmla="*/ 220980 h 1168138"/>
                <a:gd name="connsiteX9" fmla="*/ 410349 w 2034250"/>
                <a:gd name="connsiteY9" fmla="*/ 464820 h 1168138"/>
                <a:gd name="connsiteX10" fmla="*/ 524649 w 2034250"/>
                <a:gd name="connsiteY10" fmla="*/ 586740 h 1168138"/>
                <a:gd name="connsiteX11" fmla="*/ 1111389 w 2034250"/>
                <a:gd name="connsiteY11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827346 w 2034250"/>
                <a:gd name="connsiteY2" fmla="*/ 862803 h 1168138"/>
                <a:gd name="connsiteX3" fmla="*/ 1674417 w 2034250"/>
                <a:gd name="connsiteY3" fmla="*/ 666841 h 1168138"/>
                <a:gd name="connsiteX4" fmla="*/ 1287598 w 2034250"/>
                <a:gd name="connsiteY4" fmla="*/ 484551 h 1168138"/>
                <a:gd name="connsiteX5" fmla="*/ 1309509 w 2034250"/>
                <a:gd name="connsiteY5" fmla="*/ 449580 h 1168138"/>
                <a:gd name="connsiteX6" fmla="*/ 463689 w 2034250"/>
                <a:gd name="connsiteY6" fmla="*/ 0 h 1168138"/>
                <a:gd name="connsiteX7" fmla="*/ 347494 w 2034250"/>
                <a:gd name="connsiteY7" fmla="*/ 201505 h 1168138"/>
                <a:gd name="connsiteX8" fmla="*/ 0 w 2034250"/>
                <a:gd name="connsiteY8" fmla="*/ 27769 h 1168138"/>
                <a:gd name="connsiteX9" fmla="*/ 29331 w 2034250"/>
                <a:gd name="connsiteY9" fmla="*/ 220980 h 1168138"/>
                <a:gd name="connsiteX10" fmla="*/ 410349 w 2034250"/>
                <a:gd name="connsiteY10" fmla="*/ 464820 h 1168138"/>
                <a:gd name="connsiteX11" fmla="*/ 524649 w 2034250"/>
                <a:gd name="connsiteY11" fmla="*/ 586740 h 1168138"/>
                <a:gd name="connsiteX12" fmla="*/ 1111389 w 2034250"/>
                <a:gd name="connsiteY12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651928 w 2034250"/>
                <a:gd name="connsiteY2" fmla="*/ 771658 h 1168138"/>
                <a:gd name="connsiteX3" fmla="*/ 1674417 w 2034250"/>
                <a:gd name="connsiteY3" fmla="*/ 666841 h 1168138"/>
                <a:gd name="connsiteX4" fmla="*/ 1287598 w 2034250"/>
                <a:gd name="connsiteY4" fmla="*/ 484551 h 1168138"/>
                <a:gd name="connsiteX5" fmla="*/ 1309509 w 2034250"/>
                <a:gd name="connsiteY5" fmla="*/ 449580 h 1168138"/>
                <a:gd name="connsiteX6" fmla="*/ 463689 w 2034250"/>
                <a:gd name="connsiteY6" fmla="*/ 0 h 1168138"/>
                <a:gd name="connsiteX7" fmla="*/ 347494 w 2034250"/>
                <a:gd name="connsiteY7" fmla="*/ 201505 h 1168138"/>
                <a:gd name="connsiteX8" fmla="*/ 0 w 2034250"/>
                <a:gd name="connsiteY8" fmla="*/ 27769 h 1168138"/>
                <a:gd name="connsiteX9" fmla="*/ 29331 w 2034250"/>
                <a:gd name="connsiteY9" fmla="*/ 220980 h 1168138"/>
                <a:gd name="connsiteX10" fmla="*/ 410349 w 2034250"/>
                <a:gd name="connsiteY10" fmla="*/ 464820 h 1168138"/>
                <a:gd name="connsiteX11" fmla="*/ 524649 w 2034250"/>
                <a:gd name="connsiteY11" fmla="*/ 586740 h 1168138"/>
                <a:gd name="connsiteX12" fmla="*/ 1111389 w 2034250"/>
                <a:gd name="connsiteY12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800358 w 2034250"/>
                <a:gd name="connsiteY2" fmla="*/ 926605 h 1168138"/>
                <a:gd name="connsiteX3" fmla="*/ 1651928 w 2034250"/>
                <a:gd name="connsiteY3" fmla="*/ 771658 h 1168138"/>
                <a:gd name="connsiteX4" fmla="*/ 1674417 w 2034250"/>
                <a:gd name="connsiteY4" fmla="*/ 666841 h 1168138"/>
                <a:gd name="connsiteX5" fmla="*/ 1287598 w 2034250"/>
                <a:gd name="connsiteY5" fmla="*/ 484551 h 1168138"/>
                <a:gd name="connsiteX6" fmla="*/ 1309509 w 2034250"/>
                <a:gd name="connsiteY6" fmla="*/ 449580 h 1168138"/>
                <a:gd name="connsiteX7" fmla="*/ 463689 w 2034250"/>
                <a:gd name="connsiteY7" fmla="*/ 0 h 1168138"/>
                <a:gd name="connsiteX8" fmla="*/ 347494 w 2034250"/>
                <a:gd name="connsiteY8" fmla="*/ 201505 h 1168138"/>
                <a:gd name="connsiteX9" fmla="*/ 0 w 2034250"/>
                <a:gd name="connsiteY9" fmla="*/ 27769 h 1168138"/>
                <a:gd name="connsiteX10" fmla="*/ 29331 w 2034250"/>
                <a:gd name="connsiteY10" fmla="*/ 220980 h 1168138"/>
                <a:gd name="connsiteX11" fmla="*/ 410349 w 2034250"/>
                <a:gd name="connsiteY11" fmla="*/ 464820 h 1168138"/>
                <a:gd name="connsiteX12" fmla="*/ 524649 w 2034250"/>
                <a:gd name="connsiteY12" fmla="*/ 586740 h 1168138"/>
                <a:gd name="connsiteX13" fmla="*/ 1111389 w 2034250"/>
                <a:gd name="connsiteY13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651928 w 2070232"/>
                <a:gd name="connsiteY3" fmla="*/ 771658 h 1168138"/>
                <a:gd name="connsiteX4" fmla="*/ 1674417 w 2070232"/>
                <a:gd name="connsiteY4" fmla="*/ 666841 h 1168138"/>
                <a:gd name="connsiteX5" fmla="*/ 1287598 w 2070232"/>
                <a:gd name="connsiteY5" fmla="*/ 484551 h 1168138"/>
                <a:gd name="connsiteX6" fmla="*/ 1309509 w 2070232"/>
                <a:gd name="connsiteY6" fmla="*/ 449580 h 1168138"/>
                <a:gd name="connsiteX7" fmla="*/ 463689 w 2070232"/>
                <a:gd name="connsiteY7" fmla="*/ 0 h 1168138"/>
                <a:gd name="connsiteX8" fmla="*/ 347494 w 2070232"/>
                <a:gd name="connsiteY8" fmla="*/ 201505 h 1168138"/>
                <a:gd name="connsiteX9" fmla="*/ 0 w 2070232"/>
                <a:gd name="connsiteY9" fmla="*/ 27769 h 1168138"/>
                <a:gd name="connsiteX10" fmla="*/ 29331 w 2070232"/>
                <a:gd name="connsiteY10" fmla="*/ 220980 h 1168138"/>
                <a:gd name="connsiteX11" fmla="*/ 410349 w 2070232"/>
                <a:gd name="connsiteY11" fmla="*/ 464820 h 1168138"/>
                <a:gd name="connsiteX12" fmla="*/ 524649 w 2070232"/>
                <a:gd name="connsiteY12" fmla="*/ 586740 h 1168138"/>
                <a:gd name="connsiteX13" fmla="*/ 1111389 w 2070232"/>
                <a:gd name="connsiteY13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831843 w 2070232"/>
                <a:gd name="connsiteY3" fmla="*/ 903818 h 1168138"/>
                <a:gd name="connsiteX4" fmla="*/ 1651928 w 2070232"/>
                <a:gd name="connsiteY4" fmla="*/ 771658 h 1168138"/>
                <a:gd name="connsiteX5" fmla="*/ 1674417 w 2070232"/>
                <a:gd name="connsiteY5" fmla="*/ 666841 h 1168138"/>
                <a:gd name="connsiteX6" fmla="*/ 1287598 w 2070232"/>
                <a:gd name="connsiteY6" fmla="*/ 484551 h 1168138"/>
                <a:gd name="connsiteX7" fmla="*/ 1309509 w 2070232"/>
                <a:gd name="connsiteY7" fmla="*/ 449580 h 1168138"/>
                <a:gd name="connsiteX8" fmla="*/ 463689 w 2070232"/>
                <a:gd name="connsiteY8" fmla="*/ 0 h 1168138"/>
                <a:gd name="connsiteX9" fmla="*/ 347494 w 2070232"/>
                <a:gd name="connsiteY9" fmla="*/ 201505 h 1168138"/>
                <a:gd name="connsiteX10" fmla="*/ 0 w 2070232"/>
                <a:gd name="connsiteY10" fmla="*/ 27769 h 1168138"/>
                <a:gd name="connsiteX11" fmla="*/ 29331 w 2070232"/>
                <a:gd name="connsiteY11" fmla="*/ 220980 h 1168138"/>
                <a:gd name="connsiteX12" fmla="*/ 410349 w 2070232"/>
                <a:gd name="connsiteY12" fmla="*/ 464820 h 1168138"/>
                <a:gd name="connsiteX13" fmla="*/ 524649 w 2070232"/>
                <a:gd name="connsiteY13" fmla="*/ 586740 h 1168138"/>
                <a:gd name="connsiteX14" fmla="*/ 1111389 w 2070232"/>
                <a:gd name="connsiteY14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692408 w 2070232"/>
                <a:gd name="connsiteY3" fmla="*/ 849131 h 1168138"/>
                <a:gd name="connsiteX4" fmla="*/ 1651928 w 2070232"/>
                <a:gd name="connsiteY4" fmla="*/ 771658 h 1168138"/>
                <a:gd name="connsiteX5" fmla="*/ 1674417 w 2070232"/>
                <a:gd name="connsiteY5" fmla="*/ 666841 h 1168138"/>
                <a:gd name="connsiteX6" fmla="*/ 1287598 w 2070232"/>
                <a:gd name="connsiteY6" fmla="*/ 484551 h 1168138"/>
                <a:gd name="connsiteX7" fmla="*/ 1309509 w 2070232"/>
                <a:gd name="connsiteY7" fmla="*/ 449580 h 1168138"/>
                <a:gd name="connsiteX8" fmla="*/ 463689 w 2070232"/>
                <a:gd name="connsiteY8" fmla="*/ 0 h 1168138"/>
                <a:gd name="connsiteX9" fmla="*/ 347494 w 2070232"/>
                <a:gd name="connsiteY9" fmla="*/ 201505 h 1168138"/>
                <a:gd name="connsiteX10" fmla="*/ 0 w 2070232"/>
                <a:gd name="connsiteY10" fmla="*/ 27769 h 1168138"/>
                <a:gd name="connsiteX11" fmla="*/ 29331 w 2070232"/>
                <a:gd name="connsiteY11" fmla="*/ 220980 h 1168138"/>
                <a:gd name="connsiteX12" fmla="*/ 410349 w 2070232"/>
                <a:gd name="connsiteY12" fmla="*/ 464820 h 1168138"/>
                <a:gd name="connsiteX13" fmla="*/ 524649 w 2070232"/>
                <a:gd name="connsiteY13" fmla="*/ 586740 h 1168138"/>
                <a:gd name="connsiteX14" fmla="*/ 1111389 w 2070232"/>
                <a:gd name="connsiteY14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908307 w 2070232"/>
                <a:gd name="connsiteY3" fmla="*/ 976734 h 1168138"/>
                <a:gd name="connsiteX4" fmla="*/ 1692408 w 2070232"/>
                <a:gd name="connsiteY4" fmla="*/ 849131 h 1168138"/>
                <a:gd name="connsiteX5" fmla="*/ 1651928 w 2070232"/>
                <a:gd name="connsiteY5" fmla="*/ 771658 h 1168138"/>
                <a:gd name="connsiteX6" fmla="*/ 1674417 w 2070232"/>
                <a:gd name="connsiteY6" fmla="*/ 666841 h 1168138"/>
                <a:gd name="connsiteX7" fmla="*/ 1287598 w 2070232"/>
                <a:gd name="connsiteY7" fmla="*/ 484551 h 1168138"/>
                <a:gd name="connsiteX8" fmla="*/ 1309509 w 2070232"/>
                <a:gd name="connsiteY8" fmla="*/ 449580 h 1168138"/>
                <a:gd name="connsiteX9" fmla="*/ 463689 w 2070232"/>
                <a:gd name="connsiteY9" fmla="*/ 0 h 1168138"/>
                <a:gd name="connsiteX10" fmla="*/ 347494 w 2070232"/>
                <a:gd name="connsiteY10" fmla="*/ 201505 h 1168138"/>
                <a:gd name="connsiteX11" fmla="*/ 0 w 2070232"/>
                <a:gd name="connsiteY11" fmla="*/ 27769 h 1168138"/>
                <a:gd name="connsiteX12" fmla="*/ 29331 w 2070232"/>
                <a:gd name="connsiteY12" fmla="*/ 220980 h 1168138"/>
                <a:gd name="connsiteX13" fmla="*/ 410349 w 2070232"/>
                <a:gd name="connsiteY13" fmla="*/ 464820 h 1168138"/>
                <a:gd name="connsiteX14" fmla="*/ 524649 w 2070232"/>
                <a:gd name="connsiteY14" fmla="*/ 586740 h 1168138"/>
                <a:gd name="connsiteX15" fmla="*/ 1111389 w 2070232"/>
                <a:gd name="connsiteY15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885817 w 2070232"/>
                <a:gd name="connsiteY3" fmla="*/ 981291 h 1168138"/>
                <a:gd name="connsiteX4" fmla="*/ 1692408 w 2070232"/>
                <a:gd name="connsiteY4" fmla="*/ 849131 h 1168138"/>
                <a:gd name="connsiteX5" fmla="*/ 1651928 w 2070232"/>
                <a:gd name="connsiteY5" fmla="*/ 771658 h 1168138"/>
                <a:gd name="connsiteX6" fmla="*/ 1674417 w 2070232"/>
                <a:gd name="connsiteY6" fmla="*/ 666841 h 1168138"/>
                <a:gd name="connsiteX7" fmla="*/ 1287598 w 2070232"/>
                <a:gd name="connsiteY7" fmla="*/ 484551 h 1168138"/>
                <a:gd name="connsiteX8" fmla="*/ 1309509 w 2070232"/>
                <a:gd name="connsiteY8" fmla="*/ 449580 h 1168138"/>
                <a:gd name="connsiteX9" fmla="*/ 463689 w 2070232"/>
                <a:gd name="connsiteY9" fmla="*/ 0 h 1168138"/>
                <a:gd name="connsiteX10" fmla="*/ 347494 w 2070232"/>
                <a:gd name="connsiteY10" fmla="*/ 201505 h 1168138"/>
                <a:gd name="connsiteX11" fmla="*/ 0 w 2070232"/>
                <a:gd name="connsiteY11" fmla="*/ 27769 h 1168138"/>
                <a:gd name="connsiteX12" fmla="*/ 29331 w 2070232"/>
                <a:gd name="connsiteY12" fmla="*/ 220980 h 1168138"/>
                <a:gd name="connsiteX13" fmla="*/ 410349 w 2070232"/>
                <a:gd name="connsiteY13" fmla="*/ 464820 h 1168138"/>
                <a:gd name="connsiteX14" fmla="*/ 524649 w 2070232"/>
                <a:gd name="connsiteY14" fmla="*/ 586740 h 1168138"/>
                <a:gd name="connsiteX15" fmla="*/ 1111389 w 2070232"/>
                <a:gd name="connsiteY15" fmla="*/ 914400 h 1168138"/>
                <a:gd name="connsiteX0" fmla="*/ 1111389 w 2070232"/>
                <a:gd name="connsiteY0" fmla="*/ 914400 h 1168138"/>
                <a:gd name="connsiteX1" fmla="*/ 1669920 w 2070232"/>
                <a:gd name="connsiteY1" fmla="*/ 1063322 h 1168138"/>
                <a:gd name="connsiteX2" fmla="*/ 2034250 w 2070232"/>
                <a:gd name="connsiteY2" fmla="*/ 1168138 h 1168138"/>
                <a:gd name="connsiteX3" fmla="*/ 2070232 w 2070232"/>
                <a:gd name="connsiteY3" fmla="*/ 1072437 h 1168138"/>
                <a:gd name="connsiteX4" fmla="*/ 1885817 w 2070232"/>
                <a:gd name="connsiteY4" fmla="*/ 981291 h 1168138"/>
                <a:gd name="connsiteX5" fmla="*/ 1692408 w 2070232"/>
                <a:gd name="connsiteY5" fmla="*/ 849131 h 1168138"/>
                <a:gd name="connsiteX6" fmla="*/ 1651928 w 2070232"/>
                <a:gd name="connsiteY6" fmla="*/ 771658 h 1168138"/>
                <a:gd name="connsiteX7" fmla="*/ 1674417 w 2070232"/>
                <a:gd name="connsiteY7" fmla="*/ 666841 h 1168138"/>
                <a:gd name="connsiteX8" fmla="*/ 1287598 w 2070232"/>
                <a:gd name="connsiteY8" fmla="*/ 484551 h 1168138"/>
                <a:gd name="connsiteX9" fmla="*/ 1309509 w 2070232"/>
                <a:gd name="connsiteY9" fmla="*/ 449580 h 1168138"/>
                <a:gd name="connsiteX10" fmla="*/ 463689 w 2070232"/>
                <a:gd name="connsiteY10" fmla="*/ 0 h 1168138"/>
                <a:gd name="connsiteX11" fmla="*/ 347494 w 2070232"/>
                <a:gd name="connsiteY11" fmla="*/ 201505 h 1168138"/>
                <a:gd name="connsiteX12" fmla="*/ 0 w 2070232"/>
                <a:gd name="connsiteY12" fmla="*/ 27769 h 1168138"/>
                <a:gd name="connsiteX13" fmla="*/ 29331 w 2070232"/>
                <a:gd name="connsiteY13" fmla="*/ 220980 h 1168138"/>
                <a:gd name="connsiteX14" fmla="*/ 410349 w 2070232"/>
                <a:gd name="connsiteY14" fmla="*/ 464820 h 1168138"/>
                <a:gd name="connsiteX15" fmla="*/ 524649 w 2070232"/>
                <a:gd name="connsiteY15" fmla="*/ 586740 h 1168138"/>
                <a:gd name="connsiteX16" fmla="*/ 1111389 w 2070232"/>
                <a:gd name="connsiteY16" fmla="*/ 914400 h 1168138"/>
                <a:gd name="connsiteX0" fmla="*/ 1111389 w 2070232"/>
                <a:gd name="connsiteY0" fmla="*/ 914400 h 1168138"/>
                <a:gd name="connsiteX1" fmla="*/ 1620443 w 2070232"/>
                <a:gd name="connsiteY1" fmla="*/ 1008635 h 1168138"/>
                <a:gd name="connsiteX2" fmla="*/ 2034250 w 2070232"/>
                <a:gd name="connsiteY2" fmla="*/ 1168138 h 1168138"/>
                <a:gd name="connsiteX3" fmla="*/ 2070232 w 2070232"/>
                <a:gd name="connsiteY3" fmla="*/ 1072437 h 1168138"/>
                <a:gd name="connsiteX4" fmla="*/ 1885817 w 2070232"/>
                <a:gd name="connsiteY4" fmla="*/ 981291 h 1168138"/>
                <a:gd name="connsiteX5" fmla="*/ 1692408 w 2070232"/>
                <a:gd name="connsiteY5" fmla="*/ 849131 h 1168138"/>
                <a:gd name="connsiteX6" fmla="*/ 1651928 w 2070232"/>
                <a:gd name="connsiteY6" fmla="*/ 771658 h 1168138"/>
                <a:gd name="connsiteX7" fmla="*/ 1674417 w 2070232"/>
                <a:gd name="connsiteY7" fmla="*/ 666841 h 1168138"/>
                <a:gd name="connsiteX8" fmla="*/ 1287598 w 2070232"/>
                <a:gd name="connsiteY8" fmla="*/ 484551 h 1168138"/>
                <a:gd name="connsiteX9" fmla="*/ 1309509 w 2070232"/>
                <a:gd name="connsiteY9" fmla="*/ 449580 h 1168138"/>
                <a:gd name="connsiteX10" fmla="*/ 463689 w 2070232"/>
                <a:gd name="connsiteY10" fmla="*/ 0 h 1168138"/>
                <a:gd name="connsiteX11" fmla="*/ 347494 w 2070232"/>
                <a:gd name="connsiteY11" fmla="*/ 201505 h 1168138"/>
                <a:gd name="connsiteX12" fmla="*/ 0 w 2070232"/>
                <a:gd name="connsiteY12" fmla="*/ 27769 h 1168138"/>
                <a:gd name="connsiteX13" fmla="*/ 29331 w 2070232"/>
                <a:gd name="connsiteY13" fmla="*/ 220980 h 1168138"/>
                <a:gd name="connsiteX14" fmla="*/ 410349 w 2070232"/>
                <a:gd name="connsiteY14" fmla="*/ 464820 h 1168138"/>
                <a:gd name="connsiteX15" fmla="*/ 524649 w 2070232"/>
                <a:gd name="connsiteY15" fmla="*/ 586740 h 1168138"/>
                <a:gd name="connsiteX16" fmla="*/ 1111389 w 2070232"/>
                <a:gd name="connsiteY16" fmla="*/ 914400 h 1168138"/>
                <a:gd name="connsiteX0" fmla="*/ 1111389 w 2070232"/>
                <a:gd name="connsiteY0" fmla="*/ 914400 h 1168138"/>
                <a:gd name="connsiteX1" fmla="*/ 1391049 w 2070232"/>
                <a:gd name="connsiteY1" fmla="*/ 958506 h 1168138"/>
                <a:gd name="connsiteX2" fmla="*/ 1620443 w 2070232"/>
                <a:gd name="connsiteY2" fmla="*/ 1008635 h 1168138"/>
                <a:gd name="connsiteX3" fmla="*/ 2034250 w 2070232"/>
                <a:gd name="connsiteY3" fmla="*/ 1168138 h 1168138"/>
                <a:gd name="connsiteX4" fmla="*/ 2070232 w 2070232"/>
                <a:gd name="connsiteY4" fmla="*/ 1072437 h 1168138"/>
                <a:gd name="connsiteX5" fmla="*/ 1885817 w 2070232"/>
                <a:gd name="connsiteY5" fmla="*/ 981291 h 1168138"/>
                <a:gd name="connsiteX6" fmla="*/ 1692408 w 2070232"/>
                <a:gd name="connsiteY6" fmla="*/ 849131 h 1168138"/>
                <a:gd name="connsiteX7" fmla="*/ 1651928 w 2070232"/>
                <a:gd name="connsiteY7" fmla="*/ 771658 h 1168138"/>
                <a:gd name="connsiteX8" fmla="*/ 1674417 w 2070232"/>
                <a:gd name="connsiteY8" fmla="*/ 666841 h 1168138"/>
                <a:gd name="connsiteX9" fmla="*/ 1287598 w 2070232"/>
                <a:gd name="connsiteY9" fmla="*/ 484551 h 1168138"/>
                <a:gd name="connsiteX10" fmla="*/ 1309509 w 2070232"/>
                <a:gd name="connsiteY10" fmla="*/ 449580 h 1168138"/>
                <a:gd name="connsiteX11" fmla="*/ 463689 w 2070232"/>
                <a:gd name="connsiteY11" fmla="*/ 0 h 1168138"/>
                <a:gd name="connsiteX12" fmla="*/ 347494 w 2070232"/>
                <a:gd name="connsiteY12" fmla="*/ 201505 h 1168138"/>
                <a:gd name="connsiteX13" fmla="*/ 0 w 2070232"/>
                <a:gd name="connsiteY13" fmla="*/ 27769 h 1168138"/>
                <a:gd name="connsiteX14" fmla="*/ 29331 w 2070232"/>
                <a:gd name="connsiteY14" fmla="*/ 220980 h 1168138"/>
                <a:gd name="connsiteX15" fmla="*/ 410349 w 2070232"/>
                <a:gd name="connsiteY15" fmla="*/ 464820 h 1168138"/>
                <a:gd name="connsiteX16" fmla="*/ 524649 w 2070232"/>
                <a:gd name="connsiteY16" fmla="*/ 586740 h 1168138"/>
                <a:gd name="connsiteX17" fmla="*/ 1111389 w 2070232"/>
                <a:gd name="connsiteY17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620443 w 2070232"/>
                <a:gd name="connsiteY2" fmla="*/ 1008635 h 1168138"/>
                <a:gd name="connsiteX3" fmla="*/ 2034250 w 2070232"/>
                <a:gd name="connsiteY3" fmla="*/ 1168138 h 1168138"/>
                <a:gd name="connsiteX4" fmla="*/ 2070232 w 2070232"/>
                <a:gd name="connsiteY4" fmla="*/ 1072437 h 1168138"/>
                <a:gd name="connsiteX5" fmla="*/ 1885817 w 2070232"/>
                <a:gd name="connsiteY5" fmla="*/ 981291 h 1168138"/>
                <a:gd name="connsiteX6" fmla="*/ 1692408 w 2070232"/>
                <a:gd name="connsiteY6" fmla="*/ 849131 h 1168138"/>
                <a:gd name="connsiteX7" fmla="*/ 1651928 w 2070232"/>
                <a:gd name="connsiteY7" fmla="*/ 771658 h 1168138"/>
                <a:gd name="connsiteX8" fmla="*/ 1674417 w 2070232"/>
                <a:gd name="connsiteY8" fmla="*/ 666841 h 1168138"/>
                <a:gd name="connsiteX9" fmla="*/ 1287598 w 2070232"/>
                <a:gd name="connsiteY9" fmla="*/ 484551 h 1168138"/>
                <a:gd name="connsiteX10" fmla="*/ 1309509 w 2070232"/>
                <a:gd name="connsiteY10" fmla="*/ 449580 h 1168138"/>
                <a:gd name="connsiteX11" fmla="*/ 463689 w 2070232"/>
                <a:gd name="connsiteY11" fmla="*/ 0 h 1168138"/>
                <a:gd name="connsiteX12" fmla="*/ 347494 w 2070232"/>
                <a:gd name="connsiteY12" fmla="*/ 201505 h 1168138"/>
                <a:gd name="connsiteX13" fmla="*/ 0 w 2070232"/>
                <a:gd name="connsiteY13" fmla="*/ 27769 h 1168138"/>
                <a:gd name="connsiteX14" fmla="*/ 29331 w 2070232"/>
                <a:gd name="connsiteY14" fmla="*/ 220980 h 1168138"/>
                <a:gd name="connsiteX15" fmla="*/ 410349 w 2070232"/>
                <a:gd name="connsiteY15" fmla="*/ 464820 h 1168138"/>
                <a:gd name="connsiteX16" fmla="*/ 524649 w 2070232"/>
                <a:gd name="connsiteY16" fmla="*/ 586740 h 1168138"/>
                <a:gd name="connsiteX17" fmla="*/ 1111389 w 2070232"/>
                <a:gd name="connsiteY17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539480 w 2070232"/>
                <a:gd name="connsiteY2" fmla="*/ 1058764 h 1168138"/>
                <a:gd name="connsiteX3" fmla="*/ 1620443 w 2070232"/>
                <a:gd name="connsiteY3" fmla="*/ 1008635 h 1168138"/>
                <a:gd name="connsiteX4" fmla="*/ 2034250 w 2070232"/>
                <a:gd name="connsiteY4" fmla="*/ 1168138 h 1168138"/>
                <a:gd name="connsiteX5" fmla="*/ 2070232 w 2070232"/>
                <a:gd name="connsiteY5" fmla="*/ 1072437 h 1168138"/>
                <a:gd name="connsiteX6" fmla="*/ 1885817 w 2070232"/>
                <a:gd name="connsiteY6" fmla="*/ 981291 h 1168138"/>
                <a:gd name="connsiteX7" fmla="*/ 1692408 w 2070232"/>
                <a:gd name="connsiteY7" fmla="*/ 849131 h 1168138"/>
                <a:gd name="connsiteX8" fmla="*/ 1651928 w 2070232"/>
                <a:gd name="connsiteY8" fmla="*/ 771658 h 1168138"/>
                <a:gd name="connsiteX9" fmla="*/ 1674417 w 2070232"/>
                <a:gd name="connsiteY9" fmla="*/ 666841 h 1168138"/>
                <a:gd name="connsiteX10" fmla="*/ 1287598 w 2070232"/>
                <a:gd name="connsiteY10" fmla="*/ 484551 h 1168138"/>
                <a:gd name="connsiteX11" fmla="*/ 1309509 w 2070232"/>
                <a:gd name="connsiteY11" fmla="*/ 449580 h 1168138"/>
                <a:gd name="connsiteX12" fmla="*/ 463689 w 2070232"/>
                <a:gd name="connsiteY12" fmla="*/ 0 h 1168138"/>
                <a:gd name="connsiteX13" fmla="*/ 347494 w 2070232"/>
                <a:gd name="connsiteY13" fmla="*/ 201505 h 1168138"/>
                <a:gd name="connsiteX14" fmla="*/ 0 w 2070232"/>
                <a:gd name="connsiteY14" fmla="*/ 27769 h 1168138"/>
                <a:gd name="connsiteX15" fmla="*/ 29331 w 2070232"/>
                <a:gd name="connsiteY15" fmla="*/ 220980 h 1168138"/>
                <a:gd name="connsiteX16" fmla="*/ 410349 w 2070232"/>
                <a:gd name="connsiteY16" fmla="*/ 464820 h 1168138"/>
                <a:gd name="connsiteX17" fmla="*/ 524649 w 2070232"/>
                <a:gd name="connsiteY17" fmla="*/ 586740 h 1168138"/>
                <a:gd name="connsiteX18" fmla="*/ 1111389 w 2070232"/>
                <a:gd name="connsiteY18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530484 w 2070232"/>
                <a:gd name="connsiteY2" fmla="*/ 1013192 h 1168138"/>
                <a:gd name="connsiteX3" fmla="*/ 1620443 w 2070232"/>
                <a:gd name="connsiteY3" fmla="*/ 1008635 h 1168138"/>
                <a:gd name="connsiteX4" fmla="*/ 2034250 w 2070232"/>
                <a:gd name="connsiteY4" fmla="*/ 1168138 h 1168138"/>
                <a:gd name="connsiteX5" fmla="*/ 2070232 w 2070232"/>
                <a:gd name="connsiteY5" fmla="*/ 1072437 h 1168138"/>
                <a:gd name="connsiteX6" fmla="*/ 1885817 w 2070232"/>
                <a:gd name="connsiteY6" fmla="*/ 981291 h 1168138"/>
                <a:gd name="connsiteX7" fmla="*/ 1692408 w 2070232"/>
                <a:gd name="connsiteY7" fmla="*/ 849131 h 1168138"/>
                <a:gd name="connsiteX8" fmla="*/ 1651928 w 2070232"/>
                <a:gd name="connsiteY8" fmla="*/ 771658 h 1168138"/>
                <a:gd name="connsiteX9" fmla="*/ 1674417 w 2070232"/>
                <a:gd name="connsiteY9" fmla="*/ 666841 h 1168138"/>
                <a:gd name="connsiteX10" fmla="*/ 1287598 w 2070232"/>
                <a:gd name="connsiteY10" fmla="*/ 484551 h 1168138"/>
                <a:gd name="connsiteX11" fmla="*/ 1309509 w 2070232"/>
                <a:gd name="connsiteY11" fmla="*/ 449580 h 1168138"/>
                <a:gd name="connsiteX12" fmla="*/ 463689 w 2070232"/>
                <a:gd name="connsiteY12" fmla="*/ 0 h 1168138"/>
                <a:gd name="connsiteX13" fmla="*/ 347494 w 2070232"/>
                <a:gd name="connsiteY13" fmla="*/ 201505 h 1168138"/>
                <a:gd name="connsiteX14" fmla="*/ 0 w 2070232"/>
                <a:gd name="connsiteY14" fmla="*/ 27769 h 1168138"/>
                <a:gd name="connsiteX15" fmla="*/ 29331 w 2070232"/>
                <a:gd name="connsiteY15" fmla="*/ 220980 h 1168138"/>
                <a:gd name="connsiteX16" fmla="*/ 410349 w 2070232"/>
                <a:gd name="connsiteY16" fmla="*/ 464820 h 1168138"/>
                <a:gd name="connsiteX17" fmla="*/ 524649 w 2070232"/>
                <a:gd name="connsiteY17" fmla="*/ 586740 h 1168138"/>
                <a:gd name="connsiteX18" fmla="*/ 1111389 w 2070232"/>
                <a:gd name="connsiteY18" fmla="*/ 914400 h 1168138"/>
                <a:gd name="connsiteX0" fmla="*/ 1111389 w 2070232"/>
                <a:gd name="connsiteY0" fmla="*/ 914400 h 1175316"/>
                <a:gd name="connsiteX1" fmla="*/ 1476510 w 2070232"/>
                <a:gd name="connsiteY1" fmla="*/ 1127123 h 1175316"/>
                <a:gd name="connsiteX2" fmla="*/ 1530484 w 2070232"/>
                <a:gd name="connsiteY2" fmla="*/ 1013192 h 1175316"/>
                <a:gd name="connsiteX3" fmla="*/ 1620443 w 2070232"/>
                <a:gd name="connsiteY3" fmla="*/ 1008635 h 1175316"/>
                <a:gd name="connsiteX4" fmla="*/ 2034250 w 2070232"/>
                <a:gd name="connsiteY4" fmla="*/ 1175316 h 1175316"/>
                <a:gd name="connsiteX5" fmla="*/ 2070232 w 2070232"/>
                <a:gd name="connsiteY5" fmla="*/ 1072437 h 1175316"/>
                <a:gd name="connsiteX6" fmla="*/ 1885817 w 2070232"/>
                <a:gd name="connsiteY6" fmla="*/ 981291 h 1175316"/>
                <a:gd name="connsiteX7" fmla="*/ 1692408 w 2070232"/>
                <a:gd name="connsiteY7" fmla="*/ 849131 h 1175316"/>
                <a:gd name="connsiteX8" fmla="*/ 1651928 w 2070232"/>
                <a:gd name="connsiteY8" fmla="*/ 771658 h 1175316"/>
                <a:gd name="connsiteX9" fmla="*/ 1674417 w 2070232"/>
                <a:gd name="connsiteY9" fmla="*/ 666841 h 1175316"/>
                <a:gd name="connsiteX10" fmla="*/ 1287598 w 2070232"/>
                <a:gd name="connsiteY10" fmla="*/ 484551 h 1175316"/>
                <a:gd name="connsiteX11" fmla="*/ 1309509 w 2070232"/>
                <a:gd name="connsiteY11" fmla="*/ 449580 h 1175316"/>
                <a:gd name="connsiteX12" fmla="*/ 463689 w 2070232"/>
                <a:gd name="connsiteY12" fmla="*/ 0 h 1175316"/>
                <a:gd name="connsiteX13" fmla="*/ 347494 w 2070232"/>
                <a:gd name="connsiteY13" fmla="*/ 201505 h 1175316"/>
                <a:gd name="connsiteX14" fmla="*/ 0 w 2070232"/>
                <a:gd name="connsiteY14" fmla="*/ 27769 h 1175316"/>
                <a:gd name="connsiteX15" fmla="*/ 29331 w 2070232"/>
                <a:gd name="connsiteY15" fmla="*/ 220980 h 1175316"/>
                <a:gd name="connsiteX16" fmla="*/ 410349 w 2070232"/>
                <a:gd name="connsiteY16" fmla="*/ 464820 h 1175316"/>
                <a:gd name="connsiteX17" fmla="*/ 524649 w 2070232"/>
                <a:gd name="connsiteY17" fmla="*/ 586740 h 1175316"/>
                <a:gd name="connsiteX18" fmla="*/ 1111389 w 2070232"/>
                <a:gd name="connsiteY1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692408 w 2077298"/>
                <a:gd name="connsiteY7" fmla="*/ 849131 h 1175316"/>
                <a:gd name="connsiteX8" fmla="*/ 1651928 w 2077298"/>
                <a:gd name="connsiteY8" fmla="*/ 771658 h 1175316"/>
                <a:gd name="connsiteX9" fmla="*/ 1674417 w 2077298"/>
                <a:gd name="connsiteY9" fmla="*/ 666841 h 1175316"/>
                <a:gd name="connsiteX10" fmla="*/ 1287598 w 2077298"/>
                <a:gd name="connsiteY10" fmla="*/ 484551 h 1175316"/>
                <a:gd name="connsiteX11" fmla="*/ 1309509 w 2077298"/>
                <a:gd name="connsiteY11" fmla="*/ 449580 h 1175316"/>
                <a:gd name="connsiteX12" fmla="*/ 463689 w 2077298"/>
                <a:gd name="connsiteY12" fmla="*/ 0 h 1175316"/>
                <a:gd name="connsiteX13" fmla="*/ 347494 w 2077298"/>
                <a:gd name="connsiteY13" fmla="*/ 201505 h 1175316"/>
                <a:gd name="connsiteX14" fmla="*/ 0 w 2077298"/>
                <a:gd name="connsiteY14" fmla="*/ 27769 h 1175316"/>
                <a:gd name="connsiteX15" fmla="*/ 29331 w 2077298"/>
                <a:gd name="connsiteY15" fmla="*/ 220980 h 1175316"/>
                <a:gd name="connsiteX16" fmla="*/ 410349 w 2077298"/>
                <a:gd name="connsiteY16" fmla="*/ 464820 h 1175316"/>
                <a:gd name="connsiteX17" fmla="*/ 524649 w 2077298"/>
                <a:gd name="connsiteY17" fmla="*/ 586740 h 1175316"/>
                <a:gd name="connsiteX18" fmla="*/ 1111389 w 2077298"/>
                <a:gd name="connsiteY1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831566 w 2077298"/>
                <a:gd name="connsiteY7" fmla="*/ 947681 h 1175316"/>
                <a:gd name="connsiteX8" fmla="*/ 1692408 w 2077298"/>
                <a:gd name="connsiteY8" fmla="*/ 849131 h 1175316"/>
                <a:gd name="connsiteX9" fmla="*/ 1651928 w 2077298"/>
                <a:gd name="connsiteY9" fmla="*/ 771658 h 1175316"/>
                <a:gd name="connsiteX10" fmla="*/ 1674417 w 2077298"/>
                <a:gd name="connsiteY10" fmla="*/ 666841 h 1175316"/>
                <a:gd name="connsiteX11" fmla="*/ 1287598 w 2077298"/>
                <a:gd name="connsiteY11" fmla="*/ 484551 h 1175316"/>
                <a:gd name="connsiteX12" fmla="*/ 1309509 w 2077298"/>
                <a:gd name="connsiteY12" fmla="*/ 449580 h 1175316"/>
                <a:gd name="connsiteX13" fmla="*/ 463689 w 2077298"/>
                <a:gd name="connsiteY13" fmla="*/ 0 h 1175316"/>
                <a:gd name="connsiteX14" fmla="*/ 347494 w 2077298"/>
                <a:gd name="connsiteY14" fmla="*/ 201505 h 1175316"/>
                <a:gd name="connsiteX15" fmla="*/ 0 w 2077298"/>
                <a:gd name="connsiteY15" fmla="*/ 27769 h 1175316"/>
                <a:gd name="connsiteX16" fmla="*/ 29331 w 2077298"/>
                <a:gd name="connsiteY16" fmla="*/ 220980 h 1175316"/>
                <a:gd name="connsiteX17" fmla="*/ 410349 w 2077298"/>
                <a:gd name="connsiteY17" fmla="*/ 464820 h 1175316"/>
                <a:gd name="connsiteX18" fmla="*/ 524649 w 2077298"/>
                <a:gd name="connsiteY18" fmla="*/ 586740 h 1175316"/>
                <a:gd name="connsiteX19" fmla="*/ 1111389 w 2077298"/>
                <a:gd name="connsiteY1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888092 w 2077298"/>
                <a:gd name="connsiteY7" fmla="*/ 945289 h 1175316"/>
                <a:gd name="connsiteX8" fmla="*/ 1692408 w 2077298"/>
                <a:gd name="connsiteY8" fmla="*/ 849131 h 1175316"/>
                <a:gd name="connsiteX9" fmla="*/ 1651928 w 2077298"/>
                <a:gd name="connsiteY9" fmla="*/ 771658 h 1175316"/>
                <a:gd name="connsiteX10" fmla="*/ 1674417 w 2077298"/>
                <a:gd name="connsiteY10" fmla="*/ 666841 h 1175316"/>
                <a:gd name="connsiteX11" fmla="*/ 1287598 w 2077298"/>
                <a:gd name="connsiteY11" fmla="*/ 484551 h 1175316"/>
                <a:gd name="connsiteX12" fmla="*/ 1309509 w 2077298"/>
                <a:gd name="connsiteY12" fmla="*/ 449580 h 1175316"/>
                <a:gd name="connsiteX13" fmla="*/ 463689 w 2077298"/>
                <a:gd name="connsiteY13" fmla="*/ 0 h 1175316"/>
                <a:gd name="connsiteX14" fmla="*/ 347494 w 2077298"/>
                <a:gd name="connsiteY14" fmla="*/ 201505 h 1175316"/>
                <a:gd name="connsiteX15" fmla="*/ 0 w 2077298"/>
                <a:gd name="connsiteY15" fmla="*/ 27769 h 1175316"/>
                <a:gd name="connsiteX16" fmla="*/ 29331 w 2077298"/>
                <a:gd name="connsiteY16" fmla="*/ 220980 h 1175316"/>
                <a:gd name="connsiteX17" fmla="*/ 410349 w 2077298"/>
                <a:gd name="connsiteY17" fmla="*/ 464820 h 1175316"/>
                <a:gd name="connsiteX18" fmla="*/ 524649 w 2077298"/>
                <a:gd name="connsiteY18" fmla="*/ 586740 h 1175316"/>
                <a:gd name="connsiteX19" fmla="*/ 1111389 w 2077298"/>
                <a:gd name="connsiteY1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730290 w 2077298"/>
                <a:gd name="connsiteY4" fmla="*/ 1048169 h 1175316"/>
                <a:gd name="connsiteX5" fmla="*/ 2034250 w 2077298"/>
                <a:gd name="connsiteY5" fmla="*/ 1175316 h 1175316"/>
                <a:gd name="connsiteX6" fmla="*/ 2077298 w 2077298"/>
                <a:gd name="connsiteY6" fmla="*/ 1077222 h 1175316"/>
                <a:gd name="connsiteX7" fmla="*/ 1885817 w 2077298"/>
                <a:gd name="connsiteY7" fmla="*/ 981291 h 1175316"/>
                <a:gd name="connsiteX8" fmla="*/ 1888092 w 2077298"/>
                <a:gd name="connsiteY8" fmla="*/ 945289 h 1175316"/>
                <a:gd name="connsiteX9" fmla="*/ 1692408 w 2077298"/>
                <a:gd name="connsiteY9" fmla="*/ 849131 h 1175316"/>
                <a:gd name="connsiteX10" fmla="*/ 1651928 w 2077298"/>
                <a:gd name="connsiteY10" fmla="*/ 771658 h 1175316"/>
                <a:gd name="connsiteX11" fmla="*/ 1674417 w 2077298"/>
                <a:gd name="connsiteY11" fmla="*/ 666841 h 1175316"/>
                <a:gd name="connsiteX12" fmla="*/ 1287598 w 2077298"/>
                <a:gd name="connsiteY12" fmla="*/ 484551 h 1175316"/>
                <a:gd name="connsiteX13" fmla="*/ 1309509 w 2077298"/>
                <a:gd name="connsiteY13" fmla="*/ 449580 h 1175316"/>
                <a:gd name="connsiteX14" fmla="*/ 463689 w 2077298"/>
                <a:gd name="connsiteY14" fmla="*/ 0 h 1175316"/>
                <a:gd name="connsiteX15" fmla="*/ 347494 w 2077298"/>
                <a:gd name="connsiteY15" fmla="*/ 201505 h 1175316"/>
                <a:gd name="connsiteX16" fmla="*/ 0 w 2077298"/>
                <a:gd name="connsiteY16" fmla="*/ 27769 h 1175316"/>
                <a:gd name="connsiteX17" fmla="*/ 29331 w 2077298"/>
                <a:gd name="connsiteY17" fmla="*/ 220980 h 1175316"/>
                <a:gd name="connsiteX18" fmla="*/ 410349 w 2077298"/>
                <a:gd name="connsiteY18" fmla="*/ 464820 h 1175316"/>
                <a:gd name="connsiteX19" fmla="*/ 524649 w 2077298"/>
                <a:gd name="connsiteY19" fmla="*/ 586740 h 1175316"/>
                <a:gd name="connsiteX20" fmla="*/ 1111389 w 2077298"/>
                <a:gd name="connsiteY2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840987 w 2077298"/>
                <a:gd name="connsiteY4" fmla="*/ 1076880 h 1175316"/>
                <a:gd name="connsiteX5" fmla="*/ 2034250 w 2077298"/>
                <a:gd name="connsiteY5" fmla="*/ 1175316 h 1175316"/>
                <a:gd name="connsiteX6" fmla="*/ 2077298 w 2077298"/>
                <a:gd name="connsiteY6" fmla="*/ 1077222 h 1175316"/>
                <a:gd name="connsiteX7" fmla="*/ 1885817 w 2077298"/>
                <a:gd name="connsiteY7" fmla="*/ 981291 h 1175316"/>
                <a:gd name="connsiteX8" fmla="*/ 1888092 w 2077298"/>
                <a:gd name="connsiteY8" fmla="*/ 945289 h 1175316"/>
                <a:gd name="connsiteX9" fmla="*/ 1692408 w 2077298"/>
                <a:gd name="connsiteY9" fmla="*/ 849131 h 1175316"/>
                <a:gd name="connsiteX10" fmla="*/ 1651928 w 2077298"/>
                <a:gd name="connsiteY10" fmla="*/ 771658 h 1175316"/>
                <a:gd name="connsiteX11" fmla="*/ 1674417 w 2077298"/>
                <a:gd name="connsiteY11" fmla="*/ 666841 h 1175316"/>
                <a:gd name="connsiteX12" fmla="*/ 1287598 w 2077298"/>
                <a:gd name="connsiteY12" fmla="*/ 484551 h 1175316"/>
                <a:gd name="connsiteX13" fmla="*/ 1309509 w 2077298"/>
                <a:gd name="connsiteY13" fmla="*/ 449580 h 1175316"/>
                <a:gd name="connsiteX14" fmla="*/ 463689 w 2077298"/>
                <a:gd name="connsiteY14" fmla="*/ 0 h 1175316"/>
                <a:gd name="connsiteX15" fmla="*/ 347494 w 2077298"/>
                <a:gd name="connsiteY15" fmla="*/ 201505 h 1175316"/>
                <a:gd name="connsiteX16" fmla="*/ 0 w 2077298"/>
                <a:gd name="connsiteY16" fmla="*/ 27769 h 1175316"/>
                <a:gd name="connsiteX17" fmla="*/ 29331 w 2077298"/>
                <a:gd name="connsiteY17" fmla="*/ 220980 h 1175316"/>
                <a:gd name="connsiteX18" fmla="*/ 410349 w 2077298"/>
                <a:gd name="connsiteY18" fmla="*/ 464820 h 1175316"/>
                <a:gd name="connsiteX19" fmla="*/ 524649 w 2077298"/>
                <a:gd name="connsiteY19" fmla="*/ 586740 h 1175316"/>
                <a:gd name="connsiteX20" fmla="*/ 1111389 w 2077298"/>
                <a:gd name="connsiteY2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725580 w 2077298"/>
                <a:gd name="connsiteY4" fmla="*/ 1040991 h 1175316"/>
                <a:gd name="connsiteX5" fmla="*/ 1840987 w 2077298"/>
                <a:gd name="connsiteY5" fmla="*/ 1076880 h 1175316"/>
                <a:gd name="connsiteX6" fmla="*/ 2034250 w 2077298"/>
                <a:gd name="connsiteY6" fmla="*/ 1175316 h 1175316"/>
                <a:gd name="connsiteX7" fmla="*/ 2077298 w 2077298"/>
                <a:gd name="connsiteY7" fmla="*/ 1077222 h 1175316"/>
                <a:gd name="connsiteX8" fmla="*/ 1885817 w 2077298"/>
                <a:gd name="connsiteY8" fmla="*/ 981291 h 1175316"/>
                <a:gd name="connsiteX9" fmla="*/ 1888092 w 2077298"/>
                <a:gd name="connsiteY9" fmla="*/ 945289 h 1175316"/>
                <a:gd name="connsiteX10" fmla="*/ 1692408 w 2077298"/>
                <a:gd name="connsiteY10" fmla="*/ 849131 h 1175316"/>
                <a:gd name="connsiteX11" fmla="*/ 1651928 w 2077298"/>
                <a:gd name="connsiteY11" fmla="*/ 771658 h 1175316"/>
                <a:gd name="connsiteX12" fmla="*/ 1674417 w 2077298"/>
                <a:gd name="connsiteY12" fmla="*/ 666841 h 1175316"/>
                <a:gd name="connsiteX13" fmla="*/ 1287598 w 2077298"/>
                <a:gd name="connsiteY13" fmla="*/ 484551 h 1175316"/>
                <a:gd name="connsiteX14" fmla="*/ 1309509 w 2077298"/>
                <a:gd name="connsiteY14" fmla="*/ 449580 h 1175316"/>
                <a:gd name="connsiteX15" fmla="*/ 463689 w 2077298"/>
                <a:gd name="connsiteY15" fmla="*/ 0 h 1175316"/>
                <a:gd name="connsiteX16" fmla="*/ 347494 w 2077298"/>
                <a:gd name="connsiteY16" fmla="*/ 201505 h 1175316"/>
                <a:gd name="connsiteX17" fmla="*/ 0 w 2077298"/>
                <a:gd name="connsiteY17" fmla="*/ 27769 h 1175316"/>
                <a:gd name="connsiteX18" fmla="*/ 29331 w 2077298"/>
                <a:gd name="connsiteY18" fmla="*/ 220980 h 1175316"/>
                <a:gd name="connsiteX19" fmla="*/ 410349 w 2077298"/>
                <a:gd name="connsiteY19" fmla="*/ 464820 h 1175316"/>
                <a:gd name="connsiteX20" fmla="*/ 524649 w 2077298"/>
                <a:gd name="connsiteY20" fmla="*/ 586740 h 1175316"/>
                <a:gd name="connsiteX21" fmla="*/ 1111389 w 2077298"/>
                <a:gd name="connsiteY21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812725 w 2077298"/>
                <a:gd name="connsiteY4" fmla="*/ 1105590 h 1175316"/>
                <a:gd name="connsiteX5" fmla="*/ 1840987 w 2077298"/>
                <a:gd name="connsiteY5" fmla="*/ 1076880 h 1175316"/>
                <a:gd name="connsiteX6" fmla="*/ 2034250 w 2077298"/>
                <a:gd name="connsiteY6" fmla="*/ 1175316 h 1175316"/>
                <a:gd name="connsiteX7" fmla="*/ 2077298 w 2077298"/>
                <a:gd name="connsiteY7" fmla="*/ 1077222 h 1175316"/>
                <a:gd name="connsiteX8" fmla="*/ 1885817 w 2077298"/>
                <a:gd name="connsiteY8" fmla="*/ 981291 h 1175316"/>
                <a:gd name="connsiteX9" fmla="*/ 1888092 w 2077298"/>
                <a:gd name="connsiteY9" fmla="*/ 945289 h 1175316"/>
                <a:gd name="connsiteX10" fmla="*/ 1692408 w 2077298"/>
                <a:gd name="connsiteY10" fmla="*/ 849131 h 1175316"/>
                <a:gd name="connsiteX11" fmla="*/ 1651928 w 2077298"/>
                <a:gd name="connsiteY11" fmla="*/ 771658 h 1175316"/>
                <a:gd name="connsiteX12" fmla="*/ 1674417 w 2077298"/>
                <a:gd name="connsiteY12" fmla="*/ 666841 h 1175316"/>
                <a:gd name="connsiteX13" fmla="*/ 1287598 w 2077298"/>
                <a:gd name="connsiteY13" fmla="*/ 484551 h 1175316"/>
                <a:gd name="connsiteX14" fmla="*/ 1309509 w 2077298"/>
                <a:gd name="connsiteY14" fmla="*/ 449580 h 1175316"/>
                <a:gd name="connsiteX15" fmla="*/ 463689 w 2077298"/>
                <a:gd name="connsiteY15" fmla="*/ 0 h 1175316"/>
                <a:gd name="connsiteX16" fmla="*/ 347494 w 2077298"/>
                <a:gd name="connsiteY16" fmla="*/ 201505 h 1175316"/>
                <a:gd name="connsiteX17" fmla="*/ 0 w 2077298"/>
                <a:gd name="connsiteY17" fmla="*/ 27769 h 1175316"/>
                <a:gd name="connsiteX18" fmla="*/ 29331 w 2077298"/>
                <a:gd name="connsiteY18" fmla="*/ 220980 h 1175316"/>
                <a:gd name="connsiteX19" fmla="*/ 410349 w 2077298"/>
                <a:gd name="connsiteY19" fmla="*/ 464820 h 1175316"/>
                <a:gd name="connsiteX20" fmla="*/ 524649 w 2077298"/>
                <a:gd name="connsiteY20" fmla="*/ 586740 h 1175316"/>
                <a:gd name="connsiteX21" fmla="*/ 1111389 w 2077298"/>
                <a:gd name="connsiteY21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579553 w 2077298"/>
                <a:gd name="connsiteY3" fmla="*/ 1009888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51928 w 2077298"/>
                <a:gd name="connsiteY12" fmla="*/ 771658 h 1175316"/>
                <a:gd name="connsiteX13" fmla="*/ 1674417 w 2077298"/>
                <a:gd name="connsiteY13" fmla="*/ 666841 h 1175316"/>
                <a:gd name="connsiteX14" fmla="*/ 1287598 w 2077298"/>
                <a:gd name="connsiteY14" fmla="*/ 484551 h 1175316"/>
                <a:gd name="connsiteX15" fmla="*/ 1309509 w 2077298"/>
                <a:gd name="connsiteY15" fmla="*/ 449580 h 1175316"/>
                <a:gd name="connsiteX16" fmla="*/ 463689 w 2077298"/>
                <a:gd name="connsiteY16" fmla="*/ 0 h 1175316"/>
                <a:gd name="connsiteX17" fmla="*/ 347494 w 2077298"/>
                <a:gd name="connsiteY17" fmla="*/ 201505 h 1175316"/>
                <a:gd name="connsiteX18" fmla="*/ 0 w 2077298"/>
                <a:gd name="connsiteY18" fmla="*/ 27769 h 1175316"/>
                <a:gd name="connsiteX19" fmla="*/ 29331 w 2077298"/>
                <a:gd name="connsiteY19" fmla="*/ 220980 h 1175316"/>
                <a:gd name="connsiteX20" fmla="*/ 410349 w 2077298"/>
                <a:gd name="connsiteY20" fmla="*/ 464820 h 1175316"/>
                <a:gd name="connsiteX21" fmla="*/ 524649 w 2077298"/>
                <a:gd name="connsiteY21" fmla="*/ 586740 h 1175316"/>
                <a:gd name="connsiteX22" fmla="*/ 1111389 w 2077298"/>
                <a:gd name="connsiteY22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51928 w 2077298"/>
                <a:gd name="connsiteY12" fmla="*/ 771658 h 1175316"/>
                <a:gd name="connsiteX13" fmla="*/ 1674417 w 2077298"/>
                <a:gd name="connsiteY13" fmla="*/ 666841 h 1175316"/>
                <a:gd name="connsiteX14" fmla="*/ 1287598 w 2077298"/>
                <a:gd name="connsiteY14" fmla="*/ 484551 h 1175316"/>
                <a:gd name="connsiteX15" fmla="*/ 1309509 w 2077298"/>
                <a:gd name="connsiteY15" fmla="*/ 449580 h 1175316"/>
                <a:gd name="connsiteX16" fmla="*/ 463689 w 2077298"/>
                <a:gd name="connsiteY16" fmla="*/ 0 h 1175316"/>
                <a:gd name="connsiteX17" fmla="*/ 347494 w 2077298"/>
                <a:gd name="connsiteY17" fmla="*/ 201505 h 1175316"/>
                <a:gd name="connsiteX18" fmla="*/ 0 w 2077298"/>
                <a:gd name="connsiteY18" fmla="*/ 27769 h 1175316"/>
                <a:gd name="connsiteX19" fmla="*/ 29331 w 2077298"/>
                <a:gd name="connsiteY19" fmla="*/ 220980 h 1175316"/>
                <a:gd name="connsiteX20" fmla="*/ 410349 w 2077298"/>
                <a:gd name="connsiteY20" fmla="*/ 464820 h 1175316"/>
                <a:gd name="connsiteX21" fmla="*/ 524649 w 2077298"/>
                <a:gd name="connsiteY21" fmla="*/ 586740 h 1175316"/>
                <a:gd name="connsiteX22" fmla="*/ 1111389 w 2077298"/>
                <a:gd name="connsiteY22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78475 w 2077298"/>
                <a:gd name="connsiteY12" fmla="*/ 818484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1111389 w 2077298"/>
                <a:gd name="connsiteY23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1111389 w 2077298"/>
                <a:gd name="connsiteY23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931859 w 2077298"/>
                <a:gd name="connsiteY23" fmla="*/ 813698 h 1175316"/>
                <a:gd name="connsiteX24" fmla="*/ 1111389 w 2077298"/>
                <a:gd name="connsiteY24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884753 w 2077298"/>
                <a:gd name="connsiteY23" fmla="*/ 823269 h 1175316"/>
                <a:gd name="connsiteX24" fmla="*/ 1111389 w 2077298"/>
                <a:gd name="connsiteY24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592702 w 2077298"/>
                <a:gd name="connsiteY23" fmla="*/ 636650 h 1175316"/>
                <a:gd name="connsiteX24" fmla="*/ 884753 w 2077298"/>
                <a:gd name="connsiteY24" fmla="*/ 823269 h 1175316"/>
                <a:gd name="connsiteX25" fmla="*/ 1111389 w 2077298"/>
                <a:gd name="connsiteY25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884753 w 2077298"/>
                <a:gd name="connsiteY24" fmla="*/ 823269 h 1175316"/>
                <a:gd name="connsiteX25" fmla="*/ 1111389 w 2077298"/>
                <a:gd name="connsiteY25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62280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37618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92308 w 2077298"/>
                <a:gd name="connsiteY15" fmla="*/ 489337 h 1175316"/>
                <a:gd name="connsiteX16" fmla="*/ 1309509 w 2077298"/>
                <a:gd name="connsiteY16" fmla="*/ 437618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527738 w 2077298"/>
                <a:gd name="connsiteY15" fmla="*/ 600761 h 1175316"/>
                <a:gd name="connsiteX16" fmla="*/ 1292308 w 2077298"/>
                <a:gd name="connsiteY16" fmla="*/ 489337 h 1175316"/>
                <a:gd name="connsiteX17" fmla="*/ 1309509 w 2077298"/>
                <a:gd name="connsiteY17" fmla="*/ 437618 h 1175316"/>
                <a:gd name="connsiteX18" fmla="*/ 463689 w 2077298"/>
                <a:gd name="connsiteY18" fmla="*/ 0 h 1175316"/>
                <a:gd name="connsiteX19" fmla="*/ 347494 w 2077298"/>
                <a:gd name="connsiteY19" fmla="*/ 201505 h 1175316"/>
                <a:gd name="connsiteX20" fmla="*/ 0 w 2077298"/>
                <a:gd name="connsiteY20" fmla="*/ 27769 h 1175316"/>
                <a:gd name="connsiteX21" fmla="*/ 29331 w 2077298"/>
                <a:gd name="connsiteY21" fmla="*/ 220980 h 1175316"/>
                <a:gd name="connsiteX22" fmla="*/ 410349 w 2077298"/>
                <a:gd name="connsiteY22" fmla="*/ 464820 h 1175316"/>
                <a:gd name="connsiteX23" fmla="*/ 524649 w 2077298"/>
                <a:gd name="connsiteY23" fmla="*/ 586740 h 1175316"/>
                <a:gd name="connsiteX24" fmla="*/ 726951 w 2077298"/>
                <a:gd name="connsiteY24" fmla="*/ 682109 h 1175316"/>
                <a:gd name="connsiteX25" fmla="*/ 715175 w 2077298"/>
                <a:gd name="connsiteY25" fmla="*/ 713212 h 1175316"/>
                <a:gd name="connsiteX26" fmla="*/ 884753 w 2077298"/>
                <a:gd name="connsiteY26" fmla="*/ 823269 h 1175316"/>
                <a:gd name="connsiteX27" fmla="*/ 1111389 w 2077298"/>
                <a:gd name="connsiteY27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487699 w 2077298"/>
                <a:gd name="connsiteY15" fmla="*/ 581621 h 1175316"/>
                <a:gd name="connsiteX16" fmla="*/ 1292308 w 2077298"/>
                <a:gd name="connsiteY16" fmla="*/ 489337 h 1175316"/>
                <a:gd name="connsiteX17" fmla="*/ 1309509 w 2077298"/>
                <a:gd name="connsiteY17" fmla="*/ 437618 h 1175316"/>
                <a:gd name="connsiteX18" fmla="*/ 463689 w 2077298"/>
                <a:gd name="connsiteY18" fmla="*/ 0 h 1175316"/>
                <a:gd name="connsiteX19" fmla="*/ 347494 w 2077298"/>
                <a:gd name="connsiteY19" fmla="*/ 201505 h 1175316"/>
                <a:gd name="connsiteX20" fmla="*/ 0 w 2077298"/>
                <a:gd name="connsiteY20" fmla="*/ 27769 h 1175316"/>
                <a:gd name="connsiteX21" fmla="*/ 29331 w 2077298"/>
                <a:gd name="connsiteY21" fmla="*/ 220980 h 1175316"/>
                <a:gd name="connsiteX22" fmla="*/ 410349 w 2077298"/>
                <a:gd name="connsiteY22" fmla="*/ 464820 h 1175316"/>
                <a:gd name="connsiteX23" fmla="*/ 524649 w 2077298"/>
                <a:gd name="connsiteY23" fmla="*/ 586740 h 1175316"/>
                <a:gd name="connsiteX24" fmla="*/ 726951 w 2077298"/>
                <a:gd name="connsiteY24" fmla="*/ 682109 h 1175316"/>
                <a:gd name="connsiteX25" fmla="*/ 715175 w 2077298"/>
                <a:gd name="connsiteY25" fmla="*/ 713212 h 1175316"/>
                <a:gd name="connsiteX26" fmla="*/ 884753 w 2077298"/>
                <a:gd name="connsiteY26" fmla="*/ 823269 h 1175316"/>
                <a:gd name="connsiteX27" fmla="*/ 1111389 w 2077298"/>
                <a:gd name="connsiteY27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605461 w 2077298"/>
                <a:gd name="connsiteY15" fmla="*/ 629472 h 1175316"/>
                <a:gd name="connsiteX16" fmla="*/ 1487699 w 2077298"/>
                <a:gd name="connsiteY16" fmla="*/ 581621 h 1175316"/>
                <a:gd name="connsiteX17" fmla="*/ 1292308 w 2077298"/>
                <a:gd name="connsiteY17" fmla="*/ 489337 h 1175316"/>
                <a:gd name="connsiteX18" fmla="*/ 1309509 w 2077298"/>
                <a:gd name="connsiteY18" fmla="*/ 437618 h 1175316"/>
                <a:gd name="connsiteX19" fmla="*/ 463689 w 2077298"/>
                <a:gd name="connsiteY19" fmla="*/ 0 h 1175316"/>
                <a:gd name="connsiteX20" fmla="*/ 347494 w 2077298"/>
                <a:gd name="connsiteY20" fmla="*/ 201505 h 1175316"/>
                <a:gd name="connsiteX21" fmla="*/ 0 w 2077298"/>
                <a:gd name="connsiteY21" fmla="*/ 27769 h 1175316"/>
                <a:gd name="connsiteX22" fmla="*/ 29331 w 2077298"/>
                <a:gd name="connsiteY22" fmla="*/ 220980 h 1175316"/>
                <a:gd name="connsiteX23" fmla="*/ 410349 w 2077298"/>
                <a:gd name="connsiteY23" fmla="*/ 464820 h 1175316"/>
                <a:gd name="connsiteX24" fmla="*/ 524649 w 2077298"/>
                <a:gd name="connsiteY24" fmla="*/ 586740 h 1175316"/>
                <a:gd name="connsiteX25" fmla="*/ 726951 w 2077298"/>
                <a:gd name="connsiteY25" fmla="*/ 682109 h 1175316"/>
                <a:gd name="connsiteX26" fmla="*/ 715175 w 2077298"/>
                <a:gd name="connsiteY26" fmla="*/ 713212 h 1175316"/>
                <a:gd name="connsiteX27" fmla="*/ 884753 w 2077298"/>
                <a:gd name="connsiteY27" fmla="*/ 823269 h 1175316"/>
                <a:gd name="connsiteX28" fmla="*/ 1111389 w 2077298"/>
                <a:gd name="connsiteY2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506540 w 2077298"/>
                <a:gd name="connsiteY15" fmla="*/ 569658 h 1175316"/>
                <a:gd name="connsiteX16" fmla="*/ 1487699 w 2077298"/>
                <a:gd name="connsiteY16" fmla="*/ 581621 h 1175316"/>
                <a:gd name="connsiteX17" fmla="*/ 1292308 w 2077298"/>
                <a:gd name="connsiteY17" fmla="*/ 489337 h 1175316"/>
                <a:gd name="connsiteX18" fmla="*/ 1309509 w 2077298"/>
                <a:gd name="connsiteY18" fmla="*/ 437618 h 1175316"/>
                <a:gd name="connsiteX19" fmla="*/ 463689 w 2077298"/>
                <a:gd name="connsiteY19" fmla="*/ 0 h 1175316"/>
                <a:gd name="connsiteX20" fmla="*/ 347494 w 2077298"/>
                <a:gd name="connsiteY20" fmla="*/ 201505 h 1175316"/>
                <a:gd name="connsiteX21" fmla="*/ 0 w 2077298"/>
                <a:gd name="connsiteY21" fmla="*/ 27769 h 1175316"/>
                <a:gd name="connsiteX22" fmla="*/ 29331 w 2077298"/>
                <a:gd name="connsiteY22" fmla="*/ 220980 h 1175316"/>
                <a:gd name="connsiteX23" fmla="*/ 410349 w 2077298"/>
                <a:gd name="connsiteY23" fmla="*/ 464820 h 1175316"/>
                <a:gd name="connsiteX24" fmla="*/ 524649 w 2077298"/>
                <a:gd name="connsiteY24" fmla="*/ 586740 h 1175316"/>
                <a:gd name="connsiteX25" fmla="*/ 726951 w 2077298"/>
                <a:gd name="connsiteY25" fmla="*/ 682109 h 1175316"/>
                <a:gd name="connsiteX26" fmla="*/ 715175 w 2077298"/>
                <a:gd name="connsiteY26" fmla="*/ 713212 h 1175316"/>
                <a:gd name="connsiteX27" fmla="*/ 884753 w 2077298"/>
                <a:gd name="connsiteY27" fmla="*/ 823269 h 1175316"/>
                <a:gd name="connsiteX28" fmla="*/ 1111389 w 2077298"/>
                <a:gd name="connsiteY2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61988 w 2077298"/>
                <a:gd name="connsiteY14" fmla="*/ 725174 h 1175316"/>
                <a:gd name="connsiteX15" fmla="*/ 1674417 w 2077298"/>
                <a:gd name="connsiteY15" fmla="*/ 666841 h 1175316"/>
                <a:gd name="connsiteX16" fmla="*/ 1506540 w 2077298"/>
                <a:gd name="connsiteY16" fmla="*/ 569658 h 1175316"/>
                <a:gd name="connsiteX17" fmla="*/ 1487699 w 2077298"/>
                <a:gd name="connsiteY17" fmla="*/ 581621 h 1175316"/>
                <a:gd name="connsiteX18" fmla="*/ 1292308 w 2077298"/>
                <a:gd name="connsiteY18" fmla="*/ 489337 h 1175316"/>
                <a:gd name="connsiteX19" fmla="*/ 1309509 w 2077298"/>
                <a:gd name="connsiteY19" fmla="*/ 437618 h 1175316"/>
                <a:gd name="connsiteX20" fmla="*/ 463689 w 2077298"/>
                <a:gd name="connsiteY20" fmla="*/ 0 h 1175316"/>
                <a:gd name="connsiteX21" fmla="*/ 347494 w 2077298"/>
                <a:gd name="connsiteY21" fmla="*/ 201505 h 1175316"/>
                <a:gd name="connsiteX22" fmla="*/ 0 w 2077298"/>
                <a:gd name="connsiteY22" fmla="*/ 27769 h 1175316"/>
                <a:gd name="connsiteX23" fmla="*/ 29331 w 2077298"/>
                <a:gd name="connsiteY23" fmla="*/ 220980 h 1175316"/>
                <a:gd name="connsiteX24" fmla="*/ 410349 w 2077298"/>
                <a:gd name="connsiteY24" fmla="*/ 464820 h 1175316"/>
                <a:gd name="connsiteX25" fmla="*/ 524649 w 2077298"/>
                <a:gd name="connsiteY25" fmla="*/ 586740 h 1175316"/>
                <a:gd name="connsiteX26" fmla="*/ 726951 w 2077298"/>
                <a:gd name="connsiteY26" fmla="*/ 682109 h 1175316"/>
                <a:gd name="connsiteX27" fmla="*/ 715175 w 2077298"/>
                <a:gd name="connsiteY27" fmla="*/ 713212 h 1175316"/>
                <a:gd name="connsiteX28" fmla="*/ 884753 w 2077298"/>
                <a:gd name="connsiteY28" fmla="*/ 823269 h 1175316"/>
                <a:gd name="connsiteX29" fmla="*/ 1111389 w 2077298"/>
                <a:gd name="connsiteY2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45502 w 2077298"/>
                <a:gd name="connsiteY14" fmla="*/ 710818 h 1175316"/>
                <a:gd name="connsiteX15" fmla="*/ 1674417 w 2077298"/>
                <a:gd name="connsiteY15" fmla="*/ 666841 h 1175316"/>
                <a:gd name="connsiteX16" fmla="*/ 1506540 w 2077298"/>
                <a:gd name="connsiteY16" fmla="*/ 569658 h 1175316"/>
                <a:gd name="connsiteX17" fmla="*/ 1487699 w 2077298"/>
                <a:gd name="connsiteY17" fmla="*/ 581621 h 1175316"/>
                <a:gd name="connsiteX18" fmla="*/ 1292308 w 2077298"/>
                <a:gd name="connsiteY18" fmla="*/ 489337 h 1175316"/>
                <a:gd name="connsiteX19" fmla="*/ 1309509 w 2077298"/>
                <a:gd name="connsiteY19" fmla="*/ 437618 h 1175316"/>
                <a:gd name="connsiteX20" fmla="*/ 463689 w 2077298"/>
                <a:gd name="connsiteY20" fmla="*/ 0 h 1175316"/>
                <a:gd name="connsiteX21" fmla="*/ 347494 w 2077298"/>
                <a:gd name="connsiteY21" fmla="*/ 201505 h 1175316"/>
                <a:gd name="connsiteX22" fmla="*/ 0 w 2077298"/>
                <a:gd name="connsiteY22" fmla="*/ 27769 h 1175316"/>
                <a:gd name="connsiteX23" fmla="*/ 29331 w 2077298"/>
                <a:gd name="connsiteY23" fmla="*/ 220980 h 1175316"/>
                <a:gd name="connsiteX24" fmla="*/ 410349 w 2077298"/>
                <a:gd name="connsiteY24" fmla="*/ 464820 h 1175316"/>
                <a:gd name="connsiteX25" fmla="*/ 524649 w 2077298"/>
                <a:gd name="connsiteY25" fmla="*/ 586740 h 1175316"/>
                <a:gd name="connsiteX26" fmla="*/ 726951 w 2077298"/>
                <a:gd name="connsiteY26" fmla="*/ 682109 h 1175316"/>
                <a:gd name="connsiteX27" fmla="*/ 715175 w 2077298"/>
                <a:gd name="connsiteY27" fmla="*/ 713212 h 1175316"/>
                <a:gd name="connsiteX28" fmla="*/ 884753 w 2077298"/>
                <a:gd name="connsiteY28" fmla="*/ 823269 h 1175316"/>
                <a:gd name="connsiteX29" fmla="*/ 1111389 w 2077298"/>
                <a:gd name="connsiteY2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43146 w 2077298"/>
                <a:gd name="connsiteY14" fmla="*/ 751493 h 1175316"/>
                <a:gd name="connsiteX15" fmla="*/ 1645502 w 2077298"/>
                <a:gd name="connsiteY15" fmla="*/ 710818 h 1175316"/>
                <a:gd name="connsiteX16" fmla="*/ 1674417 w 2077298"/>
                <a:gd name="connsiteY16" fmla="*/ 666841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66841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54878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54878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73402 w 2077298"/>
                <a:gd name="connsiteY22" fmla="*/ 189543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01968 w 2067877"/>
                <a:gd name="connsiteY0" fmla="*/ 924912 h 1185828"/>
                <a:gd name="connsiteX1" fmla="*/ 1467089 w 2067877"/>
                <a:gd name="connsiteY1" fmla="*/ 1137635 h 1185828"/>
                <a:gd name="connsiteX2" fmla="*/ 1521063 w 2067877"/>
                <a:gd name="connsiteY2" fmla="*/ 1023704 h 1185828"/>
                <a:gd name="connsiteX3" fmla="*/ 1596040 w 2067877"/>
                <a:gd name="connsiteY3" fmla="*/ 1063466 h 1185828"/>
                <a:gd name="connsiteX4" fmla="*/ 1611022 w 2067877"/>
                <a:gd name="connsiteY4" fmla="*/ 1019147 h 1185828"/>
                <a:gd name="connsiteX5" fmla="*/ 1803304 w 2067877"/>
                <a:gd name="connsiteY5" fmla="*/ 1116102 h 1185828"/>
                <a:gd name="connsiteX6" fmla="*/ 1831566 w 2067877"/>
                <a:gd name="connsiteY6" fmla="*/ 1087392 h 1185828"/>
                <a:gd name="connsiteX7" fmla="*/ 2024829 w 2067877"/>
                <a:gd name="connsiteY7" fmla="*/ 1185828 h 1185828"/>
                <a:gd name="connsiteX8" fmla="*/ 2067877 w 2067877"/>
                <a:gd name="connsiteY8" fmla="*/ 1087734 h 1185828"/>
                <a:gd name="connsiteX9" fmla="*/ 1876396 w 2067877"/>
                <a:gd name="connsiteY9" fmla="*/ 991803 h 1185828"/>
                <a:gd name="connsiteX10" fmla="*/ 1878671 w 2067877"/>
                <a:gd name="connsiteY10" fmla="*/ 955801 h 1185828"/>
                <a:gd name="connsiteX11" fmla="*/ 1682987 w 2067877"/>
                <a:gd name="connsiteY11" fmla="*/ 859643 h 1185828"/>
                <a:gd name="connsiteX12" fmla="*/ 1704383 w 2067877"/>
                <a:gd name="connsiteY12" fmla="*/ 817033 h 1185828"/>
                <a:gd name="connsiteX13" fmla="*/ 1642507 w 2067877"/>
                <a:gd name="connsiteY13" fmla="*/ 782170 h 1185828"/>
                <a:gd name="connsiteX14" fmla="*/ 1661989 w 2067877"/>
                <a:gd name="connsiteY14" fmla="*/ 733294 h 1185828"/>
                <a:gd name="connsiteX15" fmla="*/ 1636081 w 2067877"/>
                <a:gd name="connsiteY15" fmla="*/ 721330 h 1185828"/>
                <a:gd name="connsiteX16" fmla="*/ 1664996 w 2067877"/>
                <a:gd name="connsiteY16" fmla="*/ 665390 h 1185828"/>
                <a:gd name="connsiteX17" fmla="*/ 1497119 w 2067877"/>
                <a:gd name="connsiteY17" fmla="*/ 580170 h 1185828"/>
                <a:gd name="connsiteX18" fmla="*/ 1478278 w 2067877"/>
                <a:gd name="connsiteY18" fmla="*/ 592133 h 1185828"/>
                <a:gd name="connsiteX19" fmla="*/ 1282887 w 2067877"/>
                <a:gd name="connsiteY19" fmla="*/ 499849 h 1185828"/>
                <a:gd name="connsiteX20" fmla="*/ 1300088 w 2067877"/>
                <a:gd name="connsiteY20" fmla="*/ 448130 h 1185828"/>
                <a:gd name="connsiteX21" fmla="*/ 454268 w 2067877"/>
                <a:gd name="connsiteY21" fmla="*/ 10512 h 1185828"/>
                <a:gd name="connsiteX22" fmla="*/ 363981 w 2067877"/>
                <a:gd name="connsiteY22" fmla="*/ 200055 h 1185828"/>
                <a:gd name="connsiteX23" fmla="*/ 0 w 2067877"/>
                <a:gd name="connsiteY23" fmla="*/ 0 h 1185828"/>
                <a:gd name="connsiteX24" fmla="*/ 19910 w 2067877"/>
                <a:gd name="connsiteY24" fmla="*/ 231492 h 1185828"/>
                <a:gd name="connsiteX25" fmla="*/ 400928 w 2067877"/>
                <a:gd name="connsiteY25" fmla="*/ 475332 h 1185828"/>
                <a:gd name="connsiteX26" fmla="*/ 515228 w 2067877"/>
                <a:gd name="connsiteY26" fmla="*/ 597252 h 1185828"/>
                <a:gd name="connsiteX27" fmla="*/ 717530 w 2067877"/>
                <a:gd name="connsiteY27" fmla="*/ 692621 h 1185828"/>
                <a:gd name="connsiteX28" fmla="*/ 705754 w 2067877"/>
                <a:gd name="connsiteY28" fmla="*/ 723724 h 1185828"/>
                <a:gd name="connsiteX29" fmla="*/ 875332 w 2067877"/>
                <a:gd name="connsiteY29" fmla="*/ 833781 h 1185828"/>
                <a:gd name="connsiteX30" fmla="*/ 1101968 w 2067877"/>
                <a:gd name="connsiteY30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416346 w 2083295"/>
                <a:gd name="connsiteY25" fmla="*/ 475332 h 1185828"/>
                <a:gd name="connsiteX26" fmla="*/ 530646 w 2083295"/>
                <a:gd name="connsiteY26" fmla="*/ 597252 h 1185828"/>
                <a:gd name="connsiteX27" fmla="*/ 732948 w 2083295"/>
                <a:gd name="connsiteY27" fmla="*/ 692621 h 1185828"/>
                <a:gd name="connsiteX28" fmla="*/ 721172 w 2083295"/>
                <a:gd name="connsiteY28" fmla="*/ 723724 h 1185828"/>
                <a:gd name="connsiteX29" fmla="*/ 890750 w 2083295"/>
                <a:gd name="connsiteY29" fmla="*/ 833781 h 1185828"/>
                <a:gd name="connsiteX30" fmla="*/ 1117386 w 2083295"/>
                <a:gd name="connsiteY30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224213 w 2083295"/>
                <a:gd name="connsiteY25" fmla="*/ 336129 h 1185828"/>
                <a:gd name="connsiteX26" fmla="*/ 416346 w 2083295"/>
                <a:gd name="connsiteY26" fmla="*/ 475332 h 1185828"/>
                <a:gd name="connsiteX27" fmla="*/ 530646 w 2083295"/>
                <a:gd name="connsiteY27" fmla="*/ 597252 h 1185828"/>
                <a:gd name="connsiteX28" fmla="*/ 732948 w 2083295"/>
                <a:gd name="connsiteY28" fmla="*/ 692621 h 1185828"/>
                <a:gd name="connsiteX29" fmla="*/ 721172 w 2083295"/>
                <a:gd name="connsiteY29" fmla="*/ 723724 h 1185828"/>
                <a:gd name="connsiteX30" fmla="*/ 890750 w 2083295"/>
                <a:gd name="connsiteY30" fmla="*/ 833781 h 1185828"/>
                <a:gd name="connsiteX31" fmla="*/ 1117386 w 2083295"/>
                <a:gd name="connsiteY31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416346 w 2083295"/>
                <a:gd name="connsiteY26" fmla="*/ 475332 h 1185828"/>
                <a:gd name="connsiteX27" fmla="*/ 530646 w 2083295"/>
                <a:gd name="connsiteY27" fmla="*/ 597252 h 1185828"/>
                <a:gd name="connsiteX28" fmla="*/ 732948 w 2083295"/>
                <a:gd name="connsiteY28" fmla="*/ 692621 h 1185828"/>
                <a:gd name="connsiteX29" fmla="*/ 721172 w 2083295"/>
                <a:gd name="connsiteY29" fmla="*/ 723724 h 1185828"/>
                <a:gd name="connsiteX30" fmla="*/ 890750 w 2083295"/>
                <a:gd name="connsiteY30" fmla="*/ 833781 h 1185828"/>
                <a:gd name="connsiteX31" fmla="*/ 1117386 w 2083295"/>
                <a:gd name="connsiteY31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245410 w 2083295"/>
                <a:gd name="connsiteY26" fmla="*/ 350485 h 1185828"/>
                <a:gd name="connsiteX27" fmla="*/ 416346 w 2083295"/>
                <a:gd name="connsiteY27" fmla="*/ 475332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16346 w 2083295"/>
                <a:gd name="connsiteY27" fmla="*/ 475332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25767 w 2083295"/>
                <a:gd name="connsiteY27" fmla="*/ 472939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0860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25767 w 2083295"/>
                <a:gd name="connsiteY27" fmla="*/ 472939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185157 w 2083295"/>
                <a:gd name="connsiteY1" fmla="*/ 962979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117386 w 2083295"/>
                <a:gd name="connsiteY33" fmla="*/ 924912 h 1185828"/>
                <a:gd name="connsiteX0" fmla="*/ 1117386 w 2083295"/>
                <a:gd name="connsiteY0" fmla="*/ 924912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117386 w 2083295"/>
                <a:gd name="connsiteY33" fmla="*/ 924912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3813 w 2083295"/>
                <a:gd name="connsiteY4" fmla="*/ 1068250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3813 w 2083295"/>
                <a:gd name="connsiteY4" fmla="*/ 1068250 h 1185828"/>
                <a:gd name="connsiteX5" fmla="*/ 1626440 w 2083295"/>
                <a:gd name="connsiteY5" fmla="*/ 1019147 h 1185828"/>
                <a:gd name="connsiteX6" fmla="*/ 1832853 w 2083295"/>
                <a:gd name="connsiteY6" fmla="*/ 1118495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05317 h 1175316"/>
                <a:gd name="connsiteX1" fmla="*/ 1291144 w 2083295"/>
                <a:gd name="connsiteY1" fmla="*/ 1026635 h 1175316"/>
                <a:gd name="connsiteX2" fmla="*/ 1482507 w 2083295"/>
                <a:gd name="connsiteY2" fmla="*/ 1127123 h 1175316"/>
                <a:gd name="connsiteX3" fmla="*/ 1536481 w 2083295"/>
                <a:gd name="connsiteY3" fmla="*/ 1013192 h 1175316"/>
                <a:gd name="connsiteX4" fmla="*/ 1613813 w 2083295"/>
                <a:gd name="connsiteY4" fmla="*/ 1057738 h 1175316"/>
                <a:gd name="connsiteX5" fmla="*/ 1626440 w 2083295"/>
                <a:gd name="connsiteY5" fmla="*/ 1008635 h 1175316"/>
                <a:gd name="connsiteX6" fmla="*/ 1832853 w 2083295"/>
                <a:gd name="connsiteY6" fmla="*/ 1107983 h 1175316"/>
                <a:gd name="connsiteX7" fmla="*/ 1846984 w 2083295"/>
                <a:gd name="connsiteY7" fmla="*/ 1076880 h 1175316"/>
                <a:gd name="connsiteX8" fmla="*/ 2040247 w 2083295"/>
                <a:gd name="connsiteY8" fmla="*/ 1175316 h 1175316"/>
                <a:gd name="connsiteX9" fmla="*/ 2083295 w 2083295"/>
                <a:gd name="connsiteY9" fmla="*/ 1077222 h 1175316"/>
                <a:gd name="connsiteX10" fmla="*/ 1891814 w 2083295"/>
                <a:gd name="connsiteY10" fmla="*/ 981291 h 1175316"/>
                <a:gd name="connsiteX11" fmla="*/ 1894089 w 2083295"/>
                <a:gd name="connsiteY11" fmla="*/ 945289 h 1175316"/>
                <a:gd name="connsiteX12" fmla="*/ 1698405 w 2083295"/>
                <a:gd name="connsiteY12" fmla="*/ 849131 h 1175316"/>
                <a:gd name="connsiteX13" fmla="*/ 1719801 w 2083295"/>
                <a:gd name="connsiteY13" fmla="*/ 806521 h 1175316"/>
                <a:gd name="connsiteX14" fmla="*/ 1650860 w 2083295"/>
                <a:gd name="connsiteY14" fmla="*/ 771658 h 1175316"/>
                <a:gd name="connsiteX15" fmla="*/ 1672698 w 2083295"/>
                <a:gd name="connsiteY15" fmla="*/ 722782 h 1175316"/>
                <a:gd name="connsiteX16" fmla="*/ 1651499 w 2083295"/>
                <a:gd name="connsiteY16" fmla="*/ 710818 h 1175316"/>
                <a:gd name="connsiteX17" fmla="*/ 1680414 w 2083295"/>
                <a:gd name="connsiteY17" fmla="*/ 654878 h 1175316"/>
                <a:gd name="connsiteX18" fmla="*/ 1512537 w 2083295"/>
                <a:gd name="connsiteY18" fmla="*/ 569658 h 1175316"/>
                <a:gd name="connsiteX19" fmla="*/ 1493696 w 2083295"/>
                <a:gd name="connsiteY19" fmla="*/ 581621 h 1175316"/>
                <a:gd name="connsiteX20" fmla="*/ 1298305 w 2083295"/>
                <a:gd name="connsiteY20" fmla="*/ 489337 h 1175316"/>
                <a:gd name="connsiteX21" fmla="*/ 1315506 w 2083295"/>
                <a:gd name="connsiteY21" fmla="*/ 437618 h 1175316"/>
                <a:gd name="connsiteX22" fmla="*/ 469686 w 2083295"/>
                <a:gd name="connsiteY22" fmla="*/ 0 h 1175316"/>
                <a:gd name="connsiteX23" fmla="*/ 379399 w 2083295"/>
                <a:gd name="connsiteY23" fmla="*/ 189543 h 1175316"/>
                <a:gd name="connsiteX24" fmla="*/ 0 w 2083295"/>
                <a:gd name="connsiteY24" fmla="*/ 168343 h 1175316"/>
                <a:gd name="connsiteX25" fmla="*/ 108806 w 2083295"/>
                <a:gd name="connsiteY25" fmla="*/ 229915 h 1175316"/>
                <a:gd name="connsiteX26" fmla="*/ 309001 w 2083295"/>
                <a:gd name="connsiteY26" fmla="*/ 330403 h 1175316"/>
                <a:gd name="connsiteX27" fmla="*/ 425767 w 2083295"/>
                <a:gd name="connsiteY27" fmla="*/ 462427 h 1175316"/>
                <a:gd name="connsiteX28" fmla="*/ 530646 w 2083295"/>
                <a:gd name="connsiteY28" fmla="*/ 586740 h 1175316"/>
                <a:gd name="connsiteX29" fmla="*/ 732948 w 2083295"/>
                <a:gd name="connsiteY29" fmla="*/ 682109 h 1175316"/>
                <a:gd name="connsiteX30" fmla="*/ 721172 w 2083295"/>
                <a:gd name="connsiteY30" fmla="*/ 713212 h 1175316"/>
                <a:gd name="connsiteX31" fmla="*/ 890750 w 2083295"/>
                <a:gd name="connsiteY31" fmla="*/ 823269 h 1175316"/>
                <a:gd name="connsiteX32" fmla="*/ 1284610 w 2083295"/>
                <a:gd name="connsiteY32" fmla="*/ 1005317 h 1175316"/>
                <a:gd name="connsiteX0" fmla="*/ 1175804 w 1974489"/>
                <a:gd name="connsiteY0" fmla="*/ 1005317 h 1175316"/>
                <a:gd name="connsiteX1" fmla="*/ 1182338 w 1974489"/>
                <a:gd name="connsiteY1" fmla="*/ 1026635 h 1175316"/>
                <a:gd name="connsiteX2" fmla="*/ 1373701 w 1974489"/>
                <a:gd name="connsiteY2" fmla="*/ 1127123 h 1175316"/>
                <a:gd name="connsiteX3" fmla="*/ 1427675 w 1974489"/>
                <a:gd name="connsiteY3" fmla="*/ 1013192 h 1175316"/>
                <a:gd name="connsiteX4" fmla="*/ 1505007 w 1974489"/>
                <a:gd name="connsiteY4" fmla="*/ 1057738 h 1175316"/>
                <a:gd name="connsiteX5" fmla="*/ 1517634 w 1974489"/>
                <a:gd name="connsiteY5" fmla="*/ 1008635 h 1175316"/>
                <a:gd name="connsiteX6" fmla="*/ 1724047 w 1974489"/>
                <a:gd name="connsiteY6" fmla="*/ 1107983 h 1175316"/>
                <a:gd name="connsiteX7" fmla="*/ 1738178 w 1974489"/>
                <a:gd name="connsiteY7" fmla="*/ 1076880 h 1175316"/>
                <a:gd name="connsiteX8" fmla="*/ 1931441 w 1974489"/>
                <a:gd name="connsiteY8" fmla="*/ 1175316 h 1175316"/>
                <a:gd name="connsiteX9" fmla="*/ 1974489 w 1974489"/>
                <a:gd name="connsiteY9" fmla="*/ 1077222 h 1175316"/>
                <a:gd name="connsiteX10" fmla="*/ 1783008 w 1974489"/>
                <a:gd name="connsiteY10" fmla="*/ 981291 h 1175316"/>
                <a:gd name="connsiteX11" fmla="*/ 1785283 w 1974489"/>
                <a:gd name="connsiteY11" fmla="*/ 945289 h 1175316"/>
                <a:gd name="connsiteX12" fmla="*/ 1589599 w 1974489"/>
                <a:gd name="connsiteY12" fmla="*/ 849131 h 1175316"/>
                <a:gd name="connsiteX13" fmla="*/ 1610995 w 1974489"/>
                <a:gd name="connsiteY13" fmla="*/ 806521 h 1175316"/>
                <a:gd name="connsiteX14" fmla="*/ 1542054 w 1974489"/>
                <a:gd name="connsiteY14" fmla="*/ 771658 h 1175316"/>
                <a:gd name="connsiteX15" fmla="*/ 1563892 w 1974489"/>
                <a:gd name="connsiteY15" fmla="*/ 722782 h 1175316"/>
                <a:gd name="connsiteX16" fmla="*/ 1542693 w 1974489"/>
                <a:gd name="connsiteY16" fmla="*/ 710818 h 1175316"/>
                <a:gd name="connsiteX17" fmla="*/ 1571608 w 1974489"/>
                <a:gd name="connsiteY17" fmla="*/ 654878 h 1175316"/>
                <a:gd name="connsiteX18" fmla="*/ 1403731 w 1974489"/>
                <a:gd name="connsiteY18" fmla="*/ 569658 h 1175316"/>
                <a:gd name="connsiteX19" fmla="*/ 1384890 w 1974489"/>
                <a:gd name="connsiteY19" fmla="*/ 581621 h 1175316"/>
                <a:gd name="connsiteX20" fmla="*/ 1189499 w 1974489"/>
                <a:gd name="connsiteY20" fmla="*/ 489337 h 1175316"/>
                <a:gd name="connsiteX21" fmla="*/ 1206700 w 1974489"/>
                <a:gd name="connsiteY21" fmla="*/ 437618 h 1175316"/>
                <a:gd name="connsiteX22" fmla="*/ 360880 w 1974489"/>
                <a:gd name="connsiteY22" fmla="*/ 0 h 1175316"/>
                <a:gd name="connsiteX23" fmla="*/ 270593 w 1974489"/>
                <a:gd name="connsiteY23" fmla="*/ 189543 h 1175316"/>
                <a:gd name="connsiteX24" fmla="*/ 0 w 1974489"/>
                <a:gd name="connsiteY24" fmla="*/ 229915 h 1175316"/>
                <a:gd name="connsiteX25" fmla="*/ 200195 w 1974489"/>
                <a:gd name="connsiteY25" fmla="*/ 330403 h 1175316"/>
                <a:gd name="connsiteX26" fmla="*/ 316961 w 1974489"/>
                <a:gd name="connsiteY26" fmla="*/ 462427 h 1175316"/>
                <a:gd name="connsiteX27" fmla="*/ 421840 w 1974489"/>
                <a:gd name="connsiteY27" fmla="*/ 586740 h 1175316"/>
                <a:gd name="connsiteX28" fmla="*/ 624142 w 1974489"/>
                <a:gd name="connsiteY28" fmla="*/ 682109 h 1175316"/>
                <a:gd name="connsiteX29" fmla="*/ 612366 w 1974489"/>
                <a:gd name="connsiteY29" fmla="*/ 713212 h 1175316"/>
                <a:gd name="connsiteX30" fmla="*/ 781944 w 1974489"/>
                <a:gd name="connsiteY30" fmla="*/ 823269 h 1175316"/>
                <a:gd name="connsiteX31" fmla="*/ 1175804 w 1974489"/>
                <a:gd name="connsiteY31" fmla="*/ 1005317 h 1175316"/>
                <a:gd name="connsiteX0" fmla="*/ 975609 w 1774294"/>
                <a:gd name="connsiteY0" fmla="*/ 1005317 h 1175316"/>
                <a:gd name="connsiteX1" fmla="*/ 982143 w 1774294"/>
                <a:gd name="connsiteY1" fmla="*/ 1026635 h 1175316"/>
                <a:gd name="connsiteX2" fmla="*/ 1173506 w 1774294"/>
                <a:gd name="connsiteY2" fmla="*/ 1127123 h 1175316"/>
                <a:gd name="connsiteX3" fmla="*/ 1227480 w 1774294"/>
                <a:gd name="connsiteY3" fmla="*/ 1013192 h 1175316"/>
                <a:gd name="connsiteX4" fmla="*/ 1304812 w 1774294"/>
                <a:gd name="connsiteY4" fmla="*/ 1057738 h 1175316"/>
                <a:gd name="connsiteX5" fmla="*/ 1317439 w 1774294"/>
                <a:gd name="connsiteY5" fmla="*/ 1008635 h 1175316"/>
                <a:gd name="connsiteX6" fmla="*/ 1523852 w 1774294"/>
                <a:gd name="connsiteY6" fmla="*/ 1107983 h 1175316"/>
                <a:gd name="connsiteX7" fmla="*/ 1537983 w 1774294"/>
                <a:gd name="connsiteY7" fmla="*/ 1076880 h 1175316"/>
                <a:gd name="connsiteX8" fmla="*/ 1731246 w 1774294"/>
                <a:gd name="connsiteY8" fmla="*/ 1175316 h 1175316"/>
                <a:gd name="connsiteX9" fmla="*/ 1774294 w 1774294"/>
                <a:gd name="connsiteY9" fmla="*/ 1077222 h 1175316"/>
                <a:gd name="connsiteX10" fmla="*/ 1582813 w 1774294"/>
                <a:gd name="connsiteY10" fmla="*/ 981291 h 1175316"/>
                <a:gd name="connsiteX11" fmla="*/ 1585088 w 1774294"/>
                <a:gd name="connsiteY11" fmla="*/ 945289 h 1175316"/>
                <a:gd name="connsiteX12" fmla="*/ 1389404 w 1774294"/>
                <a:gd name="connsiteY12" fmla="*/ 849131 h 1175316"/>
                <a:gd name="connsiteX13" fmla="*/ 1410800 w 1774294"/>
                <a:gd name="connsiteY13" fmla="*/ 806521 h 1175316"/>
                <a:gd name="connsiteX14" fmla="*/ 1341859 w 1774294"/>
                <a:gd name="connsiteY14" fmla="*/ 771658 h 1175316"/>
                <a:gd name="connsiteX15" fmla="*/ 1363697 w 1774294"/>
                <a:gd name="connsiteY15" fmla="*/ 722782 h 1175316"/>
                <a:gd name="connsiteX16" fmla="*/ 1342498 w 1774294"/>
                <a:gd name="connsiteY16" fmla="*/ 710818 h 1175316"/>
                <a:gd name="connsiteX17" fmla="*/ 1371413 w 1774294"/>
                <a:gd name="connsiteY17" fmla="*/ 654878 h 1175316"/>
                <a:gd name="connsiteX18" fmla="*/ 1203536 w 1774294"/>
                <a:gd name="connsiteY18" fmla="*/ 569658 h 1175316"/>
                <a:gd name="connsiteX19" fmla="*/ 1184695 w 1774294"/>
                <a:gd name="connsiteY19" fmla="*/ 581621 h 1175316"/>
                <a:gd name="connsiteX20" fmla="*/ 989304 w 1774294"/>
                <a:gd name="connsiteY20" fmla="*/ 489337 h 1175316"/>
                <a:gd name="connsiteX21" fmla="*/ 1006505 w 1774294"/>
                <a:gd name="connsiteY21" fmla="*/ 437618 h 1175316"/>
                <a:gd name="connsiteX22" fmla="*/ 160685 w 1774294"/>
                <a:gd name="connsiteY22" fmla="*/ 0 h 1175316"/>
                <a:gd name="connsiteX23" fmla="*/ 70398 w 1774294"/>
                <a:gd name="connsiteY23" fmla="*/ 189543 h 1175316"/>
                <a:gd name="connsiteX24" fmla="*/ 0 w 1774294"/>
                <a:gd name="connsiteY24" fmla="*/ 330403 h 1175316"/>
                <a:gd name="connsiteX25" fmla="*/ 116766 w 1774294"/>
                <a:gd name="connsiteY25" fmla="*/ 462427 h 1175316"/>
                <a:gd name="connsiteX26" fmla="*/ 221645 w 1774294"/>
                <a:gd name="connsiteY26" fmla="*/ 586740 h 1175316"/>
                <a:gd name="connsiteX27" fmla="*/ 423947 w 1774294"/>
                <a:gd name="connsiteY27" fmla="*/ 682109 h 1175316"/>
                <a:gd name="connsiteX28" fmla="*/ 412171 w 1774294"/>
                <a:gd name="connsiteY28" fmla="*/ 713212 h 1175316"/>
                <a:gd name="connsiteX29" fmla="*/ 581749 w 1774294"/>
                <a:gd name="connsiteY29" fmla="*/ 823269 h 1175316"/>
                <a:gd name="connsiteX30" fmla="*/ 975609 w 1774294"/>
                <a:gd name="connsiteY30" fmla="*/ 1005317 h 1175316"/>
                <a:gd name="connsiteX0" fmla="*/ 975609 w 1774294"/>
                <a:gd name="connsiteY0" fmla="*/ 995748 h 1165747"/>
                <a:gd name="connsiteX1" fmla="*/ 982143 w 1774294"/>
                <a:gd name="connsiteY1" fmla="*/ 1017066 h 1165747"/>
                <a:gd name="connsiteX2" fmla="*/ 1173506 w 1774294"/>
                <a:gd name="connsiteY2" fmla="*/ 1117554 h 1165747"/>
                <a:gd name="connsiteX3" fmla="*/ 1227480 w 1774294"/>
                <a:gd name="connsiteY3" fmla="*/ 1003623 h 1165747"/>
                <a:gd name="connsiteX4" fmla="*/ 1304812 w 1774294"/>
                <a:gd name="connsiteY4" fmla="*/ 1048169 h 1165747"/>
                <a:gd name="connsiteX5" fmla="*/ 1317439 w 1774294"/>
                <a:gd name="connsiteY5" fmla="*/ 999066 h 1165747"/>
                <a:gd name="connsiteX6" fmla="*/ 1523852 w 1774294"/>
                <a:gd name="connsiteY6" fmla="*/ 1098414 h 1165747"/>
                <a:gd name="connsiteX7" fmla="*/ 1537983 w 1774294"/>
                <a:gd name="connsiteY7" fmla="*/ 1067311 h 1165747"/>
                <a:gd name="connsiteX8" fmla="*/ 1731246 w 1774294"/>
                <a:gd name="connsiteY8" fmla="*/ 1165747 h 1165747"/>
                <a:gd name="connsiteX9" fmla="*/ 1774294 w 1774294"/>
                <a:gd name="connsiteY9" fmla="*/ 1067653 h 1165747"/>
                <a:gd name="connsiteX10" fmla="*/ 1582813 w 1774294"/>
                <a:gd name="connsiteY10" fmla="*/ 971722 h 1165747"/>
                <a:gd name="connsiteX11" fmla="*/ 1585088 w 1774294"/>
                <a:gd name="connsiteY11" fmla="*/ 935720 h 1165747"/>
                <a:gd name="connsiteX12" fmla="*/ 1389404 w 1774294"/>
                <a:gd name="connsiteY12" fmla="*/ 839562 h 1165747"/>
                <a:gd name="connsiteX13" fmla="*/ 1410800 w 1774294"/>
                <a:gd name="connsiteY13" fmla="*/ 796952 h 1165747"/>
                <a:gd name="connsiteX14" fmla="*/ 1341859 w 1774294"/>
                <a:gd name="connsiteY14" fmla="*/ 762089 h 1165747"/>
                <a:gd name="connsiteX15" fmla="*/ 1363697 w 1774294"/>
                <a:gd name="connsiteY15" fmla="*/ 713213 h 1165747"/>
                <a:gd name="connsiteX16" fmla="*/ 1342498 w 1774294"/>
                <a:gd name="connsiteY16" fmla="*/ 701249 h 1165747"/>
                <a:gd name="connsiteX17" fmla="*/ 1371413 w 1774294"/>
                <a:gd name="connsiteY17" fmla="*/ 645309 h 1165747"/>
                <a:gd name="connsiteX18" fmla="*/ 1203536 w 1774294"/>
                <a:gd name="connsiteY18" fmla="*/ 560089 h 1165747"/>
                <a:gd name="connsiteX19" fmla="*/ 1184695 w 1774294"/>
                <a:gd name="connsiteY19" fmla="*/ 572052 h 1165747"/>
                <a:gd name="connsiteX20" fmla="*/ 989304 w 1774294"/>
                <a:gd name="connsiteY20" fmla="*/ 479768 h 1165747"/>
                <a:gd name="connsiteX21" fmla="*/ 1006505 w 1774294"/>
                <a:gd name="connsiteY21" fmla="*/ 428049 h 1165747"/>
                <a:gd name="connsiteX22" fmla="*/ 155972 w 1774294"/>
                <a:gd name="connsiteY22" fmla="*/ 0 h 1165747"/>
                <a:gd name="connsiteX23" fmla="*/ 70398 w 1774294"/>
                <a:gd name="connsiteY23" fmla="*/ 179974 h 1165747"/>
                <a:gd name="connsiteX24" fmla="*/ 0 w 1774294"/>
                <a:gd name="connsiteY24" fmla="*/ 320834 h 1165747"/>
                <a:gd name="connsiteX25" fmla="*/ 116766 w 1774294"/>
                <a:gd name="connsiteY25" fmla="*/ 452858 h 1165747"/>
                <a:gd name="connsiteX26" fmla="*/ 221645 w 1774294"/>
                <a:gd name="connsiteY26" fmla="*/ 577171 h 1165747"/>
                <a:gd name="connsiteX27" fmla="*/ 423947 w 1774294"/>
                <a:gd name="connsiteY27" fmla="*/ 672540 h 1165747"/>
                <a:gd name="connsiteX28" fmla="*/ 412171 w 1774294"/>
                <a:gd name="connsiteY28" fmla="*/ 703643 h 1165747"/>
                <a:gd name="connsiteX29" fmla="*/ 581749 w 1774294"/>
                <a:gd name="connsiteY29" fmla="*/ 813700 h 1165747"/>
                <a:gd name="connsiteX30" fmla="*/ 975609 w 1774294"/>
                <a:gd name="connsiteY30" fmla="*/ 995748 h 116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74294" h="1165747">
                  <a:moveTo>
                    <a:pt x="975609" y="995748"/>
                  </a:moveTo>
                  <a:lnTo>
                    <a:pt x="982143" y="1017066"/>
                  </a:lnTo>
                  <a:lnTo>
                    <a:pt x="1173506" y="1117554"/>
                  </a:lnTo>
                  <a:lnTo>
                    <a:pt x="1227480" y="1003623"/>
                  </a:lnTo>
                  <a:lnTo>
                    <a:pt x="1304812" y="1048169"/>
                  </a:lnTo>
                  <a:lnTo>
                    <a:pt x="1317439" y="999066"/>
                  </a:lnTo>
                  <a:lnTo>
                    <a:pt x="1523852" y="1098414"/>
                  </a:lnTo>
                  <a:lnTo>
                    <a:pt x="1537983" y="1067311"/>
                  </a:lnTo>
                  <a:lnTo>
                    <a:pt x="1731246" y="1165747"/>
                  </a:lnTo>
                  <a:lnTo>
                    <a:pt x="1774294" y="1067653"/>
                  </a:lnTo>
                  <a:lnTo>
                    <a:pt x="1582813" y="971722"/>
                  </a:lnTo>
                  <a:lnTo>
                    <a:pt x="1585088" y="935720"/>
                  </a:lnTo>
                  <a:lnTo>
                    <a:pt x="1389404" y="839562"/>
                  </a:lnTo>
                  <a:lnTo>
                    <a:pt x="1410800" y="796952"/>
                  </a:lnTo>
                  <a:lnTo>
                    <a:pt x="1341859" y="762089"/>
                  </a:lnTo>
                  <a:lnTo>
                    <a:pt x="1363697" y="713213"/>
                  </a:lnTo>
                  <a:lnTo>
                    <a:pt x="1342498" y="701249"/>
                  </a:lnTo>
                  <a:lnTo>
                    <a:pt x="1371413" y="645309"/>
                  </a:lnTo>
                  <a:lnTo>
                    <a:pt x="1203536" y="560089"/>
                  </a:lnTo>
                  <a:lnTo>
                    <a:pt x="1184695" y="572052"/>
                  </a:lnTo>
                  <a:lnTo>
                    <a:pt x="989304" y="479768"/>
                  </a:lnTo>
                  <a:lnTo>
                    <a:pt x="1006505" y="428049"/>
                  </a:lnTo>
                  <a:lnTo>
                    <a:pt x="155972" y="0"/>
                  </a:lnTo>
                  <a:lnTo>
                    <a:pt x="70398" y="179974"/>
                  </a:lnTo>
                  <a:lnTo>
                    <a:pt x="0" y="320834"/>
                  </a:lnTo>
                  <a:lnTo>
                    <a:pt x="116766" y="452858"/>
                  </a:lnTo>
                  <a:lnTo>
                    <a:pt x="221645" y="577171"/>
                  </a:lnTo>
                  <a:lnTo>
                    <a:pt x="423947" y="672540"/>
                  </a:lnTo>
                  <a:lnTo>
                    <a:pt x="412171" y="703643"/>
                  </a:lnTo>
                  <a:lnTo>
                    <a:pt x="581749" y="813700"/>
                  </a:lnTo>
                  <a:lnTo>
                    <a:pt x="975609" y="995748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Text_G004/T104N/T112N">
              <a:extLst>
                <a:ext uri="{FF2B5EF4-FFF2-40B4-BE49-F238E27FC236}">
                  <a16:creationId xmlns:a16="http://schemas.microsoft.com/office/drawing/2014/main" id="{8762FC67-EA0D-4C8C-98F7-B458F2EBE5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51165" y="6512737"/>
              <a:ext cx="9083" cy="8510"/>
            </a:xfrm>
            <a:prstGeom prst="ellipse">
              <a:avLst/>
            </a:prstGeom>
            <a:solidFill>
              <a:schemeClr val="accent3">
                <a:lumMod val="8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" name="G018/T103N/T113/T104S">
              <a:extLst>
                <a:ext uri="{FF2B5EF4-FFF2-40B4-BE49-F238E27FC236}">
                  <a16:creationId xmlns:a16="http://schemas.microsoft.com/office/drawing/2014/main" id="{3D205188-3DDC-40C0-99BD-CC7070DA247D}"/>
                </a:ext>
              </a:extLst>
            </p:cNvPr>
            <p:cNvGrpSpPr/>
            <p:nvPr/>
          </p:nvGrpSpPr>
          <p:grpSpPr>
            <a:xfrm>
              <a:off x="11858121" y="6514951"/>
              <a:ext cx="351790" cy="582233"/>
              <a:chOff x="2204278" y="539572"/>
              <a:chExt cx="664246" cy="1247663"/>
            </a:xfrm>
            <a:solidFill>
              <a:srgbClr val="FF9900"/>
            </a:solidFill>
          </p:grpSpPr>
          <p:sp>
            <p:nvSpPr>
              <p:cNvPr id="67" name="G018">
                <a:extLst>
                  <a:ext uri="{FF2B5EF4-FFF2-40B4-BE49-F238E27FC236}">
                    <a16:creationId xmlns:a16="http://schemas.microsoft.com/office/drawing/2014/main" id="{B3044B9B-BC2D-4D02-857F-7249002F56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29224" y="539572"/>
                <a:ext cx="439300" cy="771436"/>
              </a:xfrm>
              <a:custGeom>
                <a:avLst/>
                <a:gdLst>
                  <a:gd name="connsiteX0" fmla="*/ 236220 w 807720"/>
                  <a:gd name="connsiteY0" fmla="*/ 1341120 h 1341120"/>
                  <a:gd name="connsiteX1" fmla="*/ 800100 w 807720"/>
                  <a:gd name="connsiteY1" fmla="*/ 1219200 h 1341120"/>
                  <a:gd name="connsiteX2" fmla="*/ 807720 w 807720"/>
                  <a:gd name="connsiteY2" fmla="*/ 1089660 h 1341120"/>
                  <a:gd name="connsiteX3" fmla="*/ 647700 w 807720"/>
                  <a:gd name="connsiteY3" fmla="*/ 312420 h 1341120"/>
                  <a:gd name="connsiteX4" fmla="*/ 160020 w 807720"/>
                  <a:gd name="connsiteY4" fmla="*/ 0 h 1341120"/>
                  <a:gd name="connsiteX5" fmla="*/ 0 w 807720"/>
                  <a:gd name="connsiteY5" fmla="*/ 160020 h 1341120"/>
                  <a:gd name="connsiteX6" fmla="*/ 236220 w 807720"/>
                  <a:gd name="connsiteY6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0100 w 807720"/>
                  <a:gd name="connsiteY2" fmla="*/ 1219200 h 1341120"/>
                  <a:gd name="connsiteX3" fmla="*/ 807720 w 807720"/>
                  <a:gd name="connsiteY3" fmla="*/ 1089660 h 1341120"/>
                  <a:gd name="connsiteX4" fmla="*/ 647700 w 807720"/>
                  <a:gd name="connsiteY4" fmla="*/ 312420 h 1341120"/>
                  <a:gd name="connsiteX5" fmla="*/ 160020 w 807720"/>
                  <a:gd name="connsiteY5" fmla="*/ 0 h 1341120"/>
                  <a:gd name="connsiteX6" fmla="*/ 0 w 807720"/>
                  <a:gd name="connsiteY6" fmla="*/ 160020 h 1341120"/>
                  <a:gd name="connsiteX7" fmla="*/ 236220 w 807720"/>
                  <a:gd name="connsiteY7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47700 w 807720"/>
                  <a:gd name="connsiteY4" fmla="*/ 312420 h 1341120"/>
                  <a:gd name="connsiteX5" fmla="*/ 160020 w 807720"/>
                  <a:gd name="connsiteY5" fmla="*/ 0 h 1341120"/>
                  <a:gd name="connsiteX6" fmla="*/ 0 w 807720"/>
                  <a:gd name="connsiteY6" fmla="*/ 160020 h 1341120"/>
                  <a:gd name="connsiteX7" fmla="*/ 236220 w 807720"/>
                  <a:gd name="connsiteY7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47700 w 807720"/>
                  <a:gd name="connsiteY5" fmla="*/ 312420 h 1341120"/>
                  <a:gd name="connsiteX6" fmla="*/ 160020 w 807720"/>
                  <a:gd name="connsiteY6" fmla="*/ 0 h 1341120"/>
                  <a:gd name="connsiteX7" fmla="*/ 0 w 807720"/>
                  <a:gd name="connsiteY7" fmla="*/ 160020 h 1341120"/>
                  <a:gd name="connsiteX8" fmla="*/ 236220 w 807720"/>
                  <a:gd name="connsiteY8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47700 w 807720"/>
                  <a:gd name="connsiteY5" fmla="*/ 312420 h 1341120"/>
                  <a:gd name="connsiteX6" fmla="*/ 441960 w 807720"/>
                  <a:gd name="connsiteY6" fmla="*/ 19050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441960 w 807720"/>
                  <a:gd name="connsiteY6" fmla="*/ 19050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396240 w 807720"/>
                  <a:gd name="connsiteY6" fmla="*/ 16002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8194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1628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8194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97180 w 807720"/>
                  <a:gd name="connsiteY0" fmla="*/ 1652924 h 1652924"/>
                  <a:gd name="connsiteX1" fmla="*/ 716280 w 807720"/>
                  <a:gd name="connsiteY1" fmla="*/ 1242060 h 1652924"/>
                  <a:gd name="connsiteX2" fmla="*/ 807720 w 807720"/>
                  <a:gd name="connsiteY2" fmla="*/ 1188720 h 1652924"/>
                  <a:gd name="connsiteX3" fmla="*/ 807720 w 807720"/>
                  <a:gd name="connsiteY3" fmla="*/ 1089660 h 1652924"/>
                  <a:gd name="connsiteX4" fmla="*/ 670560 w 807720"/>
                  <a:gd name="connsiteY4" fmla="*/ 396240 h 1652924"/>
                  <a:gd name="connsiteX5" fmla="*/ 609600 w 807720"/>
                  <a:gd name="connsiteY5" fmla="*/ 281940 h 1652924"/>
                  <a:gd name="connsiteX6" fmla="*/ 388620 w 807720"/>
                  <a:gd name="connsiteY6" fmla="*/ 129540 h 1652924"/>
                  <a:gd name="connsiteX7" fmla="*/ 160020 w 807720"/>
                  <a:gd name="connsiteY7" fmla="*/ 0 h 1652924"/>
                  <a:gd name="connsiteX8" fmla="*/ 0 w 807720"/>
                  <a:gd name="connsiteY8" fmla="*/ 160020 h 1652924"/>
                  <a:gd name="connsiteX9" fmla="*/ 297180 w 807720"/>
                  <a:gd name="connsiteY9" fmla="*/ 1652924 h 1652924"/>
                  <a:gd name="connsiteX0" fmla="*/ 297180 w 807720"/>
                  <a:gd name="connsiteY0" fmla="*/ 1652924 h 1652924"/>
                  <a:gd name="connsiteX1" fmla="*/ 670560 w 807720"/>
                  <a:gd name="connsiteY1" fmla="*/ 1599494 h 1652924"/>
                  <a:gd name="connsiteX2" fmla="*/ 807720 w 807720"/>
                  <a:gd name="connsiteY2" fmla="*/ 1188720 h 1652924"/>
                  <a:gd name="connsiteX3" fmla="*/ 807720 w 807720"/>
                  <a:gd name="connsiteY3" fmla="*/ 1089660 h 1652924"/>
                  <a:gd name="connsiteX4" fmla="*/ 670560 w 807720"/>
                  <a:gd name="connsiteY4" fmla="*/ 396240 h 1652924"/>
                  <a:gd name="connsiteX5" fmla="*/ 609600 w 807720"/>
                  <a:gd name="connsiteY5" fmla="*/ 281940 h 1652924"/>
                  <a:gd name="connsiteX6" fmla="*/ 388620 w 807720"/>
                  <a:gd name="connsiteY6" fmla="*/ 129540 h 1652924"/>
                  <a:gd name="connsiteX7" fmla="*/ 160020 w 807720"/>
                  <a:gd name="connsiteY7" fmla="*/ 0 h 1652924"/>
                  <a:gd name="connsiteX8" fmla="*/ 0 w 807720"/>
                  <a:gd name="connsiteY8" fmla="*/ 160020 h 1652924"/>
                  <a:gd name="connsiteX9" fmla="*/ 297180 w 807720"/>
                  <a:gd name="connsiteY9" fmla="*/ 1652924 h 1652924"/>
                  <a:gd name="connsiteX0" fmla="*/ 297180 w 807720"/>
                  <a:gd name="connsiteY0" fmla="*/ 1668134 h 1668134"/>
                  <a:gd name="connsiteX1" fmla="*/ 670560 w 807720"/>
                  <a:gd name="connsiteY1" fmla="*/ 1614704 h 1668134"/>
                  <a:gd name="connsiteX2" fmla="*/ 807720 w 807720"/>
                  <a:gd name="connsiteY2" fmla="*/ 1203930 h 1668134"/>
                  <a:gd name="connsiteX3" fmla="*/ 807720 w 807720"/>
                  <a:gd name="connsiteY3" fmla="*/ 1104870 h 1668134"/>
                  <a:gd name="connsiteX4" fmla="*/ 670560 w 807720"/>
                  <a:gd name="connsiteY4" fmla="*/ 411450 h 1668134"/>
                  <a:gd name="connsiteX5" fmla="*/ 609600 w 807720"/>
                  <a:gd name="connsiteY5" fmla="*/ 297150 h 1668134"/>
                  <a:gd name="connsiteX6" fmla="*/ 388620 w 807720"/>
                  <a:gd name="connsiteY6" fmla="*/ 144750 h 1668134"/>
                  <a:gd name="connsiteX7" fmla="*/ 137160 w 807720"/>
                  <a:gd name="connsiteY7" fmla="*/ 0 h 1668134"/>
                  <a:gd name="connsiteX8" fmla="*/ 0 w 807720"/>
                  <a:gd name="connsiteY8" fmla="*/ 175230 h 1668134"/>
                  <a:gd name="connsiteX9" fmla="*/ 297180 w 807720"/>
                  <a:gd name="connsiteY9" fmla="*/ 1668134 h 1668134"/>
                  <a:gd name="connsiteX0" fmla="*/ 297180 w 807720"/>
                  <a:gd name="connsiteY0" fmla="*/ 1668134 h 1668134"/>
                  <a:gd name="connsiteX1" fmla="*/ 670560 w 807720"/>
                  <a:gd name="connsiteY1" fmla="*/ 1614704 h 1668134"/>
                  <a:gd name="connsiteX2" fmla="*/ 807720 w 807720"/>
                  <a:gd name="connsiteY2" fmla="*/ 1203930 h 1668134"/>
                  <a:gd name="connsiteX3" fmla="*/ 807720 w 807720"/>
                  <a:gd name="connsiteY3" fmla="*/ 1104870 h 1668134"/>
                  <a:gd name="connsiteX4" fmla="*/ 670560 w 807720"/>
                  <a:gd name="connsiteY4" fmla="*/ 411450 h 1668134"/>
                  <a:gd name="connsiteX5" fmla="*/ 609600 w 807720"/>
                  <a:gd name="connsiteY5" fmla="*/ 274335 h 1668134"/>
                  <a:gd name="connsiteX6" fmla="*/ 388620 w 807720"/>
                  <a:gd name="connsiteY6" fmla="*/ 144750 h 1668134"/>
                  <a:gd name="connsiteX7" fmla="*/ 137160 w 807720"/>
                  <a:gd name="connsiteY7" fmla="*/ 0 h 1668134"/>
                  <a:gd name="connsiteX8" fmla="*/ 0 w 807720"/>
                  <a:gd name="connsiteY8" fmla="*/ 175230 h 1668134"/>
                  <a:gd name="connsiteX9" fmla="*/ 297180 w 807720"/>
                  <a:gd name="connsiteY9" fmla="*/ 1668134 h 1668134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579451 w 1089991"/>
                  <a:gd name="connsiteY9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150445 w 1089991"/>
                  <a:gd name="connsiteY9" fmla="*/ 468527 h 1706985"/>
                  <a:gd name="connsiteX10" fmla="*/ 579451 w 1089991"/>
                  <a:gd name="connsiteY10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579451 w 1089991"/>
                  <a:gd name="connsiteY10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234759 w 1089991"/>
                  <a:gd name="connsiteY10" fmla="*/ 556453 h 1706985"/>
                  <a:gd name="connsiteX11" fmla="*/ 579451 w 1089991"/>
                  <a:gd name="connsiteY11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579451 w 1089991"/>
                  <a:gd name="connsiteY11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300745 w 1089991"/>
                  <a:gd name="connsiteY11" fmla="*/ 976969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106454 w 1089991"/>
                  <a:gd name="connsiteY9" fmla="*/ 116822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201767 w 1089991"/>
                  <a:gd name="connsiteY8" fmla="*/ 21251 h 1706985"/>
                  <a:gd name="connsiteX9" fmla="*/ 0 w 1089991"/>
                  <a:gd name="connsiteY9" fmla="*/ 0 h 1706985"/>
                  <a:gd name="connsiteX10" fmla="*/ 106454 w 1089991"/>
                  <a:gd name="connsiteY10" fmla="*/ 116822 h 1706985"/>
                  <a:gd name="connsiteX11" fmla="*/ 7476 w 1089991"/>
                  <a:gd name="connsiteY11" fmla="*/ 223863 h 1706985"/>
                  <a:gd name="connsiteX12" fmla="*/ 47801 w 1089991"/>
                  <a:gd name="connsiteY12" fmla="*/ 1542754 h 1706985"/>
                  <a:gd name="connsiteX13" fmla="*/ 579451 w 1089991"/>
                  <a:gd name="connsiteY13" fmla="*/ 1706985 h 1706985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117452 w 1089991"/>
                  <a:gd name="connsiteY8" fmla="*/ 0 h 1838649"/>
                  <a:gd name="connsiteX9" fmla="*/ 0 w 1089991"/>
                  <a:gd name="connsiteY9" fmla="*/ 131664 h 1838649"/>
                  <a:gd name="connsiteX10" fmla="*/ 106454 w 1089991"/>
                  <a:gd name="connsiteY10" fmla="*/ 248486 h 1838649"/>
                  <a:gd name="connsiteX11" fmla="*/ 7476 w 1089991"/>
                  <a:gd name="connsiteY11" fmla="*/ 355527 h 1838649"/>
                  <a:gd name="connsiteX12" fmla="*/ 47801 w 1089991"/>
                  <a:gd name="connsiteY12" fmla="*/ 1674418 h 1838649"/>
                  <a:gd name="connsiteX13" fmla="*/ 579451 w 1089991"/>
                  <a:gd name="connsiteY13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75084 w 1089991"/>
                  <a:gd name="connsiteY8" fmla="*/ 91749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86081 w 1089991"/>
                  <a:gd name="connsiteY8" fmla="*/ 160561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86081 w 1089991"/>
                  <a:gd name="connsiteY8" fmla="*/ 160561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359399 w 1089991"/>
                  <a:gd name="connsiteY8" fmla="*/ 172029 h 1838649"/>
                  <a:gd name="connsiteX9" fmla="*/ 286081 w 1089991"/>
                  <a:gd name="connsiteY9" fmla="*/ 160561 h 1838649"/>
                  <a:gd name="connsiteX10" fmla="*/ 117452 w 1089991"/>
                  <a:gd name="connsiteY10" fmla="*/ 0 h 1838649"/>
                  <a:gd name="connsiteX11" fmla="*/ 0 w 1089991"/>
                  <a:gd name="connsiteY11" fmla="*/ 131664 h 1838649"/>
                  <a:gd name="connsiteX12" fmla="*/ 106454 w 1089991"/>
                  <a:gd name="connsiteY12" fmla="*/ 248486 h 1838649"/>
                  <a:gd name="connsiteX13" fmla="*/ 7476 w 1089991"/>
                  <a:gd name="connsiteY13" fmla="*/ 355527 h 1838649"/>
                  <a:gd name="connsiteX14" fmla="*/ 47801 w 1089991"/>
                  <a:gd name="connsiteY14" fmla="*/ 1674418 h 1838649"/>
                  <a:gd name="connsiteX15" fmla="*/ 579451 w 1089991"/>
                  <a:gd name="connsiteY15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315408 w 1089991"/>
                  <a:gd name="connsiteY8" fmla="*/ 107040 h 1838649"/>
                  <a:gd name="connsiteX9" fmla="*/ 286081 w 1089991"/>
                  <a:gd name="connsiteY9" fmla="*/ 160561 h 1838649"/>
                  <a:gd name="connsiteX10" fmla="*/ 117452 w 1089991"/>
                  <a:gd name="connsiteY10" fmla="*/ 0 h 1838649"/>
                  <a:gd name="connsiteX11" fmla="*/ 0 w 1089991"/>
                  <a:gd name="connsiteY11" fmla="*/ 131664 h 1838649"/>
                  <a:gd name="connsiteX12" fmla="*/ 106454 w 1089991"/>
                  <a:gd name="connsiteY12" fmla="*/ 248486 h 1838649"/>
                  <a:gd name="connsiteX13" fmla="*/ 7476 w 1089991"/>
                  <a:gd name="connsiteY13" fmla="*/ 355527 h 1838649"/>
                  <a:gd name="connsiteX14" fmla="*/ 47801 w 1089991"/>
                  <a:gd name="connsiteY14" fmla="*/ 1674418 h 1838649"/>
                  <a:gd name="connsiteX15" fmla="*/ 579451 w 1089991"/>
                  <a:gd name="connsiteY15" fmla="*/ 1838649 h 1838649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91871 w 1089991"/>
                  <a:gd name="connsiteY5" fmla="*/ 444850 h 1850118"/>
                  <a:gd name="connsiteX6" fmla="*/ 670891 w 1089991"/>
                  <a:gd name="connsiteY6" fmla="*/ 315265 h 1850118"/>
                  <a:gd name="connsiteX7" fmla="*/ 419431 w 1089991"/>
                  <a:gd name="connsiteY7" fmla="*/ 170515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670891 w 1089991"/>
                  <a:gd name="connsiteY6" fmla="*/ 315265 h 1850118"/>
                  <a:gd name="connsiteX7" fmla="*/ 419431 w 1089991"/>
                  <a:gd name="connsiteY7" fmla="*/ 170515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419431 w 1089991"/>
                  <a:gd name="connsiteY6" fmla="*/ 170515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485417 w 1089991"/>
                  <a:gd name="connsiteY6" fmla="*/ 208744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510622 w 1089991"/>
                  <a:gd name="connsiteY5" fmla="*/ 200186 h 1850118"/>
                  <a:gd name="connsiteX6" fmla="*/ 485417 w 1089991"/>
                  <a:gd name="connsiteY6" fmla="*/ 208744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51646 w 1089991"/>
                  <a:gd name="connsiteY5" fmla="*/ 405225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16674 w 1089991"/>
                  <a:gd name="connsiteY3" fmla="*/ 1011606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64330"/>
                  <a:gd name="connsiteY0" fmla="*/ 1850118 h 1850118"/>
                  <a:gd name="connsiteX1" fmla="*/ 952831 w 1064330"/>
                  <a:gd name="connsiteY1" fmla="*/ 1785219 h 1850118"/>
                  <a:gd name="connsiteX2" fmla="*/ 1064330 w 1064330"/>
                  <a:gd name="connsiteY2" fmla="*/ 1011272 h 1850118"/>
                  <a:gd name="connsiteX3" fmla="*/ 1016674 w 1064330"/>
                  <a:gd name="connsiteY3" fmla="*/ 1011606 h 1850118"/>
                  <a:gd name="connsiteX4" fmla="*/ 927170 w 1064330"/>
                  <a:gd name="connsiteY4" fmla="*/ 578142 h 1850118"/>
                  <a:gd name="connsiteX5" fmla="*/ 766309 w 1064330"/>
                  <a:gd name="connsiteY5" fmla="*/ 347881 h 1850118"/>
                  <a:gd name="connsiteX6" fmla="*/ 510622 w 1064330"/>
                  <a:gd name="connsiteY6" fmla="*/ 200186 h 1850118"/>
                  <a:gd name="connsiteX7" fmla="*/ 485417 w 1064330"/>
                  <a:gd name="connsiteY7" fmla="*/ 208744 h 1850118"/>
                  <a:gd name="connsiteX8" fmla="*/ 315408 w 1064330"/>
                  <a:gd name="connsiteY8" fmla="*/ 107040 h 1850118"/>
                  <a:gd name="connsiteX9" fmla="*/ 286081 w 1064330"/>
                  <a:gd name="connsiteY9" fmla="*/ 160561 h 1850118"/>
                  <a:gd name="connsiteX10" fmla="*/ 117452 w 1064330"/>
                  <a:gd name="connsiteY10" fmla="*/ 0 h 1850118"/>
                  <a:gd name="connsiteX11" fmla="*/ 0 w 1064330"/>
                  <a:gd name="connsiteY11" fmla="*/ 131664 h 1850118"/>
                  <a:gd name="connsiteX12" fmla="*/ 106454 w 1064330"/>
                  <a:gd name="connsiteY12" fmla="*/ 248486 h 1850118"/>
                  <a:gd name="connsiteX13" fmla="*/ 7476 w 1064330"/>
                  <a:gd name="connsiteY13" fmla="*/ 355527 h 1850118"/>
                  <a:gd name="connsiteX14" fmla="*/ 47801 w 1064330"/>
                  <a:gd name="connsiteY14" fmla="*/ 1674418 h 1850118"/>
                  <a:gd name="connsiteX15" fmla="*/ 495136 w 1064330"/>
                  <a:gd name="connsiteY15" fmla="*/ 1850118 h 1850118"/>
                  <a:gd name="connsiteX0" fmla="*/ 495136 w 1064330"/>
                  <a:gd name="connsiteY0" fmla="*/ 1850118 h 1850118"/>
                  <a:gd name="connsiteX1" fmla="*/ 952831 w 1064330"/>
                  <a:gd name="connsiteY1" fmla="*/ 1785219 h 1850118"/>
                  <a:gd name="connsiteX2" fmla="*/ 1064330 w 1064330"/>
                  <a:gd name="connsiteY2" fmla="*/ 1011272 h 1850118"/>
                  <a:gd name="connsiteX3" fmla="*/ 1016674 w 1064330"/>
                  <a:gd name="connsiteY3" fmla="*/ 996315 h 1850118"/>
                  <a:gd name="connsiteX4" fmla="*/ 927170 w 1064330"/>
                  <a:gd name="connsiteY4" fmla="*/ 578142 h 1850118"/>
                  <a:gd name="connsiteX5" fmla="*/ 766309 w 1064330"/>
                  <a:gd name="connsiteY5" fmla="*/ 347881 h 1850118"/>
                  <a:gd name="connsiteX6" fmla="*/ 510622 w 1064330"/>
                  <a:gd name="connsiteY6" fmla="*/ 200186 h 1850118"/>
                  <a:gd name="connsiteX7" fmla="*/ 485417 w 1064330"/>
                  <a:gd name="connsiteY7" fmla="*/ 208744 h 1850118"/>
                  <a:gd name="connsiteX8" fmla="*/ 315408 w 1064330"/>
                  <a:gd name="connsiteY8" fmla="*/ 107040 h 1850118"/>
                  <a:gd name="connsiteX9" fmla="*/ 286081 w 1064330"/>
                  <a:gd name="connsiteY9" fmla="*/ 160561 h 1850118"/>
                  <a:gd name="connsiteX10" fmla="*/ 117452 w 1064330"/>
                  <a:gd name="connsiteY10" fmla="*/ 0 h 1850118"/>
                  <a:gd name="connsiteX11" fmla="*/ 0 w 1064330"/>
                  <a:gd name="connsiteY11" fmla="*/ 131664 h 1850118"/>
                  <a:gd name="connsiteX12" fmla="*/ 106454 w 1064330"/>
                  <a:gd name="connsiteY12" fmla="*/ 248486 h 1850118"/>
                  <a:gd name="connsiteX13" fmla="*/ 7476 w 1064330"/>
                  <a:gd name="connsiteY13" fmla="*/ 355527 h 1850118"/>
                  <a:gd name="connsiteX14" fmla="*/ 47801 w 1064330"/>
                  <a:gd name="connsiteY14" fmla="*/ 1674418 h 1850118"/>
                  <a:gd name="connsiteX15" fmla="*/ 495136 w 1064330"/>
                  <a:gd name="connsiteY15" fmla="*/ 1850118 h 1850118"/>
                  <a:gd name="connsiteX0" fmla="*/ 495136 w 1067996"/>
                  <a:gd name="connsiteY0" fmla="*/ 1850118 h 1850118"/>
                  <a:gd name="connsiteX1" fmla="*/ 952831 w 1067996"/>
                  <a:gd name="connsiteY1" fmla="*/ 1785219 h 1850118"/>
                  <a:gd name="connsiteX2" fmla="*/ 1067996 w 1067996"/>
                  <a:gd name="connsiteY2" fmla="*/ 984512 h 1850118"/>
                  <a:gd name="connsiteX3" fmla="*/ 1016674 w 1067996"/>
                  <a:gd name="connsiteY3" fmla="*/ 996315 h 1850118"/>
                  <a:gd name="connsiteX4" fmla="*/ 927170 w 1067996"/>
                  <a:gd name="connsiteY4" fmla="*/ 578142 h 1850118"/>
                  <a:gd name="connsiteX5" fmla="*/ 766309 w 1067996"/>
                  <a:gd name="connsiteY5" fmla="*/ 347881 h 1850118"/>
                  <a:gd name="connsiteX6" fmla="*/ 510622 w 1067996"/>
                  <a:gd name="connsiteY6" fmla="*/ 200186 h 1850118"/>
                  <a:gd name="connsiteX7" fmla="*/ 485417 w 1067996"/>
                  <a:gd name="connsiteY7" fmla="*/ 208744 h 1850118"/>
                  <a:gd name="connsiteX8" fmla="*/ 315408 w 1067996"/>
                  <a:gd name="connsiteY8" fmla="*/ 107040 h 1850118"/>
                  <a:gd name="connsiteX9" fmla="*/ 286081 w 1067996"/>
                  <a:gd name="connsiteY9" fmla="*/ 160561 h 1850118"/>
                  <a:gd name="connsiteX10" fmla="*/ 117452 w 1067996"/>
                  <a:gd name="connsiteY10" fmla="*/ 0 h 1850118"/>
                  <a:gd name="connsiteX11" fmla="*/ 0 w 1067996"/>
                  <a:gd name="connsiteY11" fmla="*/ 131664 h 1850118"/>
                  <a:gd name="connsiteX12" fmla="*/ 106454 w 1067996"/>
                  <a:gd name="connsiteY12" fmla="*/ 248486 h 1850118"/>
                  <a:gd name="connsiteX13" fmla="*/ 7476 w 1067996"/>
                  <a:gd name="connsiteY13" fmla="*/ 355527 h 1850118"/>
                  <a:gd name="connsiteX14" fmla="*/ 47801 w 1067996"/>
                  <a:gd name="connsiteY14" fmla="*/ 1674418 h 1850118"/>
                  <a:gd name="connsiteX15" fmla="*/ 495136 w 1067996"/>
                  <a:gd name="connsiteY15" fmla="*/ 1850118 h 1850118"/>
                  <a:gd name="connsiteX0" fmla="*/ 495136 w 1067996"/>
                  <a:gd name="connsiteY0" fmla="*/ 1850118 h 1850118"/>
                  <a:gd name="connsiteX1" fmla="*/ 952831 w 1067996"/>
                  <a:gd name="connsiteY1" fmla="*/ 1785219 h 1850118"/>
                  <a:gd name="connsiteX2" fmla="*/ 1015588 w 1067996"/>
                  <a:gd name="connsiteY2" fmla="*/ 1380057 h 1850118"/>
                  <a:gd name="connsiteX3" fmla="*/ 1067996 w 1067996"/>
                  <a:gd name="connsiteY3" fmla="*/ 984512 h 1850118"/>
                  <a:gd name="connsiteX4" fmla="*/ 1016674 w 1067996"/>
                  <a:gd name="connsiteY4" fmla="*/ 996315 h 1850118"/>
                  <a:gd name="connsiteX5" fmla="*/ 927170 w 1067996"/>
                  <a:gd name="connsiteY5" fmla="*/ 578142 h 1850118"/>
                  <a:gd name="connsiteX6" fmla="*/ 766309 w 1067996"/>
                  <a:gd name="connsiteY6" fmla="*/ 347881 h 1850118"/>
                  <a:gd name="connsiteX7" fmla="*/ 510622 w 1067996"/>
                  <a:gd name="connsiteY7" fmla="*/ 200186 h 1850118"/>
                  <a:gd name="connsiteX8" fmla="*/ 485417 w 1067996"/>
                  <a:gd name="connsiteY8" fmla="*/ 208744 h 1850118"/>
                  <a:gd name="connsiteX9" fmla="*/ 315408 w 1067996"/>
                  <a:gd name="connsiteY9" fmla="*/ 107040 h 1850118"/>
                  <a:gd name="connsiteX10" fmla="*/ 286081 w 1067996"/>
                  <a:gd name="connsiteY10" fmla="*/ 160561 h 1850118"/>
                  <a:gd name="connsiteX11" fmla="*/ 117452 w 1067996"/>
                  <a:gd name="connsiteY11" fmla="*/ 0 h 1850118"/>
                  <a:gd name="connsiteX12" fmla="*/ 0 w 1067996"/>
                  <a:gd name="connsiteY12" fmla="*/ 131664 h 1850118"/>
                  <a:gd name="connsiteX13" fmla="*/ 106454 w 1067996"/>
                  <a:gd name="connsiteY13" fmla="*/ 248486 h 1850118"/>
                  <a:gd name="connsiteX14" fmla="*/ 7476 w 1067996"/>
                  <a:gd name="connsiteY14" fmla="*/ 355527 h 1850118"/>
                  <a:gd name="connsiteX15" fmla="*/ 47801 w 1067996"/>
                  <a:gd name="connsiteY15" fmla="*/ 1674418 h 1850118"/>
                  <a:gd name="connsiteX16" fmla="*/ 495136 w 1067996"/>
                  <a:gd name="connsiteY16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62222 w 1162222"/>
                  <a:gd name="connsiteY2" fmla="*/ 1429754 h 1850118"/>
                  <a:gd name="connsiteX3" fmla="*/ 1067996 w 1162222"/>
                  <a:gd name="connsiteY3" fmla="*/ 984512 h 1850118"/>
                  <a:gd name="connsiteX4" fmla="*/ 1016674 w 1162222"/>
                  <a:gd name="connsiteY4" fmla="*/ 996315 h 1850118"/>
                  <a:gd name="connsiteX5" fmla="*/ 927170 w 1162222"/>
                  <a:gd name="connsiteY5" fmla="*/ 578142 h 1850118"/>
                  <a:gd name="connsiteX6" fmla="*/ 766309 w 1162222"/>
                  <a:gd name="connsiteY6" fmla="*/ 347881 h 1850118"/>
                  <a:gd name="connsiteX7" fmla="*/ 510622 w 1162222"/>
                  <a:gd name="connsiteY7" fmla="*/ 200186 h 1850118"/>
                  <a:gd name="connsiteX8" fmla="*/ 485417 w 1162222"/>
                  <a:gd name="connsiteY8" fmla="*/ 208744 h 1850118"/>
                  <a:gd name="connsiteX9" fmla="*/ 315408 w 1162222"/>
                  <a:gd name="connsiteY9" fmla="*/ 107040 h 1850118"/>
                  <a:gd name="connsiteX10" fmla="*/ 286081 w 1162222"/>
                  <a:gd name="connsiteY10" fmla="*/ 160561 h 1850118"/>
                  <a:gd name="connsiteX11" fmla="*/ 117452 w 1162222"/>
                  <a:gd name="connsiteY11" fmla="*/ 0 h 1850118"/>
                  <a:gd name="connsiteX12" fmla="*/ 0 w 1162222"/>
                  <a:gd name="connsiteY12" fmla="*/ 131664 h 1850118"/>
                  <a:gd name="connsiteX13" fmla="*/ 106454 w 1162222"/>
                  <a:gd name="connsiteY13" fmla="*/ 248486 h 1850118"/>
                  <a:gd name="connsiteX14" fmla="*/ 7476 w 1162222"/>
                  <a:gd name="connsiteY14" fmla="*/ 355527 h 1850118"/>
                  <a:gd name="connsiteX15" fmla="*/ 47801 w 1162222"/>
                  <a:gd name="connsiteY15" fmla="*/ 1674418 h 1850118"/>
                  <a:gd name="connsiteX16" fmla="*/ 495136 w 1162222"/>
                  <a:gd name="connsiteY16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77906 w 1162222"/>
                  <a:gd name="connsiteY2" fmla="*/ 1575024 h 1850118"/>
                  <a:gd name="connsiteX3" fmla="*/ 1162222 w 1162222"/>
                  <a:gd name="connsiteY3" fmla="*/ 1429754 h 1850118"/>
                  <a:gd name="connsiteX4" fmla="*/ 1067996 w 1162222"/>
                  <a:gd name="connsiteY4" fmla="*/ 984512 h 1850118"/>
                  <a:gd name="connsiteX5" fmla="*/ 1016674 w 1162222"/>
                  <a:gd name="connsiteY5" fmla="*/ 996315 h 1850118"/>
                  <a:gd name="connsiteX6" fmla="*/ 927170 w 1162222"/>
                  <a:gd name="connsiteY6" fmla="*/ 578142 h 1850118"/>
                  <a:gd name="connsiteX7" fmla="*/ 766309 w 1162222"/>
                  <a:gd name="connsiteY7" fmla="*/ 347881 h 1850118"/>
                  <a:gd name="connsiteX8" fmla="*/ 510622 w 1162222"/>
                  <a:gd name="connsiteY8" fmla="*/ 200186 h 1850118"/>
                  <a:gd name="connsiteX9" fmla="*/ 485417 w 1162222"/>
                  <a:gd name="connsiteY9" fmla="*/ 208744 h 1850118"/>
                  <a:gd name="connsiteX10" fmla="*/ 315408 w 1162222"/>
                  <a:gd name="connsiteY10" fmla="*/ 107040 h 1850118"/>
                  <a:gd name="connsiteX11" fmla="*/ 286081 w 1162222"/>
                  <a:gd name="connsiteY11" fmla="*/ 160561 h 1850118"/>
                  <a:gd name="connsiteX12" fmla="*/ 117452 w 1162222"/>
                  <a:gd name="connsiteY12" fmla="*/ 0 h 1850118"/>
                  <a:gd name="connsiteX13" fmla="*/ 0 w 1162222"/>
                  <a:gd name="connsiteY13" fmla="*/ 131664 h 1850118"/>
                  <a:gd name="connsiteX14" fmla="*/ 106454 w 1162222"/>
                  <a:gd name="connsiteY14" fmla="*/ 248486 h 1850118"/>
                  <a:gd name="connsiteX15" fmla="*/ 7476 w 1162222"/>
                  <a:gd name="connsiteY15" fmla="*/ 355527 h 1850118"/>
                  <a:gd name="connsiteX16" fmla="*/ 47801 w 1162222"/>
                  <a:gd name="connsiteY16" fmla="*/ 1674418 h 1850118"/>
                  <a:gd name="connsiteX17" fmla="*/ 495136 w 1162222"/>
                  <a:gd name="connsiteY17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10899 w 1162222"/>
                  <a:gd name="connsiteY2" fmla="*/ 1452692 h 1850118"/>
                  <a:gd name="connsiteX3" fmla="*/ 1162222 w 1162222"/>
                  <a:gd name="connsiteY3" fmla="*/ 1429754 h 1850118"/>
                  <a:gd name="connsiteX4" fmla="*/ 1067996 w 1162222"/>
                  <a:gd name="connsiteY4" fmla="*/ 984512 h 1850118"/>
                  <a:gd name="connsiteX5" fmla="*/ 1016674 w 1162222"/>
                  <a:gd name="connsiteY5" fmla="*/ 996315 h 1850118"/>
                  <a:gd name="connsiteX6" fmla="*/ 927170 w 1162222"/>
                  <a:gd name="connsiteY6" fmla="*/ 578142 h 1850118"/>
                  <a:gd name="connsiteX7" fmla="*/ 766309 w 1162222"/>
                  <a:gd name="connsiteY7" fmla="*/ 347881 h 1850118"/>
                  <a:gd name="connsiteX8" fmla="*/ 510622 w 1162222"/>
                  <a:gd name="connsiteY8" fmla="*/ 200186 h 1850118"/>
                  <a:gd name="connsiteX9" fmla="*/ 485417 w 1162222"/>
                  <a:gd name="connsiteY9" fmla="*/ 208744 h 1850118"/>
                  <a:gd name="connsiteX10" fmla="*/ 315408 w 1162222"/>
                  <a:gd name="connsiteY10" fmla="*/ 107040 h 1850118"/>
                  <a:gd name="connsiteX11" fmla="*/ 286081 w 1162222"/>
                  <a:gd name="connsiteY11" fmla="*/ 160561 h 1850118"/>
                  <a:gd name="connsiteX12" fmla="*/ 117452 w 1162222"/>
                  <a:gd name="connsiteY12" fmla="*/ 0 h 1850118"/>
                  <a:gd name="connsiteX13" fmla="*/ 0 w 1162222"/>
                  <a:gd name="connsiteY13" fmla="*/ 131664 h 1850118"/>
                  <a:gd name="connsiteX14" fmla="*/ 106454 w 1162222"/>
                  <a:gd name="connsiteY14" fmla="*/ 248486 h 1850118"/>
                  <a:gd name="connsiteX15" fmla="*/ 7476 w 1162222"/>
                  <a:gd name="connsiteY15" fmla="*/ 355527 h 1850118"/>
                  <a:gd name="connsiteX16" fmla="*/ 47801 w 1162222"/>
                  <a:gd name="connsiteY16" fmla="*/ 1674418 h 1850118"/>
                  <a:gd name="connsiteX17" fmla="*/ 495136 w 1162222"/>
                  <a:gd name="connsiteY17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85238 w 1162222"/>
                  <a:gd name="connsiteY2" fmla="*/ 1498566 h 1850118"/>
                  <a:gd name="connsiteX3" fmla="*/ 1110899 w 1162222"/>
                  <a:gd name="connsiteY3" fmla="*/ 1452692 h 1850118"/>
                  <a:gd name="connsiteX4" fmla="*/ 1162222 w 1162222"/>
                  <a:gd name="connsiteY4" fmla="*/ 1429754 h 1850118"/>
                  <a:gd name="connsiteX5" fmla="*/ 1067996 w 1162222"/>
                  <a:gd name="connsiteY5" fmla="*/ 984512 h 1850118"/>
                  <a:gd name="connsiteX6" fmla="*/ 1016674 w 1162222"/>
                  <a:gd name="connsiteY6" fmla="*/ 996315 h 1850118"/>
                  <a:gd name="connsiteX7" fmla="*/ 927170 w 1162222"/>
                  <a:gd name="connsiteY7" fmla="*/ 578142 h 1850118"/>
                  <a:gd name="connsiteX8" fmla="*/ 766309 w 1162222"/>
                  <a:gd name="connsiteY8" fmla="*/ 347881 h 1850118"/>
                  <a:gd name="connsiteX9" fmla="*/ 510622 w 1162222"/>
                  <a:gd name="connsiteY9" fmla="*/ 200186 h 1850118"/>
                  <a:gd name="connsiteX10" fmla="*/ 485417 w 1162222"/>
                  <a:gd name="connsiteY10" fmla="*/ 208744 h 1850118"/>
                  <a:gd name="connsiteX11" fmla="*/ 315408 w 1162222"/>
                  <a:gd name="connsiteY11" fmla="*/ 107040 h 1850118"/>
                  <a:gd name="connsiteX12" fmla="*/ 286081 w 1162222"/>
                  <a:gd name="connsiteY12" fmla="*/ 160561 h 1850118"/>
                  <a:gd name="connsiteX13" fmla="*/ 117452 w 1162222"/>
                  <a:gd name="connsiteY13" fmla="*/ 0 h 1850118"/>
                  <a:gd name="connsiteX14" fmla="*/ 0 w 1162222"/>
                  <a:gd name="connsiteY14" fmla="*/ 131664 h 1850118"/>
                  <a:gd name="connsiteX15" fmla="*/ 106454 w 1162222"/>
                  <a:gd name="connsiteY15" fmla="*/ 248486 h 1850118"/>
                  <a:gd name="connsiteX16" fmla="*/ 7476 w 1162222"/>
                  <a:gd name="connsiteY16" fmla="*/ 355527 h 1850118"/>
                  <a:gd name="connsiteX17" fmla="*/ 47801 w 1162222"/>
                  <a:gd name="connsiteY17" fmla="*/ 1674418 h 1850118"/>
                  <a:gd name="connsiteX18" fmla="*/ 495136 w 1162222"/>
                  <a:gd name="connsiteY18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43892 w 1162222"/>
                  <a:gd name="connsiteY2" fmla="*/ 1613252 h 1850118"/>
                  <a:gd name="connsiteX3" fmla="*/ 1110899 w 1162222"/>
                  <a:gd name="connsiteY3" fmla="*/ 1452692 h 1850118"/>
                  <a:gd name="connsiteX4" fmla="*/ 1162222 w 1162222"/>
                  <a:gd name="connsiteY4" fmla="*/ 1429754 h 1850118"/>
                  <a:gd name="connsiteX5" fmla="*/ 1067996 w 1162222"/>
                  <a:gd name="connsiteY5" fmla="*/ 984512 h 1850118"/>
                  <a:gd name="connsiteX6" fmla="*/ 1016674 w 1162222"/>
                  <a:gd name="connsiteY6" fmla="*/ 996315 h 1850118"/>
                  <a:gd name="connsiteX7" fmla="*/ 927170 w 1162222"/>
                  <a:gd name="connsiteY7" fmla="*/ 578142 h 1850118"/>
                  <a:gd name="connsiteX8" fmla="*/ 766309 w 1162222"/>
                  <a:gd name="connsiteY8" fmla="*/ 347881 h 1850118"/>
                  <a:gd name="connsiteX9" fmla="*/ 510622 w 1162222"/>
                  <a:gd name="connsiteY9" fmla="*/ 200186 h 1850118"/>
                  <a:gd name="connsiteX10" fmla="*/ 485417 w 1162222"/>
                  <a:gd name="connsiteY10" fmla="*/ 208744 h 1850118"/>
                  <a:gd name="connsiteX11" fmla="*/ 315408 w 1162222"/>
                  <a:gd name="connsiteY11" fmla="*/ 107040 h 1850118"/>
                  <a:gd name="connsiteX12" fmla="*/ 286081 w 1162222"/>
                  <a:gd name="connsiteY12" fmla="*/ 160561 h 1850118"/>
                  <a:gd name="connsiteX13" fmla="*/ 117452 w 1162222"/>
                  <a:gd name="connsiteY13" fmla="*/ 0 h 1850118"/>
                  <a:gd name="connsiteX14" fmla="*/ 0 w 1162222"/>
                  <a:gd name="connsiteY14" fmla="*/ 131664 h 1850118"/>
                  <a:gd name="connsiteX15" fmla="*/ 106454 w 1162222"/>
                  <a:gd name="connsiteY15" fmla="*/ 248486 h 1850118"/>
                  <a:gd name="connsiteX16" fmla="*/ 7476 w 1162222"/>
                  <a:gd name="connsiteY16" fmla="*/ 355527 h 1850118"/>
                  <a:gd name="connsiteX17" fmla="*/ 47801 w 1162222"/>
                  <a:gd name="connsiteY17" fmla="*/ 1674418 h 1850118"/>
                  <a:gd name="connsiteX18" fmla="*/ 495136 w 1162222"/>
                  <a:gd name="connsiteY18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48579 w 1162222"/>
                  <a:gd name="connsiteY2" fmla="*/ 1701178 h 1850118"/>
                  <a:gd name="connsiteX3" fmla="*/ 1143892 w 1162222"/>
                  <a:gd name="connsiteY3" fmla="*/ 1613252 h 1850118"/>
                  <a:gd name="connsiteX4" fmla="*/ 1110899 w 1162222"/>
                  <a:gd name="connsiteY4" fmla="*/ 1452692 h 1850118"/>
                  <a:gd name="connsiteX5" fmla="*/ 1162222 w 1162222"/>
                  <a:gd name="connsiteY5" fmla="*/ 1429754 h 1850118"/>
                  <a:gd name="connsiteX6" fmla="*/ 1067996 w 1162222"/>
                  <a:gd name="connsiteY6" fmla="*/ 984512 h 1850118"/>
                  <a:gd name="connsiteX7" fmla="*/ 1016674 w 1162222"/>
                  <a:gd name="connsiteY7" fmla="*/ 996315 h 1850118"/>
                  <a:gd name="connsiteX8" fmla="*/ 927170 w 1162222"/>
                  <a:gd name="connsiteY8" fmla="*/ 578142 h 1850118"/>
                  <a:gd name="connsiteX9" fmla="*/ 766309 w 1162222"/>
                  <a:gd name="connsiteY9" fmla="*/ 347881 h 1850118"/>
                  <a:gd name="connsiteX10" fmla="*/ 510622 w 1162222"/>
                  <a:gd name="connsiteY10" fmla="*/ 200186 h 1850118"/>
                  <a:gd name="connsiteX11" fmla="*/ 485417 w 1162222"/>
                  <a:gd name="connsiteY11" fmla="*/ 208744 h 1850118"/>
                  <a:gd name="connsiteX12" fmla="*/ 315408 w 1162222"/>
                  <a:gd name="connsiteY12" fmla="*/ 107040 h 1850118"/>
                  <a:gd name="connsiteX13" fmla="*/ 286081 w 1162222"/>
                  <a:gd name="connsiteY13" fmla="*/ 160561 h 1850118"/>
                  <a:gd name="connsiteX14" fmla="*/ 117452 w 1162222"/>
                  <a:gd name="connsiteY14" fmla="*/ 0 h 1850118"/>
                  <a:gd name="connsiteX15" fmla="*/ 0 w 1162222"/>
                  <a:gd name="connsiteY15" fmla="*/ 131664 h 1850118"/>
                  <a:gd name="connsiteX16" fmla="*/ 106454 w 1162222"/>
                  <a:gd name="connsiteY16" fmla="*/ 248486 h 1850118"/>
                  <a:gd name="connsiteX17" fmla="*/ 7476 w 1162222"/>
                  <a:gd name="connsiteY17" fmla="*/ 355527 h 1850118"/>
                  <a:gd name="connsiteX18" fmla="*/ 47801 w 1162222"/>
                  <a:gd name="connsiteY18" fmla="*/ 1674418 h 1850118"/>
                  <a:gd name="connsiteX19" fmla="*/ 495136 w 1162222"/>
                  <a:gd name="connsiteY19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63243 w 1162222"/>
                  <a:gd name="connsiteY2" fmla="*/ 1640013 h 1850118"/>
                  <a:gd name="connsiteX3" fmla="*/ 1143892 w 1162222"/>
                  <a:gd name="connsiteY3" fmla="*/ 1613252 h 1850118"/>
                  <a:gd name="connsiteX4" fmla="*/ 1110899 w 1162222"/>
                  <a:gd name="connsiteY4" fmla="*/ 1452692 h 1850118"/>
                  <a:gd name="connsiteX5" fmla="*/ 1162222 w 1162222"/>
                  <a:gd name="connsiteY5" fmla="*/ 1429754 h 1850118"/>
                  <a:gd name="connsiteX6" fmla="*/ 1067996 w 1162222"/>
                  <a:gd name="connsiteY6" fmla="*/ 984512 h 1850118"/>
                  <a:gd name="connsiteX7" fmla="*/ 1016674 w 1162222"/>
                  <a:gd name="connsiteY7" fmla="*/ 996315 h 1850118"/>
                  <a:gd name="connsiteX8" fmla="*/ 927170 w 1162222"/>
                  <a:gd name="connsiteY8" fmla="*/ 578142 h 1850118"/>
                  <a:gd name="connsiteX9" fmla="*/ 766309 w 1162222"/>
                  <a:gd name="connsiteY9" fmla="*/ 347881 h 1850118"/>
                  <a:gd name="connsiteX10" fmla="*/ 510622 w 1162222"/>
                  <a:gd name="connsiteY10" fmla="*/ 200186 h 1850118"/>
                  <a:gd name="connsiteX11" fmla="*/ 485417 w 1162222"/>
                  <a:gd name="connsiteY11" fmla="*/ 208744 h 1850118"/>
                  <a:gd name="connsiteX12" fmla="*/ 315408 w 1162222"/>
                  <a:gd name="connsiteY12" fmla="*/ 107040 h 1850118"/>
                  <a:gd name="connsiteX13" fmla="*/ 286081 w 1162222"/>
                  <a:gd name="connsiteY13" fmla="*/ 160561 h 1850118"/>
                  <a:gd name="connsiteX14" fmla="*/ 117452 w 1162222"/>
                  <a:gd name="connsiteY14" fmla="*/ 0 h 1850118"/>
                  <a:gd name="connsiteX15" fmla="*/ 0 w 1162222"/>
                  <a:gd name="connsiteY15" fmla="*/ 131664 h 1850118"/>
                  <a:gd name="connsiteX16" fmla="*/ 106454 w 1162222"/>
                  <a:gd name="connsiteY16" fmla="*/ 248486 h 1850118"/>
                  <a:gd name="connsiteX17" fmla="*/ 7476 w 1162222"/>
                  <a:gd name="connsiteY17" fmla="*/ 355527 h 1850118"/>
                  <a:gd name="connsiteX18" fmla="*/ 47801 w 1162222"/>
                  <a:gd name="connsiteY18" fmla="*/ 1674418 h 1850118"/>
                  <a:gd name="connsiteX19" fmla="*/ 495136 w 1162222"/>
                  <a:gd name="connsiteY19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04589 w 1162222"/>
                  <a:gd name="connsiteY2" fmla="*/ 1716470 h 1850118"/>
                  <a:gd name="connsiteX3" fmla="*/ 1063243 w 1162222"/>
                  <a:gd name="connsiteY3" fmla="*/ 1640013 h 1850118"/>
                  <a:gd name="connsiteX4" fmla="*/ 1143892 w 1162222"/>
                  <a:gd name="connsiteY4" fmla="*/ 1613252 h 1850118"/>
                  <a:gd name="connsiteX5" fmla="*/ 1110899 w 1162222"/>
                  <a:gd name="connsiteY5" fmla="*/ 1452692 h 1850118"/>
                  <a:gd name="connsiteX6" fmla="*/ 1162222 w 1162222"/>
                  <a:gd name="connsiteY6" fmla="*/ 1429754 h 1850118"/>
                  <a:gd name="connsiteX7" fmla="*/ 1067996 w 1162222"/>
                  <a:gd name="connsiteY7" fmla="*/ 984512 h 1850118"/>
                  <a:gd name="connsiteX8" fmla="*/ 1016674 w 1162222"/>
                  <a:gd name="connsiteY8" fmla="*/ 996315 h 1850118"/>
                  <a:gd name="connsiteX9" fmla="*/ 927170 w 1162222"/>
                  <a:gd name="connsiteY9" fmla="*/ 578142 h 1850118"/>
                  <a:gd name="connsiteX10" fmla="*/ 766309 w 1162222"/>
                  <a:gd name="connsiteY10" fmla="*/ 347881 h 1850118"/>
                  <a:gd name="connsiteX11" fmla="*/ 510622 w 1162222"/>
                  <a:gd name="connsiteY11" fmla="*/ 200186 h 1850118"/>
                  <a:gd name="connsiteX12" fmla="*/ 485417 w 1162222"/>
                  <a:gd name="connsiteY12" fmla="*/ 208744 h 1850118"/>
                  <a:gd name="connsiteX13" fmla="*/ 315408 w 1162222"/>
                  <a:gd name="connsiteY13" fmla="*/ 107040 h 1850118"/>
                  <a:gd name="connsiteX14" fmla="*/ 286081 w 1162222"/>
                  <a:gd name="connsiteY14" fmla="*/ 160561 h 1850118"/>
                  <a:gd name="connsiteX15" fmla="*/ 117452 w 1162222"/>
                  <a:gd name="connsiteY15" fmla="*/ 0 h 1850118"/>
                  <a:gd name="connsiteX16" fmla="*/ 0 w 1162222"/>
                  <a:gd name="connsiteY16" fmla="*/ 131664 h 1850118"/>
                  <a:gd name="connsiteX17" fmla="*/ 106454 w 1162222"/>
                  <a:gd name="connsiteY17" fmla="*/ 248486 h 1850118"/>
                  <a:gd name="connsiteX18" fmla="*/ 7476 w 1162222"/>
                  <a:gd name="connsiteY18" fmla="*/ 355527 h 1850118"/>
                  <a:gd name="connsiteX19" fmla="*/ 47801 w 1162222"/>
                  <a:gd name="connsiteY19" fmla="*/ 1674418 h 1850118"/>
                  <a:gd name="connsiteX20" fmla="*/ 495136 w 1162222"/>
                  <a:gd name="connsiteY20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30250 w 1162222"/>
                  <a:gd name="connsiteY2" fmla="*/ 1613252 h 1850118"/>
                  <a:gd name="connsiteX3" fmla="*/ 1063243 w 1162222"/>
                  <a:gd name="connsiteY3" fmla="*/ 1640013 h 1850118"/>
                  <a:gd name="connsiteX4" fmla="*/ 1143892 w 1162222"/>
                  <a:gd name="connsiteY4" fmla="*/ 1613252 h 1850118"/>
                  <a:gd name="connsiteX5" fmla="*/ 1110899 w 1162222"/>
                  <a:gd name="connsiteY5" fmla="*/ 1452692 h 1850118"/>
                  <a:gd name="connsiteX6" fmla="*/ 1162222 w 1162222"/>
                  <a:gd name="connsiteY6" fmla="*/ 1429754 h 1850118"/>
                  <a:gd name="connsiteX7" fmla="*/ 1067996 w 1162222"/>
                  <a:gd name="connsiteY7" fmla="*/ 984512 h 1850118"/>
                  <a:gd name="connsiteX8" fmla="*/ 1016674 w 1162222"/>
                  <a:gd name="connsiteY8" fmla="*/ 996315 h 1850118"/>
                  <a:gd name="connsiteX9" fmla="*/ 927170 w 1162222"/>
                  <a:gd name="connsiteY9" fmla="*/ 578142 h 1850118"/>
                  <a:gd name="connsiteX10" fmla="*/ 766309 w 1162222"/>
                  <a:gd name="connsiteY10" fmla="*/ 347881 h 1850118"/>
                  <a:gd name="connsiteX11" fmla="*/ 510622 w 1162222"/>
                  <a:gd name="connsiteY11" fmla="*/ 200186 h 1850118"/>
                  <a:gd name="connsiteX12" fmla="*/ 485417 w 1162222"/>
                  <a:gd name="connsiteY12" fmla="*/ 208744 h 1850118"/>
                  <a:gd name="connsiteX13" fmla="*/ 315408 w 1162222"/>
                  <a:gd name="connsiteY13" fmla="*/ 107040 h 1850118"/>
                  <a:gd name="connsiteX14" fmla="*/ 286081 w 1162222"/>
                  <a:gd name="connsiteY14" fmla="*/ 160561 h 1850118"/>
                  <a:gd name="connsiteX15" fmla="*/ 117452 w 1162222"/>
                  <a:gd name="connsiteY15" fmla="*/ 0 h 1850118"/>
                  <a:gd name="connsiteX16" fmla="*/ 0 w 1162222"/>
                  <a:gd name="connsiteY16" fmla="*/ 131664 h 1850118"/>
                  <a:gd name="connsiteX17" fmla="*/ 106454 w 1162222"/>
                  <a:gd name="connsiteY17" fmla="*/ 248486 h 1850118"/>
                  <a:gd name="connsiteX18" fmla="*/ 7476 w 1162222"/>
                  <a:gd name="connsiteY18" fmla="*/ 355527 h 1850118"/>
                  <a:gd name="connsiteX19" fmla="*/ 47801 w 1162222"/>
                  <a:gd name="connsiteY19" fmla="*/ 1674418 h 1850118"/>
                  <a:gd name="connsiteX20" fmla="*/ 495136 w 1162222"/>
                  <a:gd name="connsiteY20" fmla="*/ 1850118 h 1850118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7801 w 1162222"/>
                  <a:gd name="connsiteY19" fmla="*/ 1674418 h 2010769"/>
                  <a:gd name="connsiteX20" fmla="*/ 495136 w 1162222"/>
                  <a:gd name="connsiteY20" fmla="*/ 1850118 h 2010769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4136 w 1162222"/>
                  <a:gd name="connsiteY19" fmla="*/ 1674418 h 2010769"/>
                  <a:gd name="connsiteX20" fmla="*/ 495136 w 1162222"/>
                  <a:gd name="connsiteY20" fmla="*/ 1850118 h 2010769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4136 w 1162222"/>
                  <a:gd name="connsiteY19" fmla="*/ 1674418 h 2010769"/>
                  <a:gd name="connsiteX20" fmla="*/ 495136 w 1162222"/>
                  <a:gd name="connsiteY20" fmla="*/ 1850118 h 201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62222" h="2010769">
                    <a:moveTo>
                      <a:pt x="495136" y="1850118"/>
                    </a:moveTo>
                    <a:lnTo>
                      <a:pt x="894177" y="2010769"/>
                    </a:lnTo>
                    <a:lnTo>
                      <a:pt x="1030250" y="1613252"/>
                    </a:lnTo>
                    <a:lnTo>
                      <a:pt x="1063243" y="1640013"/>
                    </a:lnTo>
                    <a:lnTo>
                      <a:pt x="1143892" y="1613252"/>
                    </a:lnTo>
                    <a:lnTo>
                      <a:pt x="1110899" y="1452692"/>
                    </a:lnTo>
                    <a:lnTo>
                      <a:pt x="1162222" y="1429754"/>
                    </a:lnTo>
                    <a:lnTo>
                      <a:pt x="1067996" y="984512"/>
                    </a:lnTo>
                    <a:lnTo>
                      <a:pt x="1016674" y="996315"/>
                    </a:lnTo>
                    <a:lnTo>
                      <a:pt x="927170" y="578142"/>
                    </a:lnTo>
                    <a:cubicBezTo>
                      <a:pt x="890657" y="450417"/>
                      <a:pt x="846813" y="418263"/>
                      <a:pt x="766309" y="347881"/>
                    </a:cubicBezTo>
                    <a:cubicBezTo>
                      <a:pt x="655419" y="298649"/>
                      <a:pt x="595851" y="249418"/>
                      <a:pt x="510622" y="200186"/>
                    </a:cubicBezTo>
                    <a:lnTo>
                      <a:pt x="485417" y="208744"/>
                    </a:lnTo>
                    <a:lnTo>
                      <a:pt x="315408" y="107040"/>
                    </a:lnTo>
                    <a:lnTo>
                      <a:pt x="286081" y="160561"/>
                    </a:lnTo>
                    <a:cubicBezTo>
                      <a:pt x="222539" y="118510"/>
                      <a:pt x="173662" y="53520"/>
                      <a:pt x="117452" y="0"/>
                    </a:cubicBezTo>
                    <a:lnTo>
                      <a:pt x="0" y="131664"/>
                    </a:lnTo>
                    <a:lnTo>
                      <a:pt x="106454" y="248486"/>
                    </a:lnTo>
                    <a:lnTo>
                      <a:pt x="7476" y="355527"/>
                    </a:lnTo>
                    <a:cubicBezTo>
                      <a:pt x="182215" y="863969"/>
                      <a:pt x="202990" y="1196559"/>
                      <a:pt x="44136" y="1674418"/>
                    </a:cubicBezTo>
                    <a:lnTo>
                      <a:pt x="495136" y="1850118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T103N">
                <a:extLst>
                  <a:ext uri="{FF2B5EF4-FFF2-40B4-BE49-F238E27FC236}">
                    <a16:creationId xmlns:a16="http://schemas.microsoft.com/office/drawing/2014/main" id="{D755485B-F145-45F6-9650-3AF20E309A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1093" y="1254082"/>
                <a:ext cx="244014" cy="207974"/>
              </a:xfrm>
              <a:custGeom>
                <a:avLst/>
                <a:gdLst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89238 w 1420090"/>
                  <a:gd name="connsiteY12" fmla="*/ 1498023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1056409 w 1420090"/>
                  <a:gd name="connsiteY27" fmla="*/ 554182 h 2203739"/>
                  <a:gd name="connsiteX28" fmla="*/ 1394113 w 1420090"/>
                  <a:gd name="connsiteY28" fmla="*/ 251114 h 2203739"/>
                  <a:gd name="connsiteX29" fmla="*/ 1420090 w 1420090"/>
                  <a:gd name="connsiteY29" fmla="*/ 147205 h 2203739"/>
                  <a:gd name="connsiteX30" fmla="*/ 1000125 w 1420090"/>
                  <a:gd name="connsiteY30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1056409 w 1420090"/>
                  <a:gd name="connsiteY26" fmla="*/ 554182 h 2203739"/>
                  <a:gd name="connsiteX27" fmla="*/ 1394113 w 1420090"/>
                  <a:gd name="connsiteY27" fmla="*/ 251114 h 2203739"/>
                  <a:gd name="connsiteX28" fmla="*/ 1420090 w 1420090"/>
                  <a:gd name="connsiteY28" fmla="*/ 147205 h 2203739"/>
                  <a:gd name="connsiteX29" fmla="*/ 1000125 w 1420090"/>
                  <a:gd name="connsiteY29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1056409 w 1420090"/>
                  <a:gd name="connsiteY25" fmla="*/ 554182 h 2203739"/>
                  <a:gd name="connsiteX26" fmla="*/ 1394113 w 1420090"/>
                  <a:gd name="connsiteY26" fmla="*/ 251114 h 2203739"/>
                  <a:gd name="connsiteX27" fmla="*/ 1420090 w 1420090"/>
                  <a:gd name="connsiteY27" fmla="*/ 147205 h 2203739"/>
                  <a:gd name="connsiteX28" fmla="*/ 1000125 w 1420090"/>
                  <a:gd name="connsiteY28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1056409 w 1420090"/>
                  <a:gd name="connsiteY24" fmla="*/ 554182 h 2203739"/>
                  <a:gd name="connsiteX25" fmla="*/ 1394113 w 1420090"/>
                  <a:gd name="connsiteY25" fmla="*/ 251114 h 2203739"/>
                  <a:gd name="connsiteX26" fmla="*/ 1420090 w 1420090"/>
                  <a:gd name="connsiteY26" fmla="*/ 147205 h 2203739"/>
                  <a:gd name="connsiteX27" fmla="*/ 1000125 w 1420090"/>
                  <a:gd name="connsiteY27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1056409 w 1420090"/>
                  <a:gd name="connsiteY23" fmla="*/ 554182 h 2203739"/>
                  <a:gd name="connsiteX24" fmla="*/ 1394113 w 1420090"/>
                  <a:gd name="connsiteY24" fmla="*/ 251114 h 2203739"/>
                  <a:gd name="connsiteX25" fmla="*/ 1420090 w 1420090"/>
                  <a:gd name="connsiteY25" fmla="*/ 147205 h 2203739"/>
                  <a:gd name="connsiteX26" fmla="*/ 1000125 w 1420090"/>
                  <a:gd name="connsiteY26" fmla="*/ 0 h 2203739"/>
                  <a:gd name="connsiteX0" fmla="*/ 883228 w 1303193"/>
                  <a:gd name="connsiteY0" fmla="*/ 0 h 2203739"/>
                  <a:gd name="connsiteX1" fmla="*/ 848591 w 1303193"/>
                  <a:gd name="connsiteY1" fmla="*/ 99580 h 2203739"/>
                  <a:gd name="connsiteX2" fmla="*/ 653762 w 1303193"/>
                  <a:gd name="connsiteY2" fmla="*/ 355023 h 2203739"/>
                  <a:gd name="connsiteX3" fmla="*/ 372341 w 1303193"/>
                  <a:gd name="connsiteY3" fmla="*/ 1181966 h 2203739"/>
                  <a:gd name="connsiteX4" fmla="*/ 298739 w 1303193"/>
                  <a:gd name="connsiteY4" fmla="*/ 1264228 h 2203739"/>
                  <a:gd name="connsiteX5" fmla="*/ 233796 w 1303193"/>
                  <a:gd name="connsiteY5" fmla="*/ 1441739 h 2203739"/>
                  <a:gd name="connsiteX6" fmla="*/ 134216 w 1303193"/>
                  <a:gd name="connsiteY6" fmla="*/ 1398443 h 2203739"/>
                  <a:gd name="connsiteX7" fmla="*/ 17318 w 1303193"/>
                  <a:gd name="connsiteY7" fmla="*/ 2138796 h 2203739"/>
                  <a:gd name="connsiteX8" fmla="*/ 0 w 1303193"/>
                  <a:gd name="connsiteY8" fmla="*/ 2190750 h 2203739"/>
                  <a:gd name="connsiteX9" fmla="*/ 51955 w 1303193"/>
                  <a:gd name="connsiteY9" fmla="*/ 2203739 h 2203739"/>
                  <a:gd name="connsiteX10" fmla="*/ 294409 w 1303193"/>
                  <a:gd name="connsiteY10" fmla="*/ 1571625 h 2203739"/>
                  <a:gd name="connsiteX11" fmla="*/ 350693 w 1303193"/>
                  <a:gd name="connsiteY11" fmla="*/ 1506682 h 2203739"/>
                  <a:gd name="connsiteX12" fmla="*/ 471921 w 1303193"/>
                  <a:gd name="connsiteY12" fmla="*/ 1562966 h 2203739"/>
                  <a:gd name="connsiteX13" fmla="*/ 445943 w 1303193"/>
                  <a:gd name="connsiteY13" fmla="*/ 1632239 h 2203739"/>
                  <a:gd name="connsiteX14" fmla="*/ 640773 w 1303193"/>
                  <a:gd name="connsiteY14" fmla="*/ 1714500 h 2203739"/>
                  <a:gd name="connsiteX15" fmla="*/ 792307 w 1303193"/>
                  <a:gd name="connsiteY15" fmla="*/ 1913659 h 2203739"/>
                  <a:gd name="connsiteX16" fmla="*/ 926523 w 1303193"/>
                  <a:gd name="connsiteY16" fmla="*/ 1805421 h 2203739"/>
                  <a:gd name="connsiteX17" fmla="*/ 813955 w 1303193"/>
                  <a:gd name="connsiteY17" fmla="*/ 1675535 h 2203739"/>
                  <a:gd name="connsiteX18" fmla="*/ 796637 w 1303193"/>
                  <a:gd name="connsiteY18" fmla="*/ 1554307 h 2203739"/>
                  <a:gd name="connsiteX19" fmla="*/ 839932 w 1303193"/>
                  <a:gd name="connsiteY19" fmla="*/ 1549978 h 2203739"/>
                  <a:gd name="connsiteX20" fmla="*/ 818284 w 1303193"/>
                  <a:gd name="connsiteY20" fmla="*/ 1407103 h 2203739"/>
                  <a:gd name="connsiteX21" fmla="*/ 774989 w 1303193"/>
                  <a:gd name="connsiteY21" fmla="*/ 1415762 h 2203739"/>
                  <a:gd name="connsiteX22" fmla="*/ 939512 w 1303193"/>
                  <a:gd name="connsiteY22" fmla="*/ 554182 h 2203739"/>
                  <a:gd name="connsiteX23" fmla="*/ 1277216 w 1303193"/>
                  <a:gd name="connsiteY23" fmla="*/ 251114 h 2203739"/>
                  <a:gd name="connsiteX24" fmla="*/ 1303193 w 1303193"/>
                  <a:gd name="connsiteY24" fmla="*/ 147205 h 2203739"/>
                  <a:gd name="connsiteX25" fmla="*/ 883228 w 1303193"/>
                  <a:gd name="connsiteY25" fmla="*/ 0 h 2203739"/>
                  <a:gd name="connsiteX0" fmla="*/ 883228 w 1303193"/>
                  <a:gd name="connsiteY0" fmla="*/ 0 h 2203739"/>
                  <a:gd name="connsiteX1" fmla="*/ 848591 w 1303193"/>
                  <a:gd name="connsiteY1" fmla="*/ 99580 h 2203739"/>
                  <a:gd name="connsiteX2" fmla="*/ 653762 w 1303193"/>
                  <a:gd name="connsiteY2" fmla="*/ 355023 h 2203739"/>
                  <a:gd name="connsiteX3" fmla="*/ 372341 w 1303193"/>
                  <a:gd name="connsiteY3" fmla="*/ 1181966 h 2203739"/>
                  <a:gd name="connsiteX4" fmla="*/ 298739 w 1303193"/>
                  <a:gd name="connsiteY4" fmla="*/ 1264228 h 2203739"/>
                  <a:gd name="connsiteX5" fmla="*/ 233796 w 1303193"/>
                  <a:gd name="connsiteY5" fmla="*/ 1441739 h 2203739"/>
                  <a:gd name="connsiteX6" fmla="*/ 134216 w 1303193"/>
                  <a:gd name="connsiteY6" fmla="*/ 1398443 h 2203739"/>
                  <a:gd name="connsiteX7" fmla="*/ 0 w 1303193"/>
                  <a:gd name="connsiteY7" fmla="*/ 2190750 h 2203739"/>
                  <a:gd name="connsiteX8" fmla="*/ 51955 w 1303193"/>
                  <a:gd name="connsiteY8" fmla="*/ 2203739 h 2203739"/>
                  <a:gd name="connsiteX9" fmla="*/ 294409 w 1303193"/>
                  <a:gd name="connsiteY9" fmla="*/ 1571625 h 2203739"/>
                  <a:gd name="connsiteX10" fmla="*/ 350693 w 1303193"/>
                  <a:gd name="connsiteY10" fmla="*/ 1506682 h 2203739"/>
                  <a:gd name="connsiteX11" fmla="*/ 471921 w 1303193"/>
                  <a:gd name="connsiteY11" fmla="*/ 1562966 h 2203739"/>
                  <a:gd name="connsiteX12" fmla="*/ 445943 w 1303193"/>
                  <a:gd name="connsiteY12" fmla="*/ 1632239 h 2203739"/>
                  <a:gd name="connsiteX13" fmla="*/ 640773 w 1303193"/>
                  <a:gd name="connsiteY13" fmla="*/ 1714500 h 2203739"/>
                  <a:gd name="connsiteX14" fmla="*/ 792307 w 1303193"/>
                  <a:gd name="connsiteY14" fmla="*/ 1913659 h 2203739"/>
                  <a:gd name="connsiteX15" fmla="*/ 926523 w 1303193"/>
                  <a:gd name="connsiteY15" fmla="*/ 1805421 h 2203739"/>
                  <a:gd name="connsiteX16" fmla="*/ 813955 w 1303193"/>
                  <a:gd name="connsiteY16" fmla="*/ 1675535 h 2203739"/>
                  <a:gd name="connsiteX17" fmla="*/ 796637 w 1303193"/>
                  <a:gd name="connsiteY17" fmla="*/ 1554307 h 2203739"/>
                  <a:gd name="connsiteX18" fmla="*/ 839932 w 1303193"/>
                  <a:gd name="connsiteY18" fmla="*/ 1549978 h 2203739"/>
                  <a:gd name="connsiteX19" fmla="*/ 818284 w 1303193"/>
                  <a:gd name="connsiteY19" fmla="*/ 1407103 h 2203739"/>
                  <a:gd name="connsiteX20" fmla="*/ 774989 w 1303193"/>
                  <a:gd name="connsiteY20" fmla="*/ 1415762 h 2203739"/>
                  <a:gd name="connsiteX21" fmla="*/ 939512 w 1303193"/>
                  <a:gd name="connsiteY21" fmla="*/ 554182 h 2203739"/>
                  <a:gd name="connsiteX22" fmla="*/ 1277216 w 1303193"/>
                  <a:gd name="connsiteY22" fmla="*/ 251114 h 2203739"/>
                  <a:gd name="connsiteX23" fmla="*/ 1303193 w 1303193"/>
                  <a:gd name="connsiteY23" fmla="*/ 147205 h 2203739"/>
                  <a:gd name="connsiteX24" fmla="*/ 883228 w 1303193"/>
                  <a:gd name="connsiteY24" fmla="*/ 0 h 2203739"/>
                  <a:gd name="connsiteX0" fmla="*/ 831273 w 1251238"/>
                  <a:gd name="connsiteY0" fmla="*/ 0 h 2203739"/>
                  <a:gd name="connsiteX1" fmla="*/ 796636 w 1251238"/>
                  <a:gd name="connsiteY1" fmla="*/ 99580 h 2203739"/>
                  <a:gd name="connsiteX2" fmla="*/ 601807 w 1251238"/>
                  <a:gd name="connsiteY2" fmla="*/ 355023 h 2203739"/>
                  <a:gd name="connsiteX3" fmla="*/ 320386 w 1251238"/>
                  <a:gd name="connsiteY3" fmla="*/ 1181966 h 2203739"/>
                  <a:gd name="connsiteX4" fmla="*/ 246784 w 1251238"/>
                  <a:gd name="connsiteY4" fmla="*/ 1264228 h 2203739"/>
                  <a:gd name="connsiteX5" fmla="*/ 181841 w 1251238"/>
                  <a:gd name="connsiteY5" fmla="*/ 1441739 h 2203739"/>
                  <a:gd name="connsiteX6" fmla="*/ 82261 w 1251238"/>
                  <a:gd name="connsiteY6" fmla="*/ 1398443 h 2203739"/>
                  <a:gd name="connsiteX7" fmla="*/ 0 w 1251238"/>
                  <a:gd name="connsiteY7" fmla="*/ 2203739 h 2203739"/>
                  <a:gd name="connsiteX8" fmla="*/ 242454 w 1251238"/>
                  <a:gd name="connsiteY8" fmla="*/ 1571625 h 2203739"/>
                  <a:gd name="connsiteX9" fmla="*/ 298738 w 1251238"/>
                  <a:gd name="connsiteY9" fmla="*/ 1506682 h 2203739"/>
                  <a:gd name="connsiteX10" fmla="*/ 419966 w 1251238"/>
                  <a:gd name="connsiteY10" fmla="*/ 1562966 h 2203739"/>
                  <a:gd name="connsiteX11" fmla="*/ 393988 w 1251238"/>
                  <a:gd name="connsiteY11" fmla="*/ 1632239 h 2203739"/>
                  <a:gd name="connsiteX12" fmla="*/ 588818 w 1251238"/>
                  <a:gd name="connsiteY12" fmla="*/ 1714500 h 2203739"/>
                  <a:gd name="connsiteX13" fmla="*/ 740352 w 1251238"/>
                  <a:gd name="connsiteY13" fmla="*/ 1913659 h 2203739"/>
                  <a:gd name="connsiteX14" fmla="*/ 874568 w 1251238"/>
                  <a:gd name="connsiteY14" fmla="*/ 1805421 h 2203739"/>
                  <a:gd name="connsiteX15" fmla="*/ 762000 w 1251238"/>
                  <a:gd name="connsiteY15" fmla="*/ 1675535 h 2203739"/>
                  <a:gd name="connsiteX16" fmla="*/ 744682 w 1251238"/>
                  <a:gd name="connsiteY16" fmla="*/ 1554307 h 2203739"/>
                  <a:gd name="connsiteX17" fmla="*/ 787977 w 1251238"/>
                  <a:gd name="connsiteY17" fmla="*/ 1549978 h 2203739"/>
                  <a:gd name="connsiteX18" fmla="*/ 766329 w 1251238"/>
                  <a:gd name="connsiteY18" fmla="*/ 1407103 h 2203739"/>
                  <a:gd name="connsiteX19" fmla="*/ 723034 w 1251238"/>
                  <a:gd name="connsiteY19" fmla="*/ 1415762 h 2203739"/>
                  <a:gd name="connsiteX20" fmla="*/ 887557 w 1251238"/>
                  <a:gd name="connsiteY20" fmla="*/ 554182 h 2203739"/>
                  <a:gd name="connsiteX21" fmla="*/ 1225261 w 1251238"/>
                  <a:gd name="connsiteY21" fmla="*/ 251114 h 2203739"/>
                  <a:gd name="connsiteX22" fmla="*/ 1251238 w 1251238"/>
                  <a:gd name="connsiteY22" fmla="*/ 147205 h 2203739"/>
                  <a:gd name="connsiteX23" fmla="*/ 831273 w 1251238"/>
                  <a:gd name="connsiteY23" fmla="*/ 0 h 2203739"/>
                  <a:gd name="connsiteX0" fmla="*/ 749012 w 1168977"/>
                  <a:gd name="connsiteY0" fmla="*/ 0 h 1913659"/>
                  <a:gd name="connsiteX1" fmla="*/ 714375 w 1168977"/>
                  <a:gd name="connsiteY1" fmla="*/ 99580 h 1913659"/>
                  <a:gd name="connsiteX2" fmla="*/ 519546 w 1168977"/>
                  <a:gd name="connsiteY2" fmla="*/ 355023 h 1913659"/>
                  <a:gd name="connsiteX3" fmla="*/ 238125 w 1168977"/>
                  <a:gd name="connsiteY3" fmla="*/ 1181966 h 1913659"/>
                  <a:gd name="connsiteX4" fmla="*/ 164523 w 1168977"/>
                  <a:gd name="connsiteY4" fmla="*/ 1264228 h 1913659"/>
                  <a:gd name="connsiteX5" fmla="*/ 99580 w 1168977"/>
                  <a:gd name="connsiteY5" fmla="*/ 1441739 h 1913659"/>
                  <a:gd name="connsiteX6" fmla="*/ 0 w 1168977"/>
                  <a:gd name="connsiteY6" fmla="*/ 1398443 h 1913659"/>
                  <a:gd name="connsiteX7" fmla="*/ 160193 w 1168977"/>
                  <a:gd name="connsiteY7" fmla="*/ 1571625 h 1913659"/>
                  <a:gd name="connsiteX8" fmla="*/ 216477 w 1168977"/>
                  <a:gd name="connsiteY8" fmla="*/ 1506682 h 1913659"/>
                  <a:gd name="connsiteX9" fmla="*/ 337705 w 1168977"/>
                  <a:gd name="connsiteY9" fmla="*/ 1562966 h 1913659"/>
                  <a:gd name="connsiteX10" fmla="*/ 311727 w 1168977"/>
                  <a:gd name="connsiteY10" fmla="*/ 1632239 h 1913659"/>
                  <a:gd name="connsiteX11" fmla="*/ 506557 w 1168977"/>
                  <a:gd name="connsiteY11" fmla="*/ 1714500 h 1913659"/>
                  <a:gd name="connsiteX12" fmla="*/ 658091 w 1168977"/>
                  <a:gd name="connsiteY12" fmla="*/ 1913659 h 1913659"/>
                  <a:gd name="connsiteX13" fmla="*/ 792307 w 1168977"/>
                  <a:gd name="connsiteY13" fmla="*/ 1805421 h 1913659"/>
                  <a:gd name="connsiteX14" fmla="*/ 679739 w 1168977"/>
                  <a:gd name="connsiteY14" fmla="*/ 1675535 h 1913659"/>
                  <a:gd name="connsiteX15" fmla="*/ 662421 w 1168977"/>
                  <a:gd name="connsiteY15" fmla="*/ 1554307 h 1913659"/>
                  <a:gd name="connsiteX16" fmla="*/ 705716 w 1168977"/>
                  <a:gd name="connsiteY16" fmla="*/ 1549978 h 1913659"/>
                  <a:gd name="connsiteX17" fmla="*/ 684068 w 1168977"/>
                  <a:gd name="connsiteY17" fmla="*/ 1407103 h 1913659"/>
                  <a:gd name="connsiteX18" fmla="*/ 640773 w 1168977"/>
                  <a:gd name="connsiteY18" fmla="*/ 1415762 h 1913659"/>
                  <a:gd name="connsiteX19" fmla="*/ 805296 w 1168977"/>
                  <a:gd name="connsiteY19" fmla="*/ 554182 h 1913659"/>
                  <a:gd name="connsiteX20" fmla="*/ 1143000 w 1168977"/>
                  <a:gd name="connsiteY20" fmla="*/ 251114 h 1913659"/>
                  <a:gd name="connsiteX21" fmla="*/ 1168977 w 1168977"/>
                  <a:gd name="connsiteY21" fmla="*/ 147205 h 1913659"/>
                  <a:gd name="connsiteX22" fmla="*/ 749012 w 1168977"/>
                  <a:gd name="connsiteY22" fmla="*/ 0 h 1913659"/>
                  <a:gd name="connsiteX0" fmla="*/ 649432 w 1069397"/>
                  <a:gd name="connsiteY0" fmla="*/ 0 h 1913659"/>
                  <a:gd name="connsiteX1" fmla="*/ 614795 w 1069397"/>
                  <a:gd name="connsiteY1" fmla="*/ 99580 h 1913659"/>
                  <a:gd name="connsiteX2" fmla="*/ 419966 w 1069397"/>
                  <a:gd name="connsiteY2" fmla="*/ 355023 h 1913659"/>
                  <a:gd name="connsiteX3" fmla="*/ 138545 w 1069397"/>
                  <a:gd name="connsiteY3" fmla="*/ 1181966 h 1913659"/>
                  <a:gd name="connsiteX4" fmla="*/ 64943 w 1069397"/>
                  <a:gd name="connsiteY4" fmla="*/ 1264228 h 1913659"/>
                  <a:gd name="connsiteX5" fmla="*/ 0 w 1069397"/>
                  <a:gd name="connsiteY5" fmla="*/ 1441739 h 1913659"/>
                  <a:gd name="connsiteX6" fmla="*/ 60613 w 1069397"/>
                  <a:gd name="connsiteY6" fmla="*/ 1571625 h 1913659"/>
                  <a:gd name="connsiteX7" fmla="*/ 116897 w 1069397"/>
                  <a:gd name="connsiteY7" fmla="*/ 1506682 h 1913659"/>
                  <a:gd name="connsiteX8" fmla="*/ 238125 w 1069397"/>
                  <a:gd name="connsiteY8" fmla="*/ 1562966 h 1913659"/>
                  <a:gd name="connsiteX9" fmla="*/ 212147 w 1069397"/>
                  <a:gd name="connsiteY9" fmla="*/ 1632239 h 1913659"/>
                  <a:gd name="connsiteX10" fmla="*/ 406977 w 1069397"/>
                  <a:gd name="connsiteY10" fmla="*/ 1714500 h 1913659"/>
                  <a:gd name="connsiteX11" fmla="*/ 558511 w 1069397"/>
                  <a:gd name="connsiteY11" fmla="*/ 1913659 h 1913659"/>
                  <a:gd name="connsiteX12" fmla="*/ 692727 w 1069397"/>
                  <a:gd name="connsiteY12" fmla="*/ 1805421 h 1913659"/>
                  <a:gd name="connsiteX13" fmla="*/ 580159 w 1069397"/>
                  <a:gd name="connsiteY13" fmla="*/ 1675535 h 1913659"/>
                  <a:gd name="connsiteX14" fmla="*/ 562841 w 1069397"/>
                  <a:gd name="connsiteY14" fmla="*/ 1554307 h 1913659"/>
                  <a:gd name="connsiteX15" fmla="*/ 606136 w 1069397"/>
                  <a:gd name="connsiteY15" fmla="*/ 1549978 h 1913659"/>
                  <a:gd name="connsiteX16" fmla="*/ 584488 w 1069397"/>
                  <a:gd name="connsiteY16" fmla="*/ 1407103 h 1913659"/>
                  <a:gd name="connsiteX17" fmla="*/ 541193 w 1069397"/>
                  <a:gd name="connsiteY17" fmla="*/ 1415762 h 1913659"/>
                  <a:gd name="connsiteX18" fmla="*/ 705716 w 1069397"/>
                  <a:gd name="connsiteY18" fmla="*/ 554182 h 1913659"/>
                  <a:gd name="connsiteX19" fmla="*/ 1043420 w 1069397"/>
                  <a:gd name="connsiteY19" fmla="*/ 251114 h 1913659"/>
                  <a:gd name="connsiteX20" fmla="*/ 1069397 w 1069397"/>
                  <a:gd name="connsiteY20" fmla="*/ 147205 h 1913659"/>
                  <a:gd name="connsiteX21" fmla="*/ 649432 w 1069397"/>
                  <a:gd name="connsiteY21" fmla="*/ 0 h 1913659"/>
                  <a:gd name="connsiteX0" fmla="*/ 588819 w 1008784"/>
                  <a:gd name="connsiteY0" fmla="*/ 0 h 1913659"/>
                  <a:gd name="connsiteX1" fmla="*/ 554182 w 1008784"/>
                  <a:gd name="connsiteY1" fmla="*/ 99580 h 1913659"/>
                  <a:gd name="connsiteX2" fmla="*/ 359353 w 1008784"/>
                  <a:gd name="connsiteY2" fmla="*/ 355023 h 1913659"/>
                  <a:gd name="connsiteX3" fmla="*/ 77932 w 1008784"/>
                  <a:gd name="connsiteY3" fmla="*/ 1181966 h 1913659"/>
                  <a:gd name="connsiteX4" fmla="*/ 4330 w 1008784"/>
                  <a:gd name="connsiteY4" fmla="*/ 1264228 h 1913659"/>
                  <a:gd name="connsiteX5" fmla="*/ 0 w 1008784"/>
                  <a:gd name="connsiteY5" fmla="*/ 1571625 h 1913659"/>
                  <a:gd name="connsiteX6" fmla="*/ 56284 w 1008784"/>
                  <a:gd name="connsiteY6" fmla="*/ 1506682 h 1913659"/>
                  <a:gd name="connsiteX7" fmla="*/ 177512 w 1008784"/>
                  <a:gd name="connsiteY7" fmla="*/ 1562966 h 1913659"/>
                  <a:gd name="connsiteX8" fmla="*/ 151534 w 1008784"/>
                  <a:gd name="connsiteY8" fmla="*/ 1632239 h 1913659"/>
                  <a:gd name="connsiteX9" fmla="*/ 346364 w 1008784"/>
                  <a:gd name="connsiteY9" fmla="*/ 1714500 h 1913659"/>
                  <a:gd name="connsiteX10" fmla="*/ 497898 w 1008784"/>
                  <a:gd name="connsiteY10" fmla="*/ 1913659 h 1913659"/>
                  <a:gd name="connsiteX11" fmla="*/ 632114 w 1008784"/>
                  <a:gd name="connsiteY11" fmla="*/ 1805421 h 1913659"/>
                  <a:gd name="connsiteX12" fmla="*/ 519546 w 1008784"/>
                  <a:gd name="connsiteY12" fmla="*/ 1675535 h 1913659"/>
                  <a:gd name="connsiteX13" fmla="*/ 502228 w 1008784"/>
                  <a:gd name="connsiteY13" fmla="*/ 1554307 h 1913659"/>
                  <a:gd name="connsiteX14" fmla="*/ 545523 w 1008784"/>
                  <a:gd name="connsiteY14" fmla="*/ 1549978 h 1913659"/>
                  <a:gd name="connsiteX15" fmla="*/ 523875 w 1008784"/>
                  <a:gd name="connsiteY15" fmla="*/ 1407103 h 1913659"/>
                  <a:gd name="connsiteX16" fmla="*/ 480580 w 1008784"/>
                  <a:gd name="connsiteY16" fmla="*/ 1415762 h 1913659"/>
                  <a:gd name="connsiteX17" fmla="*/ 645103 w 1008784"/>
                  <a:gd name="connsiteY17" fmla="*/ 554182 h 1913659"/>
                  <a:gd name="connsiteX18" fmla="*/ 982807 w 1008784"/>
                  <a:gd name="connsiteY18" fmla="*/ 251114 h 1913659"/>
                  <a:gd name="connsiteX19" fmla="*/ 1008784 w 1008784"/>
                  <a:gd name="connsiteY19" fmla="*/ 147205 h 1913659"/>
                  <a:gd name="connsiteX20" fmla="*/ 588819 w 1008784"/>
                  <a:gd name="connsiteY20" fmla="*/ 0 h 1913659"/>
                  <a:gd name="connsiteX0" fmla="*/ 584818 w 1004783"/>
                  <a:gd name="connsiteY0" fmla="*/ 0 h 1913659"/>
                  <a:gd name="connsiteX1" fmla="*/ 550181 w 1004783"/>
                  <a:gd name="connsiteY1" fmla="*/ 99580 h 1913659"/>
                  <a:gd name="connsiteX2" fmla="*/ 355352 w 1004783"/>
                  <a:gd name="connsiteY2" fmla="*/ 355023 h 1913659"/>
                  <a:gd name="connsiteX3" fmla="*/ 73931 w 1004783"/>
                  <a:gd name="connsiteY3" fmla="*/ 1181966 h 1913659"/>
                  <a:gd name="connsiteX4" fmla="*/ 329 w 1004783"/>
                  <a:gd name="connsiteY4" fmla="*/ 1264228 h 1913659"/>
                  <a:gd name="connsiteX5" fmla="*/ 52283 w 1004783"/>
                  <a:gd name="connsiteY5" fmla="*/ 1506682 h 1913659"/>
                  <a:gd name="connsiteX6" fmla="*/ 173511 w 1004783"/>
                  <a:gd name="connsiteY6" fmla="*/ 1562966 h 1913659"/>
                  <a:gd name="connsiteX7" fmla="*/ 147533 w 1004783"/>
                  <a:gd name="connsiteY7" fmla="*/ 1632239 h 1913659"/>
                  <a:gd name="connsiteX8" fmla="*/ 342363 w 1004783"/>
                  <a:gd name="connsiteY8" fmla="*/ 1714500 h 1913659"/>
                  <a:gd name="connsiteX9" fmla="*/ 493897 w 1004783"/>
                  <a:gd name="connsiteY9" fmla="*/ 1913659 h 1913659"/>
                  <a:gd name="connsiteX10" fmla="*/ 628113 w 1004783"/>
                  <a:gd name="connsiteY10" fmla="*/ 1805421 h 1913659"/>
                  <a:gd name="connsiteX11" fmla="*/ 515545 w 1004783"/>
                  <a:gd name="connsiteY11" fmla="*/ 1675535 h 1913659"/>
                  <a:gd name="connsiteX12" fmla="*/ 498227 w 1004783"/>
                  <a:gd name="connsiteY12" fmla="*/ 1554307 h 1913659"/>
                  <a:gd name="connsiteX13" fmla="*/ 541522 w 1004783"/>
                  <a:gd name="connsiteY13" fmla="*/ 1549978 h 1913659"/>
                  <a:gd name="connsiteX14" fmla="*/ 519874 w 1004783"/>
                  <a:gd name="connsiteY14" fmla="*/ 1407103 h 1913659"/>
                  <a:gd name="connsiteX15" fmla="*/ 476579 w 1004783"/>
                  <a:gd name="connsiteY15" fmla="*/ 1415762 h 1913659"/>
                  <a:gd name="connsiteX16" fmla="*/ 641102 w 1004783"/>
                  <a:gd name="connsiteY16" fmla="*/ 554182 h 1913659"/>
                  <a:gd name="connsiteX17" fmla="*/ 978806 w 1004783"/>
                  <a:gd name="connsiteY17" fmla="*/ 251114 h 1913659"/>
                  <a:gd name="connsiteX18" fmla="*/ 1004783 w 1004783"/>
                  <a:gd name="connsiteY18" fmla="*/ 147205 h 1913659"/>
                  <a:gd name="connsiteX19" fmla="*/ 584818 w 1004783"/>
                  <a:gd name="connsiteY19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173182 w 1004454"/>
                  <a:gd name="connsiteY5" fmla="*/ 1562966 h 1913659"/>
                  <a:gd name="connsiteX6" fmla="*/ 147204 w 1004454"/>
                  <a:gd name="connsiteY6" fmla="*/ 1632239 h 1913659"/>
                  <a:gd name="connsiteX7" fmla="*/ 342034 w 1004454"/>
                  <a:gd name="connsiteY7" fmla="*/ 1714500 h 1913659"/>
                  <a:gd name="connsiteX8" fmla="*/ 493568 w 1004454"/>
                  <a:gd name="connsiteY8" fmla="*/ 1913659 h 1913659"/>
                  <a:gd name="connsiteX9" fmla="*/ 627784 w 1004454"/>
                  <a:gd name="connsiteY9" fmla="*/ 1805421 h 1913659"/>
                  <a:gd name="connsiteX10" fmla="*/ 515216 w 1004454"/>
                  <a:gd name="connsiteY10" fmla="*/ 1675535 h 1913659"/>
                  <a:gd name="connsiteX11" fmla="*/ 497898 w 1004454"/>
                  <a:gd name="connsiteY11" fmla="*/ 1554307 h 1913659"/>
                  <a:gd name="connsiteX12" fmla="*/ 541193 w 1004454"/>
                  <a:gd name="connsiteY12" fmla="*/ 1549978 h 1913659"/>
                  <a:gd name="connsiteX13" fmla="*/ 519545 w 1004454"/>
                  <a:gd name="connsiteY13" fmla="*/ 1407103 h 1913659"/>
                  <a:gd name="connsiteX14" fmla="*/ 476250 w 1004454"/>
                  <a:gd name="connsiteY14" fmla="*/ 1415762 h 1913659"/>
                  <a:gd name="connsiteX15" fmla="*/ 640773 w 1004454"/>
                  <a:gd name="connsiteY15" fmla="*/ 554182 h 1913659"/>
                  <a:gd name="connsiteX16" fmla="*/ 978477 w 1004454"/>
                  <a:gd name="connsiteY16" fmla="*/ 251114 h 1913659"/>
                  <a:gd name="connsiteX17" fmla="*/ 1004454 w 1004454"/>
                  <a:gd name="connsiteY17" fmla="*/ 147205 h 1913659"/>
                  <a:gd name="connsiteX18" fmla="*/ 584489 w 1004454"/>
                  <a:gd name="connsiteY18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147204 w 1004454"/>
                  <a:gd name="connsiteY5" fmla="*/ 1632239 h 1913659"/>
                  <a:gd name="connsiteX6" fmla="*/ 342034 w 1004454"/>
                  <a:gd name="connsiteY6" fmla="*/ 1714500 h 1913659"/>
                  <a:gd name="connsiteX7" fmla="*/ 493568 w 1004454"/>
                  <a:gd name="connsiteY7" fmla="*/ 1913659 h 1913659"/>
                  <a:gd name="connsiteX8" fmla="*/ 627784 w 1004454"/>
                  <a:gd name="connsiteY8" fmla="*/ 1805421 h 1913659"/>
                  <a:gd name="connsiteX9" fmla="*/ 515216 w 1004454"/>
                  <a:gd name="connsiteY9" fmla="*/ 1675535 h 1913659"/>
                  <a:gd name="connsiteX10" fmla="*/ 497898 w 1004454"/>
                  <a:gd name="connsiteY10" fmla="*/ 1554307 h 1913659"/>
                  <a:gd name="connsiteX11" fmla="*/ 541193 w 1004454"/>
                  <a:gd name="connsiteY11" fmla="*/ 1549978 h 1913659"/>
                  <a:gd name="connsiteX12" fmla="*/ 519545 w 1004454"/>
                  <a:gd name="connsiteY12" fmla="*/ 1407103 h 1913659"/>
                  <a:gd name="connsiteX13" fmla="*/ 476250 w 1004454"/>
                  <a:gd name="connsiteY13" fmla="*/ 1415762 h 1913659"/>
                  <a:gd name="connsiteX14" fmla="*/ 640773 w 1004454"/>
                  <a:gd name="connsiteY14" fmla="*/ 554182 h 1913659"/>
                  <a:gd name="connsiteX15" fmla="*/ 978477 w 1004454"/>
                  <a:gd name="connsiteY15" fmla="*/ 251114 h 1913659"/>
                  <a:gd name="connsiteX16" fmla="*/ 1004454 w 1004454"/>
                  <a:gd name="connsiteY16" fmla="*/ 147205 h 1913659"/>
                  <a:gd name="connsiteX17" fmla="*/ 584489 w 1004454"/>
                  <a:gd name="connsiteY17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342034 w 1004454"/>
                  <a:gd name="connsiteY5" fmla="*/ 1714500 h 1913659"/>
                  <a:gd name="connsiteX6" fmla="*/ 493568 w 1004454"/>
                  <a:gd name="connsiteY6" fmla="*/ 1913659 h 1913659"/>
                  <a:gd name="connsiteX7" fmla="*/ 627784 w 1004454"/>
                  <a:gd name="connsiteY7" fmla="*/ 1805421 h 1913659"/>
                  <a:gd name="connsiteX8" fmla="*/ 515216 w 1004454"/>
                  <a:gd name="connsiteY8" fmla="*/ 1675535 h 1913659"/>
                  <a:gd name="connsiteX9" fmla="*/ 497898 w 1004454"/>
                  <a:gd name="connsiteY9" fmla="*/ 1554307 h 1913659"/>
                  <a:gd name="connsiteX10" fmla="*/ 541193 w 1004454"/>
                  <a:gd name="connsiteY10" fmla="*/ 1549978 h 1913659"/>
                  <a:gd name="connsiteX11" fmla="*/ 519545 w 1004454"/>
                  <a:gd name="connsiteY11" fmla="*/ 1407103 h 1913659"/>
                  <a:gd name="connsiteX12" fmla="*/ 476250 w 1004454"/>
                  <a:gd name="connsiteY12" fmla="*/ 1415762 h 1913659"/>
                  <a:gd name="connsiteX13" fmla="*/ 640773 w 1004454"/>
                  <a:gd name="connsiteY13" fmla="*/ 554182 h 1913659"/>
                  <a:gd name="connsiteX14" fmla="*/ 978477 w 1004454"/>
                  <a:gd name="connsiteY14" fmla="*/ 251114 h 1913659"/>
                  <a:gd name="connsiteX15" fmla="*/ 1004454 w 1004454"/>
                  <a:gd name="connsiteY15" fmla="*/ 147205 h 1913659"/>
                  <a:gd name="connsiteX16" fmla="*/ 584489 w 1004454"/>
                  <a:gd name="connsiteY16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493568 w 1004454"/>
                  <a:gd name="connsiteY5" fmla="*/ 1913659 h 1913659"/>
                  <a:gd name="connsiteX6" fmla="*/ 627784 w 1004454"/>
                  <a:gd name="connsiteY6" fmla="*/ 1805421 h 1913659"/>
                  <a:gd name="connsiteX7" fmla="*/ 515216 w 1004454"/>
                  <a:gd name="connsiteY7" fmla="*/ 1675535 h 1913659"/>
                  <a:gd name="connsiteX8" fmla="*/ 497898 w 1004454"/>
                  <a:gd name="connsiteY8" fmla="*/ 1554307 h 1913659"/>
                  <a:gd name="connsiteX9" fmla="*/ 541193 w 1004454"/>
                  <a:gd name="connsiteY9" fmla="*/ 1549978 h 1913659"/>
                  <a:gd name="connsiteX10" fmla="*/ 519545 w 1004454"/>
                  <a:gd name="connsiteY10" fmla="*/ 1407103 h 1913659"/>
                  <a:gd name="connsiteX11" fmla="*/ 476250 w 1004454"/>
                  <a:gd name="connsiteY11" fmla="*/ 1415762 h 1913659"/>
                  <a:gd name="connsiteX12" fmla="*/ 640773 w 1004454"/>
                  <a:gd name="connsiteY12" fmla="*/ 554182 h 1913659"/>
                  <a:gd name="connsiteX13" fmla="*/ 978477 w 1004454"/>
                  <a:gd name="connsiteY13" fmla="*/ 251114 h 1913659"/>
                  <a:gd name="connsiteX14" fmla="*/ 1004454 w 1004454"/>
                  <a:gd name="connsiteY14" fmla="*/ 147205 h 1913659"/>
                  <a:gd name="connsiteX15" fmla="*/ 584489 w 1004454"/>
                  <a:gd name="connsiteY15" fmla="*/ 0 h 1913659"/>
                  <a:gd name="connsiteX0" fmla="*/ 584489 w 1004454"/>
                  <a:gd name="connsiteY0" fmla="*/ 0 h 1805421"/>
                  <a:gd name="connsiteX1" fmla="*/ 549852 w 1004454"/>
                  <a:gd name="connsiteY1" fmla="*/ 99580 h 1805421"/>
                  <a:gd name="connsiteX2" fmla="*/ 355023 w 1004454"/>
                  <a:gd name="connsiteY2" fmla="*/ 355023 h 1805421"/>
                  <a:gd name="connsiteX3" fmla="*/ 73602 w 1004454"/>
                  <a:gd name="connsiteY3" fmla="*/ 1181966 h 1805421"/>
                  <a:gd name="connsiteX4" fmla="*/ 0 w 1004454"/>
                  <a:gd name="connsiteY4" fmla="*/ 1264228 h 1805421"/>
                  <a:gd name="connsiteX5" fmla="*/ 627784 w 1004454"/>
                  <a:gd name="connsiteY5" fmla="*/ 1805421 h 1805421"/>
                  <a:gd name="connsiteX6" fmla="*/ 515216 w 1004454"/>
                  <a:gd name="connsiteY6" fmla="*/ 1675535 h 1805421"/>
                  <a:gd name="connsiteX7" fmla="*/ 497898 w 1004454"/>
                  <a:gd name="connsiteY7" fmla="*/ 1554307 h 1805421"/>
                  <a:gd name="connsiteX8" fmla="*/ 541193 w 1004454"/>
                  <a:gd name="connsiteY8" fmla="*/ 1549978 h 1805421"/>
                  <a:gd name="connsiteX9" fmla="*/ 519545 w 1004454"/>
                  <a:gd name="connsiteY9" fmla="*/ 1407103 h 1805421"/>
                  <a:gd name="connsiteX10" fmla="*/ 476250 w 1004454"/>
                  <a:gd name="connsiteY10" fmla="*/ 1415762 h 1805421"/>
                  <a:gd name="connsiteX11" fmla="*/ 640773 w 1004454"/>
                  <a:gd name="connsiteY11" fmla="*/ 554182 h 1805421"/>
                  <a:gd name="connsiteX12" fmla="*/ 978477 w 1004454"/>
                  <a:gd name="connsiteY12" fmla="*/ 251114 h 1805421"/>
                  <a:gd name="connsiteX13" fmla="*/ 1004454 w 1004454"/>
                  <a:gd name="connsiteY13" fmla="*/ 147205 h 1805421"/>
                  <a:gd name="connsiteX14" fmla="*/ 584489 w 1004454"/>
                  <a:gd name="connsiteY14" fmla="*/ 0 h 1805421"/>
                  <a:gd name="connsiteX0" fmla="*/ 584489 w 1004454"/>
                  <a:gd name="connsiteY0" fmla="*/ 0 h 1675535"/>
                  <a:gd name="connsiteX1" fmla="*/ 549852 w 1004454"/>
                  <a:gd name="connsiteY1" fmla="*/ 99580 h 1675535"/>
                  <a:gd name="connsiteX2" fmla="*/ 355023 w 1004454"/>
                  <a:gd name="connsiteY2" fmla="*/ 355023 h 1675535"/>
                  <a:gd name="connsiteX3" fmla="*/ 73602 w 1004454"/>
                  <a:gd name="connsiteY3" fmla="*/ 1181966 h 1675535"/>
                  <a:gd name="connsiteX4" fmla="*/ 0 w 1004454"/>
                  <a:gd name="connsiteY4" fmla="*/ 1264228 h 1675535"/>
                  <a:gd name="connsiteX5" fmla="*/ 515216 w 1004454"/>
                  <a:gd name="connsiteY5" fmla="*/ 1675535 h 1675535"/>
                  <a:gd name="connsiteX6" fmla="*/ 497898 w 1004454"/>
                  <a:gd name="connsiteY6" fmla="*/ 1554307 h 1675535"/>
                  <a:gd name="connsiteX7" fmla="*/ 541193 w 1004454"/>
                  <a:gd name="connsiteY7" fmla="*/ 1549978 h 1675535"/>
                  <a:gd name="connsiteX8" fmla="*/ 519545 w 1004454"/>
                  <a:gd name="connsiteY8" fmla="*/ 1407103 h 1675535"/>
                  <a:gd name="connsiteX9" fmla="*/ 476250 w 1004454"/>
                  <a:gd name="connsiteY9" fmla="*/ 1415762 h 1675535"/>
                  <a:gd name="connsiteX10" fmla="*/ 640773 w 1004454"/>
                  <a:gd name="connsiteY10" fmla="*/ 554182 h 1675535"/>
                  <a:gd name="connsiteX11" fmla="*/ 978477 w 1004454"/>
                  <a:gd name="connsiteY11" fmla="*/ 251114 h 1675535"/>
                  <a:gd name="connsiteX12" fmla="*/ 1004454 w 1004454"/>
                  <a:gd name="connsiteY12" fmla="*/ 147205 h 1675535"/>
                  <a:gd name="connsiteX13" fmla="*/ 584489 w 1004454"/>
                  <a:gd name="connsiteY13" fmla="*/ 0 h 1675535"/>
                  <a:gd name="connsiteX0" fmla="*/ 584489 w 1004454"/>
                  <a:gd name="connsiteY0" fmla="*/ 0 h 1554307"/>
                  <a:gd name="connsiteX1" fmla="*/ 549852 w 1004454"/>
                  <a:gd name="connsiteY1" fmla="*/ 99580 h 1554307"/>
                  <a:gd name="connsiteX2" fmla="*/ 355023 w 1004454"/>
                  <a:gd name="connsiteY2" fmla="*/ 355023 h 1554307"/>
                  <a:gd name="connsiteX3" fmla="*/ 73602 w 1004454"/>
                  <a:gd name="connsiteY3" fmla="*/ 1181966 h 1554307"/>
                  <a:gd name="connsiteX4" fmla="*/ 0 w 1004454"/>
                  <a:gd name="connsiteY4" fmla="*/ 1264228 h 1554307"/>
                  <a:gd name="connsiteX5" fmla="*/ 497898 w 1004454"/>
                  <a:gd name="connsiteY5" fmla="*/ 1554307 h 1554307"/>
                  <a:gd name="connsiteX6" fmla="*/ 541193 w 1004454"/>
                  <a:gd name="connsiteY6" fmla="*/ 1549978 h 1554307"/>
                  <a:gd name="connsiteX7" fmla="*/ 519545 w 1004454"/>
                  <a:gd name="connsiteY7" fmla="*/ 1407103 h 1554307"/>
                  <a:gd name="connsiteX8" fmla="*/ 476250 w 1004454"/>
                  <a:gd name="connsiteY8" fmla="*/ 1415762 h 1554307"/>
                  <a:gd name="connsiteX9" fmla="*/ 640773 w 1004454"/>
                  <a:gd name="connsiteY9" fmla="*/ 554182 h 1554307"/>
                  <a:gd name="connsiteX10" fmla="*/ 978477 w 1004454"/>
                  <a:gd name="connsiteY10" fmla="*/ 251114 h 1554307"/>
                  <a:gd name="connsiteX11" fmla="*/ 1004454 w 1004454"/>
                  <a:gd name="connsiteY11" fmla="*/ 147205 h 1554307"/>
                  <a:gd name="connsiteX12" fmla="*/ 584489 w 1004454"/>
                  <a:gd name="connsiteY12" fmla="*/ 0 h 1554307"/>
                  <a:gd name="connsiteX0" fmla="*/ 584489 w 1004454"/>
                  <a:gd name="connsiteY0" fmla="*/ 0 h 1549978"/>
                  <a:gd name="connsiteX1" fmla="*/ 549852 w 1004454"/>
                  <a:gd name="connsiteY1" fmla="*/ 99580 h 1549978"/>
                  <a:gd name="connsiteX2" fmla="*/ 355023 w 1004454"/>
                  <a:gd name="connsiteY2" fmla="*/ 355023 h 1549978"/>
                  <a:gd name="connsiteX3" fmla="*/ 73602 w 1004454"/>
                  <a:gd name="connsiteY3" fmla="*/ 1181966 h 1549978"/>
                  <a:gd name="connsiteX4" fmla="*/ 0 w 1004454"/>
                  <a:gd name="connsiteY4" fmla="*/ 1264228 h 1549978"/>
                  <a:gd name="connsiteX5" fmla="*/ 541193 w 1004454"/>
                  <a:gd name="connsiteY5" fmla="*/ 1549978 h 1549978"/>
                  <a:gd name="connsiteX6" fmla="*/ 519545 w 1004454"/>
                  <a:gd name="connsiteY6" fmla="*/ 1407103 h 1549978"/>
                  <a:gd name="connsiteX7" fmla="*/ 476250 w 1004454"/>
                  <a:gd name="connsiteY7" fmla="*/ 1415762 h 1549978"/>
                  <a:gd name="connsiteX8" fmla="*/ 640773 w 1004454"/>
                  <a:gd name="connsiteY8" fmla="*/ 554182 h 1549978"/>
                  <a:gd name="connsiteX9" fmla="*/ 978477 w 1004454"/>
                  <a:gd name="connsiteY9" fmla="*/ 251114 h 1549978"/>
                  <a:gd name="connsiteX10" fmla="*/ 1004454 w 1004454"/>
                  <a:gd name="connsiteY10" fmla="*/ 147205 h 1549978"/>
                  <a:gd name="connsiteX11" fmla="*/ 584489 w 1004454"/>
                  <a:gd name="connsiteY11" fmla="*/ 0 h 1549978"/>
                  <a:gd name="connsiteX0" fmla="*/ 584489 w 1004454"/>
                  <a:gd name="connsiteY0" fmla="*/ 0 h 1415762"/>
                  <a:gd name="connsiteX1" fmla="*/ 549852 w 1004454"/>
                  <a:gd name="connsiteY1" fmla="*/ 99580 h 1415762"/>
                  <a:gd name="connsiteX2" fmla="*/ 355023 w 1004454"/>
                  <a:gd name="connsiteY2" fmla="*/ 355023 h 1415762"/>
                  <a:gd name="connsiteX3" fmla="*/ 73602 w 1004454"/>
                  <a:gd name="connsiteY3" fmla="*/ 1181966 h 1415762"/>
                  <a:gd name="connsiteX4" fmla="*/ 0 w 1004454"/>
                  <a:gd name="connsiteY4" fmla="*/ 1264228 h 1415762"/>
                  <a:gd name="connsiteX5" fmla="*/ 519545 w 1004454"/>
                  <a:gd name="connsiteY5" fmla="*/ 1407103 h 1415762"/>
                  <a:gd name="connsiteX6" fmla="*/ 476250 w 1004454"/>
                  <a:gd name="connsiteY6" fmla="*/ 1415762 h 1415762"/>
                  <a:gd name="connsiteX7" fmla="*/ 640773 w 1004454"/>
                  <a:gd name="connsiteY7" fmla="*/ 554182 h 1415762"/>
                  <a:gd name="connsiteX8" fmla="*/ 978477 w 1004454"/>
                  <a:gd name="connsiteY8" fmla="*/ 251114 h 1415762"/>
                  <a:gd name="connsiteX9" fmla="*/ 1004454 w 1004454"/>
                  <a:gd name="connsiteY9" fmla="*/ 147205 h 1415762"/>
                  <a:gd name="connsiteX10" fmla="*/ 584489 w 1004454"/>
                  <a:gd name="connsiteY10" fmla="*/ 0 h 1415762"/>
                  <a:gd name="connsiteX0" fmla="*/ 584489 w 1004454"/>
                  <a:gd name="connsiteY0" fmla="*/ 0 h 1449186"/>
                  <a:gd name="connsiteX1" fmla="*/ 549852 w 1004454"/>
                  <a:gd name="connsiteY1" fmla="*/ 99580 h 1449186"/>
                  <a:gd name="connsiteX2" fmla="*/ 355023 w 1004454"/>
                  <a:gd name="connsiteY2" fmla="*/ 355023 h 1449186"/>
                  <a:gd name="connsiteX3" fmla="*/ 73602 w 1004454"/>
                  <a:gd name="connsiteY3" fmla="*/ 1181966 h 1449186"/>
                  <a:gd name="connsiteX4" fmla="*/ 0 w 1004454"/>
                  <a:gd name="connsiteY4" fmla="*/ 1264228 h 1449186"/>
                  <a:gd name="connsiteX5" fmla="*/ 476250 w 1004454"/>
                  <a:gd name="connsiteY5" fmla="*/ 1415762 h 1449186"/>
                  <a:gd name="connsiteX6" fmla="*/ 640773 w 1004454"/>
                  <a:gd name="connsiteY6" fmla="*/ 554182 h 1449186"/>
                  <a:gd name="connsiteX7" fmla="*/ 978477 w 1004454"/>
                  <a:gd name="connsiteY7" fmla="*/ 251114 h 1449186"/>
                  <a:gd name="connsiteX8" fmla="*/ 1004454 w 1004454"/>
                  <a:gd name="connsiteY8" fmla="*/ 147205 h 1449186"/>
                  <a:gd name="connsiteX9" fmla="*/ 584489 w 1004454"/>
                  <a:gd name="connsiteY9" fmla="*/ 0 h 1449186"/>
                  <a:gd name="connsiteX0" fmla="*/ 584489 w 1004454"/>
                  <a:gd name="connsiteY0" fmla="*/ 0 h 1264228"/>
                  <a:gd name="connsiteX1" fmla="*/ 549852 w 1004454"/>
                  <a:gd name="connsiteY1" fmla="*/ 99580 h 1264228"/>
                  <a:gd name="connsiteX2" fmla="*/ 355023 w 1004454"/>
                  <a:gd name="connsiteY2" fmla="*/ 355023 h 1264228"/>
                  <a:gd name="connsiteX3" fmla="*/ 73602 w 1004454"/>
                  <a:gd name="connsiteY3" fmla="*/ 1181966 h 1264228"/>
                  <a:gd name="connsiteX4" fmla="*/ 0 w 1004454"/>
                  <a:gd name="connsiteY4" fmla="*/ 1264228 h 1264228"/>
                  <a:gd name="connsiteX5" fmla="*/ 640773 w 1004454"/>
                  <a:gd name="connsiteY5" fmla="*/ 554182 h 1264228"/>
                  <a:gd name="connsiteX6" fmla="*/ 978477 w 1004454"/>
                  <a:gd name="connsiteY6" fmla="*/ 251114 h 1264228"/>
                  <a:gd name="connsiteX7" fmla="*/ 1004454 w 1004454"/>
                  <a:gd name="connsiteY7" fmla="*/ 147205 h 1264228"/>
                  <a:gd name="connsiteX8" fmla="*/ 584489 w 1004454"/>
                  <a:gd name="connsiteY8" fmla="*/ 0 h 1264228"/>
                  <a:gd name="connsiteX0" fmla="*/ 510887 w 930852"/>
                  <a:gd name="connsiteY0" fmla="*/ 0 h 1181966"/>
                  <a:gd name="connsiteX1" fmla="*/ 476250 w 930852"/>
                  <a:gd name="connsiteY1" fmla="*/ 99580 h 1181966"/>
                  <a:gd name="connsiteX2" fmla="*/ 281421 w 930852"/>
                  <a:gd name="connsiteY2" fmla="*/ 355023 h 1181966"/>
                  <a:gd name="connsiteX3" fmla="*/ 0 w 930852"/>
                  <a:gd name="connsiteY3" fmla="*/ 1181966 h 1181966"/>
                  <a:gd name="connsiteX4" fmla="*/ 567171 w 930852"/>
                  <a:gd name="connsiteY4" fmla="*/ 554182 h 1181966"/>
                  <a:gd name="connsiteX5" fmla="*/ 904875 w 930852"/>
                  <a:gd name="connsiteY5" fmla="*/ 251114 h 1181966"/>
                  <a:gd name="connsiteX6" fmla="*/ 930852 w 930852"/>
                  <a:gd name="connsiteY6" fmla="*/ 147205 h 1181966"/>
                  <a:gd name="connsiteX7" fmla="*/ 510887 w 930852"/>
                  <a:gd name="connsiteY7" fmla="*/ 0 h 1181966"/>
                  <a:gd name="connsiteX0" fmla="*/ 229466 w 649431"/>
                  <a:gd name="connsiteY0" fmla="*/ 0 h 554182"/>
                  <a:gd name="connsiteX1" fmla="*/ 194829 w 649431"/>
                  <a:gd name="connsiteY1" fmla="*/ 99580 h 554182"/>
                  <a:gd name="connsiteX2" fmla="*/ 0 w 649431"/>
                  <a:gd name="connsiteY2" fmla="*/ 355023 h 554182"/>
                  <a:gd name="connsiteX3" fmla="*/ 285750 w 649431"/>
                  <a:gd name="connsiteY3" fmla="*/ 554182 h 554182"/>
                  <a:gd name="connsiteX4" fmla="*/ 623454 w 649431"/>
                  <a:gd name="connsiteY4" fmla="*/ 251114 h 554182"/>
                  <a:gd name="connsiteX5" fmla="*/ 649431 w 649431"/>
                  <a:gd name="connsiteY5" fmla="*/ 147205 h 554182"/>
                  <a:gd name="connsiteX6" fmla="*/ 229466 w 649431"/>
                  <a:gd name="connsiteY6" fmla="*/ 0 h 55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9431" h="554182">
                    <a:moveTo>
                      <a:pt x="229466" y="0"/>
                    </a:moveTo>
                    <a:lnTo>
                      <a:pt x="194829" y="99580"/>
                    </a:lnTo>
                    <a:lnTo>
                      <a:pt x="0" y="355023"/>
                    </a:lnTo>
                    <a:lnTo>
                      <a:pt x="285750" y="554182"/>
                    </a:lnTo>
                    <a:lnTo>
                      <a:pt x="623454" y="251114"/>
                    </a:lnTo>
                    <a:lnTo>
                      <a:pt x="649431" y="147205"/>
                    </a:lnTo>
                    <a:lnTo>
                      <a:pt x="229466" y="0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T113">
                <a:extLst>
                  <a:ext uri="{FF2B5EF4-FFF2-40B4-BE49-F238E27FC236}">
                    <a16:creationId xmlns:a16="http://schemas.microsoft.com/office/drawing/2014/main" id="{1651DB28-9302-410D-BE1A-151313F71BB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04278" y="1181168"/>
                <a:ext cx="301906" cy="606067"/>
              </a:xfrm>
              <a:custGeom>
                <a:avLst/>
                <a:gdLst>
                  <a:gd name="connsiteX0" fmla="*/ 669925 w 844550"/>
                  <a:gd name="connsiteY0" fmla="*/ 0 h 1431925"/>
                  <a:gd name="connsiteX1" fmla="*/ 581025 w 844550"/>
                  <a:gd name="connsiteY1" fmla="*/ 209550 h 1431925"/>
                  <a:gd name="connsiteX2" fmla="*/ 0 w 844550"/>
                  <a:gd name="connsiteY2" fmla="*/ 1000125 h 1431925"/>
                  <a:gd name="connsiteX3" fmla="*/ 222250 w 844550"/>
                  <a:gd name="connsiteY3" fmla="*/ 1168400 h 1431925"/>
                  <a:gd name="connsiteX4" fmla="*/ 180975 w 844550"/>
                  <a:gd name="connsiteY4" fmla="*/ 1231900 h 1431925"/>
                  <a:gd name="connsiteX5" fmla="*/ 434975 w 844550"/>
                  <a:gd name="connsiteY5" fmla="*/ 1358900 h 1431925"/>
                  <a:gd name="connsiteX6" fmla="*/ 549275 w 844550"/>
                  <a:gd name="connsiteY6" fmla="*/ 1076325 h 1431925"/>
                  <a:gd name="connsiteX7" fmla="*/ 615950 w 844550"/>
                  <a:gd name="connsiteY7" fmla="*/ 1098550 h 1431925"/>
                  <a:gd name="connsiteX8" fmla="*/ 488950 w 844550"/>
                  <a:gd name="connsiteY8" fmla="*/ 1409700 h 1431925"/>
                  <a:gd name="connsiteX9" fmla="*/ 561975 w 844550"/>
                  <a:gd name="connsiteY9" fmla="*/ 1431925 h 1431925"/>
                  <a:gd name="connsiteX10" fmla="*/ 755650 w 844550"/>
                  <a:gd name="connsiteY10" fmla="*/ 885825 h 1431925"/>
                  <a:gd name="connsiteX11" fmla="*/ 736600 w 844550"/>
                  <a:gd name="connsiteY11" fmla="*/ 428625 h 1431925"/>
                  <a:gd name="connsiteX12" fmla="*/ 844550 w 844550"/>
                  <a:gd name="connsiteY12" fmla="*/ 53975 h 1431925"/>
                  <a:gd name="connsiteX13" fmla="*/ 669925 w 844550"/>
                  <a:gd name="connsiteY13" fmla="*/ 0 h 1431925"/>
                  <a:gd name="connsiteX0" fmla="*/ 669925 w 844550"/>
                  <a:gd name="connsiteY0" fmla="*/ 0 h 1431925"/>
                  <a:gd name="connsiteX1" fmla="*/ 581025 w 844550"/>
                  <a:gd name="connsiteY1" fmla="*/ 209550 h 1431925"/>
                  <a:gd name="connsiteX2" fmla="*/ 0 w 844550"/>
                  <a:gd name="connsiteY2" fmla="*/ 1000125 h 1431925"/>
                  <a:gd name="connsiteX3" fmla="*/ 222250 w 844550"/>
                  <a:gd name="connsiteY3" fmla="*/ 1168400 h 1431925"/>
                  <a:gd name="connsiteX4" fmla="*/ 180975 w 844550"/>
                  <a:gd name="connsiteY4" fmla="*/ 1231900 h 1431925"/>
                  <a:gd name="connsiteX5" fmla="*/ 434975 w 844550"/>
                  <a:gd name="connsiteY5" fmla="*/ 1358900 h 1431925"/>
                  <a:gd name="connsiteX6" fmla="*/ 549275 w 844550"/>
                  <a:gd name="connsiteY6" fmla="*/ 1076325 h 1431925"/>
                  <a:gd name="connsiteX7" fmla="*/ 615950 w 844550"/>
                  <a:gd name="connsiteY7" fmla="*/ 1098550 h 1431925"/>
                  <a:gd name="connsiteX8" fmla="*/ 488950 w 844550"/>
                  <a:gd name="connsiteY8" fmla="*/ 1409700 h 1431925"/>
                  <a:gd name="connsiteX9" fmla="*/ 561975 w 844550"/>
                  <a:gd name="connsiteY9" fmla="*/ 1431925 h 1431925"/>
                  <a:gd name="connsiteX10" fmla="*/ 755650 w 844550"/>
                  <a:gd name="connsiteY10" fmla="*/ 885825 h 1431925"/>
                  <a:gd name="connsiteX11" fmla="*/ 736600 w 844550"/>
                  <a:gd name="connsiteY11" fmla="*/ 428625 h 1431925"/>
                  <a:gd name="connsiteX12" fmla="*/ 844550 w 844550"/>
                  <a:gd name="connsiteY12" fmla="*/ 53975 h 1431925"/>
                  <a:gd name="connsiteX13" fmla="*/ 669925 w 844550"/>
                  <a:gd name="connsiteY13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498475 w 844550"/>
                  <a:gd name="connsiteY5" fmla="*/ 1066800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498475 w 844550"/>
                  <a:gd name="connsiteY5" fmla="*/ 1066800 h 1431925"/>
                  <a:gd name="connsiteX6" fmla="*/ 615950 w 844550"/>
                  <a:gd name="connsiteY6" fmla="*/ 1098550 h 1431925"/>
                  <a:gd name="connsiteX7" fmla="*/ 466725 w 844550"/>
                  <a:gd name="connsiteY7" fmla="*/ 13970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574800"/>
                  <a:gd name="connsiteX1" fmla="*/ 0 w 844550"/>
                  <a:gd name="connsiteY1" fmla="*/ 1000125 h 1574800"/>
                  <a:gd name="connsiteX2" fmla="*/ 222250 w 844550"/>
                  <a:gd name="connsiteY2" fmla="*/ 1168400 h 1574800"/>
                  <a:gd name="connsiteX3" fmla="*/ 180975 w 844550"/>
                  <a:gd name="connsiteY3" fmla="*/ 1231900 h 1574800"/>
                  <a:gd name="connsiteX4" fmla="*/ 381000 w 844550"/>
                  <a:gd name="connsiteY4" fmla="*/ 1330325 h 1574800"/>
                  <a:gd name="connsiteX5" fmla="*/ 498475 w 844550"/>
                  <a:gd name="connsiteY5" fmla="*/ 1066800 h 1574800"/>
                  <a:gd name="connsiteX6" fmla="*/ 615950 w 844550"/>
                  <a:gd name="connsiteY6" fmla="*/ 1098550 h 1574800"/>
                  <a:gd name="connsiteX7" fmla="*/ 419100 w 844550"/>
                  <a:gd name="connsiteY7" fmla="*/ 1574800 h 1574800"/>
                  <a:gd name="connsiteX8" fmla="*/ 561975 w 844550"/>
                  <a:gd name="connsiteY8" fmla="*/ 1431925 h 1574800"/>
                  <a:gd name="connsiteX9" fmla="*/ 755650 w 844550"/>
                  <a:gd name="connsiteY9" fmla="*/ 885825 h 1574800"/>
                  <a:gd name="connsiteX10" fmla="*/ 736600 w 844550"/>
                  <a:gd name="connsiteY10" fmla="*/ 428625 h 1574800"/>
                  <a:gd name="connsiteX11" fmla="*/ 844550 w 844550"/>
                  <a:gd name="connsiteY11" fmla="*/ 53975 h 1574800"/>
                  <a:gd name="connsiteX12" fmla="*/ 669925 w 844550"/>
                  <a:gd name="connsiteY12" fmla="*/ 0 h 1574800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615950 w 844550"/>
                  <a:gd name="connsiteY6" fmla="*/ 1098550 h 1603375"/>
                  <a:gd name="connsiteX7" fmla="*/ 419100 w 844550"/>
                  <a:gd name="connsiteY7" fmla="*/ 157480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615950 w 844550"/>
                  <a:gd name="connsiteY6" fmla="*/ 10985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571500 w 844550"/>
                  <a:gd name="connsiteY6" fmla="*/ 11112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581025 w 844550"/>
                  <a:gd name="connsiteY6" fmla="*/ 10985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76275 w 844550"/>
                  <a:gd name="connsiteY0" fmla="*/ 0 h 1619250"/>
                  <a:gd name="connsiteX1" fmla="*/ 0 w 844550"/>
                  <a:gd name="connsiteY1" fmla="*/ 1009650 h 1619250"/>
                  <a:gd name="connsiteX2" fmla="*/ 222250 w 844550"/>
                  <a:gd name="connsiteY2" fmla="*/ 1177925 h 1619250"/>
                  <a:gd name="connsiteX3" fmla="*/ 180975 w 844550"/>
                  <a:gd name="connsiteY3" fmla="*/ 1241425 h 1619250"/>
                  <a:gd name="connsiteX4" fmla="*/ 381000 w 844550"/>
                  <a:gd name="connsiteY4" fmla="*/ 1339850 h 1619250"/>
                  <a:gd name="connsiteX5" fmla="*/ 498475 w 844550"/>
                  <a:gd name="connsiteY5" fmla="*/ 1076325 h 1619250"/>
                  <a:gd name="connsiteX6" fmla="*/ 581025 w 844550"/>
                  <a:gd name="connsiteY6" fmla="*/ 1108075 h 1619250"/>
                  <a:gd name="connsiteX7" fmla="*/ 393700 w 844550"/>
                  <a:gd name="connsiteY7" fmla="*/ 1577975 h 1619250"/>
                  <a:gd name="connsiteX8" fmla="*/ 488950 w 844550"/>
                  <a:gd name="connsiteY8" fmla="*/ 1619250 h 1619250"/>
                  <a:gd name="connsiteX9" fmla="*/ 755650 w 844550"/>
                  <a:gd name="connsiteY9" fmla="*/ 895350 h 1619250"/>
                  <a:gd name="connsiteX10" fmla="*/ 736600 w 844550"/>
                  <a:gd name="connsiteY10" fmla="*/ 438150 h 1619250"/>
                  <a:gd name="connsiteX11" fmla="*/ 844550 w 844550"/>
                  <a:gd name="connsiteY11" fmla="*/ 63500 h 1619250"/>
                  <a:gd name="connsiteX12" fmla="*/ 676275 w 844550"/>
                  <a:gd name="connsiteY12" fmla="*/ 0 h 1619250"/>
                  <a:gd name="connsiteX0" fmla="*/ 676275 w 844550"/>
                  <a:gd name="connsiteY0" fmla="*/ 0 h 1619250"/>
                  <a:gd name="connsiteX1" fmla="*/ 0 w 844550"/>
                  <a:gd name="connsiteY1" fmla="*/ 1009650 h 1619250"/>
                  <a:gd name="connsiteX2" fmla="*/ 222250 w 844550"/>
                  <a:gd name="connsiteY2" fmla="*/ 1177925 h 1619250"/>
                  <a:gd name="connsiteX3" fmla="*/ 180975 w 844550"/>
                  <a:gd name="connsiteY3" fmla="*/ 1241425 h 1619250"/>
                  <a:gd name="connsiteX4" fmla="*/ 381000 w 844550"/>
                  <a:gd name="connsiteY4" fmla="*/ 1339850 h 1619250"/>
                  <a:gd name="connsiteX5" fmla="*/ 498475 w 844550"/>
                  <a:gd name="connsiteY5" fmla="*/ 1076325 h 1619250"/>
                  <a:gd name="connsiteX6" fmla="*/ 581025 w 844550"/>
                  <a:gd name="connsiteY6" fmla="*/ 1108075 h 1619250"/>
                  <a:gd name="connsiteX7" fmla="*/ 393700 w 844550"/>
                  <a:gd name="connsiteY7" fmla="*/ 1577975 h 1619250"/>
                  <a:gd name="connsiteX8" fmla="*/ 488950 w 844550"/>
                  <a:gd name="connsiteY8" fmla="*/ 1619250 h 1619250"/>
                  <a:gd name="connsiteX9" fmla="*/ 755650 w 844550"/>
                  <a:gd name="connsiteY9" fmla="*/ 895350 h 1619250"/>
                  <a:gd name="connsiteX10" fmla="*/ 736600 w 844550"/>
                  <a:gd name="connsiteY10" fmla="*/ 438150 h 1619250"/>
                  <a:gd name="connsiteX11" fmla="*/ 844550 w 844550"/>
                  <a:gd name="connsiteY11" fmla="*/ 63500 h 1619250"/>
                  <a:gd name="connsiteX12" fmla="*/ 676275 w 844550"/>
                  <a:gd name="connsiteY12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4550" h="1619250">
                    <a:moveTo>
                      <a:pt x="676275" y="0"/>
                    </a:moveTo>
                    <a:cubicBezTo>
                      <a:pt x="500592" y="454025"/>
                      <a:pt x="277283" y="682625"/>
                      <a:pt x="0" y="1009650"/>
                    </a:cubicBezTo>
                    <a:lnTo>
                      <a:pt x="222250" y="1177925"/>
                    </a:lnTo>
                    <a:lnTo>
                      <a:pt x="180975" y="1241425"/>
                    </a:lnTo>
                    <a:lnTo>
                      <a:pt x="381000" y="1339850"/>
                    </a:lnTo>
                    <a:lnTo>
                      <a:pt x="498475" y="1076325"/>
                    </a:lnTo>
                    <a:lnTo>
                      <a:pt x="581025" y="1108075"/>
                    </a:lnTo>
                    <a:lnTo>
                      <a:pt x="393700" y="1577975"/>
                    </a:lnTo>
                    <a:lnTo>
                      <a:pt x="488950" y="1619250"/>
                    </a:lnTo>
                    <a:lnTo>
                      <a:pt x="755650" y="895350"/>
                    </a:lnTo>
                    <a:lnTo>
                      <a:pt x="736600" y="438150"/>
                    </a:lnTo>
                    <a:cubicBezTo>
                      <a:pt x="791633" y="303742"/>
                      <a:pt x="821267" y="194733"/>
                      <a:pt x="844550" y="63500"/>
                    </a:cubicBezTo>
                    <a:cubicBezTo>
                      <a:pt x="788458" y="42333"/>
                      <a:pt x="745067" y="24342"/>
                      <a:pt x="676275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007/T106">
              <a:extLst>
                <a:ext uri="{FF2B5EF4-FFF2-40B4-BE49-F238E27FC236}">
                  <a16:creationId xmlns:a16="http://schemas.microsoft.com/office/drawing/2014/main" id="{68603EF6-7249-406B-8EB0-7A3BF0006BF1}"/>
                </a:ext>
              </a:extLst>
            </p:cNvPr>
            <p:cNvGrpSpPr/>
            <p:nvPr/>
          </p:nvGrpSpPr>
          <p:grpSpPr>
            <a:xfrm>
              <a:off x="11636891" y="7102457"/>
              <a:ext cx="274161" cy="537631"/>
              <a:chOff x="1769124" y="1725140"/>
              <a:chExt cx="539262" cy="1147268"/>
            </a:xfrm>
            <a:solidFill>
              <a:schemeClr val="bg1"/>
            </a:solidFill>
          </p:grpSpPr>
          <p:sp>
            <p:nvSpPr>
              <p:cNvPr id="73" name="T106">
                <a:extLst>
                  <a:ext uri="{FF2B5EF4-FFF2-40B4-BE49-F238E27FC236}">
                    <a16:creationId xmlns:a16="http://schemas.microsoft.com/office/drawing/2014/main" id="{709C3894-7944-4F3B-BAF3-98FE0612840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10705" y="1725140"/>
                <a:ext cx="91762" cy="537666"/>
              </a:xfrm>
              <a:custGeom>
                <a:avLst/>
                <a:gdLst>
                  <a:gd name="connsiteX0" fmla="*/ 76815 w 255024"/>
                  <a:gd name="connsiteY0" fmla="*/ 0 h 1441041"/>
                  <a:gd name="connsiteX1" fmla="*/ 218153 w 255024"/>
                  <a:gd name="connsiteY1" fmla="*/ 528484 h 1441041"/>
                  <a:gd name="connsiteX2" fmla="*/ 215081 w 255024"/>
                  <a:gd name="connsiteY2" fmla="*/ 682113 h 1441041"/>
                  <a:gd name="connsiteX3" fmla="*/ 255024 w 255024"/>
                  <a:gd name="connsiteY3" fmla="*/ 682113 h 1441041"/>
                  <a:gd name="connsiteX4" fmla="*/ 255024 w 255024"/>
                  <a:gd name="connsiteY4" fmla="*/ 771218 h 1441041"/>
                  <a:gd name="connsiteX5" fmla="*/ 218153 w 255024"/>
                  <a:gd name="connsiteY5" fmla="*/ 771218 h 1441041"/>
                  <a:gd name="connsiteX6" fmla="*/ 218153 w 255024"/>
                  <a:gd name="connsiteY6" fmla="*/ 1072331 h 1441041"/>
                  <a:gd name="connsiteX7" fmla="*/ 178210 w 255024"/>
                  <a:gd name="connsiteY7" fmla="*/ 1216742 h 1441041"/>
                  <a:gd name="connsiteX8" fmla="*/ 248879 w 255024"/>
                  <a:gd name="connsiteY8" fmla="*/ 1299702 h 1441041"/>
                  <a:gd name="connsiteX9" fmla="*/ 116758 w 255024"/>
                  <a:gd name="connsiteY9" fmla="*/ 1441041 h 1441041"/>
                  <a:gd name="connsiteX10" fmla="*/ 125976 w 255024"/>
                  <a:gd name="connsiteY10" fmla="*/ 1388807 h 1441041"/>
                  <a:gd name="connsiteX11" fmla="*/ 0 w 255024"/>
                  <a:gd name="connsiteY11" fmla="*/ 1345791 h 1441041"/>
                  <a:gd name="connsiteX12" fmla="*/ 76815 w 255024"/>
                  <a:gd name="connsiteY12" fmla="*/ 1069258 h 1441041"/>
                  <a:gd name="connsiteX13" fmla="*/ 76815 w 255024"/>
                  <a:gd name="connsiteY13" fmla="*/ 645242 h 1441041"/>
                  <a:gd name="connsiteX14" fmla="*/ 43016 w 255024"/>
                  <a:gd name="connsiteY14" fmla="*/ 648315 h 1441041"/>
                  <a:gd name="connsiteX15" fmla="*/ 58379 w 255024"/>
                  <a:gd name="connsiteY15" fmla="*/ 503903 h 1441041"/>
                  <a:gd name="connsiteX16" fmla="*/ 76815 w 255024"/>
                  <a:gd name="connsiteY16" fmla="*/ 0 h 1441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5024" h="1441041">
                    <a:moveTo>
                      <a:pt x="76815" y="0"/>
                    </a:moveTo>
                    <a:lnTo>
                      <a:pt x="218153" y="528484"/>
                    </a:lnTo>
                    <a:lnTo>
                      <a:pt x="215081" y="682113"/>
                    </a:lnTo>
                    <a:lnTo>
                      <a:pt x="255024" y="682113"/>
                    </a:lnTo>
                    <a:lnTo>
                      <a:pt x="255024" y="771218"/>
                    </a:lnTo>
                    <a:lnTo>
                      <a:pt x="218153" y="771218"/>
                    </a:lnTo>
                    <a:lnTo>
                      <a:pt x="218153" y="1072331"/>
                    </a:lnTo>
                    <a:lnTo>
                      <a:pt x="178210" y="1216742"/>
                    </a:lnTo>
                    <a:lnTo>
                      <a:pt x="248879" y="1299702"/>
                    </a:lnTo>
                    <a:lnTo>
                      <a:pt x="116758" y="1441041"/>
                    </a:lnTo>
                    <a:lnTo>
                      <a:pt x="125976" y="1388807"/>
                    </a:lnTo>
                    <a:lnTo>
                      <a:pt x="0" y="1345791"/>
                    </a:lnTo>
                    <a:lnTo>
                      <a:pt x="76815" y="1069258"/>
                    </a:lnTo>
                    <a:lnTo>
                      <a:pt x="76815" y="645242"/>
                    </a:lnTo>
                    <a:lnTo>
                      <a:pt x="43016" y="648315"/>
                    </a:lnTo>
                    <a:lnTo>
                      <a:pt x="58379" y="503903"/>
                    </a:lnTo>
                    <a:lnTo>
                      <a:pt x="76815" y="0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G007">
                <a:extLst>
                  <a:ext uri="{FF2B5EF4-FFF2-40B4-BE49-F238E27FC236}">
                    <a16:creationId xmlns:a16="http://schemas.microsoft.com/office/drawing/2014/main" id="{0C292919-C562-4CB4-90B3-AC7C80E24C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69124" y="1995944"/>
                <a:ext cx="539262" cy="876464"/>
              </a:xfrm>
              <a:custGeom>
                <a:avLst/>
                <a:gdLst>
                  <a:gd name="connsiteX0" fmla="*/ 1066800 w 1393372"/>
                  <a:gd name="connsiteY0" fmla="*/ 283028 h 1817914"/>
                  <a:gd name="connsiteX1" fmla="*/ 1186543 w 1393372"/>
                  <a:gd name="connsiteY1" fmla="*/ 283028 h 1817914"/>
                  <a:gd name="connsiteX2" fmla="*/ 1360715 w 1393372"/>
                  <a:gd name="connsiteY2" fmla="*/ 587828 h 1817914"/>
                  <a:gd name="connsiteX3" fmla="*/ 1393372 w 1393372"/>
                  <a:gd name="connsiteY3" fmla="*/ 1719943 h 1817914"/>
                  <a:gd name="connsiteX4" fmla="*/ 903515 w 1393372"/>
                  <a:gd name="connsiteY4" fmla="*/ 1741714 h 1817914"/>
                  <a:gd name="connsiteX5" fmla="*/ 794658 w 1393372"/>
                  <a:gd name="connsiteY5" fmla="*/ 1796143 h 1817914"/>
                  <a:gd name="connsiteX6" fmla="*/ 478972 w 1393372"/>
                  <a:gd name="connsiteY6" fmla="*/ 1817914 h 1817914"/>
                  <a:gd name="connsiteX7" fmla="*/ 65315 w 1393372"/>
                  <a:gd name="connsiteY7" fmla="*/ 1426028 h 1817914"/>
                  <a:gd name="connsiteX8" fmla="*/ 0 w 1393372"/>
                  <a:gd name="connsiteY8" fmla="*/ 391885 h 1817914"/>
                  <a:gd name="connsiteX9" fmla="*/ 326572 w 1393372"/>
                  <a:gd name="connsiteY9" fmla="*/ 21771 h 1817914"/>
                  <a:gd name="connsiteX10" fmla="*/ 805543 w 1393372"/>
                  <a:gd name="connsiteY10" fmla="*/ 0 h 1817914"/>
                  <a:gd name="connsiteX11" fmla="*/ 1023258 w 1393372"/>
                  <a:gd name="connsiteY11" fmla="*/ 21771 h 1817914"/>
                  <a:gd name="connsiteX12" fmla="*/ 1066800 w 1393372"/>
                  <a:gd name="connsiteY12" fmla="*/ 283028 h 1817914"/>
                  <a:gd name="connsiteX0" fmla="*/ 1047524 w 1374096"/>
                  <a:gd name="connsiteY0" fmla="*/ 283028 h 1817914"/>
                  <a:gd name="connsiteX1" fmla="*/ 1167267 w 1374096"/>
                  <a:gd name="connsiteY1" fmla="*/ 283028 h 1817914"/>
                  <a:gd name="connsiteX2" fmla="*/ 1341439 w 1374096"/>
                  <a:gd name="connsiteY2" fmla="*/ 587828 h 1817914"/>
                  <a:gd name="connsiteX3" fmla="*/ 1374096 w 1374096"/>
                  <a:gd name="connsiteY3" fmla="*/ 1719943 h 1817914"/>
                  <a:gd name="connsiteX4" fmla="*/ 884239 w 1374096"/>
                  <a:gd name="connsiteY4" fmla="*/ 1741714 h 1817914"/>
                  <a:gd name="connsiteX5" fmla="*/ 775382 w 1374096"/>
                  <a:gd name="connsiteY5" fmla="*/ 1796143 h 1817914"/>
                  <a:gd name="connsiteX6" fmla="*/ 459696 w 1374096"/>
                  <a:gd name="connsiteY6" fmla="*/ 1817914 h 1817914"/>
                  <a:gd name="connsiteX7" fmla="*/ 46039 w 1374096"/>
                  <a:gd name="connsiteY7" fmla="*/ 1426028 h 1817914"/>
                  <a:gd name="connsiteX8" fmla="*/ 0 w 1374096"/>
                  <a:gd name="connsiteY8" fmla="*/ 410381 h 1817914"/>
                  <a:gd name="connsiteX9" fmla="*/ 307296 w 1374096"/>
                  <a:gd name="connsiteY9" fmla="*/ 21771 h 1817914"/>
                  <a:gd name="connsiteX10" fmla="*/ 786267 w 1374096"/>
                  <a:gd name="connsiteY10" fmla="*/ 0 h 1817914"/>
                  <a:gd name="connsiteX11" fmla="*/ 1003982 w 1374096"/>
                  <a:gd name="connsiteY11" fmla="*/ 21771 h 1817914"/>
                  <a:gd name="connsiteX12" fmla="*/ 1047524 w 1374096"/>
                  <a:gd name="connsiteY12" fmla="*/ 283028 h 1817914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07296 w 1374096"/>
                  <a:gd name="connsiteY9" fmla="*/ 35215 h 1831358"/>
                  <a:gd name="connsiteX10" fmla="*/ 442779 w 1374096"/>
                  <a:gd name="connsiteY10" fmla="*/ 0 h 1831358"/>
                  <a:gd name="connsiteX11" fmla="*/ 786267 w 1374096"/>
                  <a:gd name="connsiteY11" fmla="*/ 13444 h 1831358"/>
                  <a:gd name="connsiteX12" fmla="*/ 1003982 w 1374096"/>
                  <a:gd name="connsiteY12" fmla="*/ 35215 h 1831358"/>
                  <a:gd name="connsiteX13" fmla="*/ 1047524 w 1374096"/>
                  <a:gd name="connsiteY13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211468 w 1374096"/>
                  <a:gd name="connsiteY9" fmla="*/ 120225 h 1831358"/>
                  <a:gd name="connsiteX10" fmla="*/ 307296 w 1374096"/>
                  <a:gd name="connsiteY10" fmla="*/ 35215 h 1831358"/>
                  <a:gd name="connsiteX11" fmla="*/ 442779 w 1374096"/>
                  <a:gd name="connsiteY11" fmla="*/ 0 h 1831358"/>
                  <a:gd name="connsiteX12" fmla="*/ 786267 w 1374096"/>
                  <a:gd name="connsiteY12" fmla="*/ 13444 h 1831358"/>
                  <a:gd name="connsiteX13" fmla="*/ 1003982 w 1374096"/>
                  <a:gd name="connsiteY13" fmla="*/ 35215 h 1831358"/>
                  <a:gd name="connsiteX14" fmla="*/ 1047524 w 1374096"/>
                  <a:gd name="connsiteY14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07296 w 1374096"/>
                  <a:gd name="connsiteY11" fmla="*/ 35215 h 1831358"/>
                  <a:gd name="connsiteX12" fmla="*/ 442779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07296 w 1374096"/>
                  <a:gd name="connsiteY11" fmla="*/ 35215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182554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57261 w 1374096"/>
                  <a:gd name="connsiteY9" fmla="*/ 277443 h 1831358"/>
                  <a:gd name="connsiteX10" fmla="*/ 182554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776629 w 1364458"/>
                  <a:gd name="connsiteY13" fmla="*/ 13444 h 1831358"/>
                  <a:gd name="connsiteX14" fmla="*/ 994344 w 1364458"/>
                  <a:gd name="connsiteY14" fmla="*/ 35215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776629 w 1364458"/>
                  <a:gd name="connsiteY13" fmla="*/ 13444 h 1831358"/>
                  <a:gd name="connsiteX14" fmla="*/ 994344 w 1364458"/>
                  <a:gd name="connsiteY14" fmla="*/ 109199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863371 w 1364458"/>
                  <a:gd name="connsiteY13" fmla="*/ 4196 h 1831358"/>
                  <a:gd name="connsiteX14" fmla="*/ 994344 w 1364458"/>
                  <a:gd name="connsiteY14" fmla="*/ 109199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36401 w 1364458"/>
                  <a:gd name="connsiteY8" fmla="*/ 1439472 h 1831358"/>
                  <a:gd name="connsiteX9" fmla="*/ 0 w 1364458"/>
                  <a:gd name="connsiteY9" fmla="*/ 479314 h 1831358"/>
                  <a:gd name="connsiteX10" fmla="*/ 47623 w 1364458"/>
                  <a:gd name="connsiteY10" fmla="*/ 277443 h 1831358"/>
                  <a:gd name="connsiteX11" fmla="*/ 172916 w 1364458"/>
                  <a:gd name="connsiteY11" fmla="*/ 120225 h 1831358"/>
                  <a:gd name="connsiteX12" fmla="*/ 336210 w 1364458"/>
                  <a:gd name="connsiteY12" fmla="*/ 16718 h 1831358"/>
                  <a:gd name="connsiteX13" fmla="*/ 500607 w 1364458"/>
                  <a:gd name="connsiteY13" fmla="*/ 0 h 1831358"/>
                  <a:gd name="connsiteX14" fmla="*/ 863371 w 1364458"/>
                  <a:gd name="connsiteY14" fmla="*/ 4196 h 1831358"/>
                  <a:gd name="connsiteX15" fmla="*/ 994344 w 1364458"/>
                  <a:gd name="connsiteY15" fmla="*/ 109199 h 1831358"/>
                  <a:gd name="connsiteX16" fmla="*/ 1037886 w 1364458"/>
                  <a:gd name="connsiteY16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36401 w 1364458"/>
                  <a:gd name="connsiteY8" fmla="*/ 1439472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84590 w 1364458"/>
                  <a:gd name="connsiteY8" fmla="*/ 1439472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75068 w 1364458"/>
                  <a:gd name="connsiteY16" fmla="*/ 15543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15181 w 1364458"/>
                  <a:gd name="connsiteY15" fmla="*/ 22693 h 1831358"/>
                  <a:gd name="connsiteX16" fmla="*/ 975068 w 1364458"/>
                  <a:gd name="connsiteY16" fmla="*/ 15543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7688"/>
                  <a:gd name="connsiteX1" fmla="*/ 1157629 w 1364458"/>
                  <a:gd name="connsiteY1" fmla="*/ 296472 h 1837688"/>
                  <a:gd name="connsiteX2" fmla="*/ 1331801 w 1364458"/>
                  <a:gd name="connsiteY2" fmla="*/ 601272 h 1837688"/>
                  <a:gd name="connsiteX3" fmla="*/ 1364458 w 1364458"/>
                  <a:gd name="connsiteY3" fmla="*/ 1733387 h 1837688"/>
                  <a:gd name="connsiteX4" fmla="*/ 874601 w 1364458"/>
                  <a:gd name="connsiteY4" fmla="*/ 1755158 h 1837688"/>
                  <a:gd name="connsiteX5" fmla="*/ 780880 w 1364458"/>
                  <a:gd name="connsiteY5" fmla="*/ 1837688 h 1837688"/>
                  <a:gd name="connsiteX6" fmla="*/ 450058 w 1364458"/>
                  <a:gd name="connsiteY6" fmla="*/ 1831358 h 1837688"/>
                  <a:gd name="connsiteX7" fmla="*/ 211467 w 1364458"/>
                  <a:gd name="connsiteY7" fmla="*/ 1618419 h 1837688"/>
                  <a:gd name="connsiteX8" fmla="*/ 84590 w 1364458"/>
                  <a:gd name="connsiteY8" fmla="*/ 1476465 h 1837688"/>
                  <a:gd name="connsiteX9" fmla="*/ 9070 w 1364458"/>
                  <a:gd name="connsiteY9" fmla="*/ 1248494 h 1837688"/>
                  <a:gd name="connsiteX10" fmla="*/ 0 w 1364458"/>
                  <a:gd name="connsiteY10" fmla="*/ 479314 h 1837688"/>
                  <a:gd name="connsiteX11" fmla="*/ 47623 w 1364458"/>
                  <a:gd name="connsiteY11" fmla="*/ 277443 h 1837688"/>
                  <a:gd name="connsiteX12" fmla="*/ 172916 w 1364458"/>
                  <a:gd name="connsiteY12" fmla="*/ 120225 h 1837688"/>
                  <a:gd name="connsiteX13" fmla="*/ 336210 w 1364458"/>
                  <a:gd name="connsiteY13" fmla="*/ 16718 h 1837688"/>
                  <a:gd name="connsiteX14" fmla="*/ 500607 w 1364458"/>
                  <a:gd name="connsiteY14" fmla="*/ 0 h 1837688"/>
                  <a:gd name="connsiteX15" fmla="*/ 815181 w 1364458"/>
                  <a:gd name="connsiteY15" fmla="*/ 22693 h 1837688"/>
                  <a:gd name="connsiteX16" fmla="*/ 975068 w 1364458"/>
                  <a:gd name="connsiteY16" fmla="*/ 155439 h 1837688"/>
                  <a:gd name="connsiteX17" fmla="*/ 1037886 w 1364458"/>
                  <a:gd name="connsiteY17" fmla="*/ 296472 h 1837688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211467 w 1364458"/>
                  <a:gd name="connsiteY7" fmla="*/ 161841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211467 w 1364458"/>
                  <a:gd name="connsiteY7" fmla="*/ 161841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04346 w 1364458"/>
                  <a:gd name="connsiteY7" fmla="*/ 1705793 h 1850093"/>
                  <a:gd name="connsiteX8" fmla="*/ 211467 w 1364458"/>
                  <a:gd name="connsiteY8" fmla="*/ 161841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211467 w 1364458"/>
                  <a:gd name="connsiteY8" fmla="*/ 161841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111572 w 1364458"/>
                  <a:gd name="connsiteY8" fmla="*/ 152474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632 w 1364458"/>
                  <a:gd name="connsiteY10" fmla="*/ 765976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3741 w 1364458"/>
                  <a:gd name="connsiteY10" fmla="*/ 997027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3741 w 1364458"/>
                  <a:gd name="connsiteY10" fmla="*/ 997027 h 1850093"/>
                  <a:gd name="connsiteX11" fmla="*/ 4660 w 1364458"/>
                  <a:gd name="connsiteY11" fmla="*/ 769098 h 1850093"/>
                  <a:gd name="connsiteX12" fmla="*/ 0 w 1364458"/>
                  <a:gd name="connsiteY12" fmla="*/ 479314 h 1850093"/>
                  <a:gd name="connsiteX13" fmla="*/ 47623 w 1364458"/>
                  <a:gd name="connsiteY13" fmla="*/ 277443 h 1850093"/>
                  <a:gd name="connsiteX14" fmla="*/ 172916 w 1364458"/>
                  <a:gd name="connsiteY14" fmla="*/ 120225 h 1850093"/>
                  <a:gd name="connsiteX15" fmla="*/ 336210 w 1364458"/>
                  <a:gd name="connsiteY15" fmla="*/ 16718 h 1850093"/>
                  <a:gd name="connsiteX16" fmla="*/ 500607 w 1364458"/>
                  <a:gd name="connsiteY16" fmla="*/ 0 h 1850093"/>
                  <a:gd name="connsiteX17" fmla="*/ 815181 w 1364458"/>
                  <a:gd name="connsiteY17" fmla="*/ 22693 h 1850093"/>
                  <a:gd name="connsiteX18" fmla="*/ 975068 w 1364458"/>
                  <a:gd name="connsiteY18" fmla="*/ 155439 h 1850093"/>
                  <a:gd name="connsiteX19" fmla="*/ 1037886 w 1364458"/>
                  <a:gd name="connsiteY19" fmla="*/ 296472 h 1850093"/>
                  <a:gd name="connsiteX0" fmla="*/ 1060537 w 1387109"/>
                  <a:gd name="connsiteY0" fmla="*/ 296472 h 1850093"/>
                  <a:gd name="connsiteX1" fmla="*/ 1180280 w 1387109"/>
                  <a:gd name="connsiteY1" fmla="*/ 296472 h 1850093"/>
                  <a:gd name="connsiteX2" fmla="*/ 1354452 w 1387109"/>
                  <a:gd name="connsiteY2" fmla="*/ 601272 h 1850093"/>
                  <a:gd name="connsiteX3" fmla="*/ 1387109 w 1387109"/>
                  <a:gd name="connsiteY3" fmla="*/ 1733387 h 1850093"/>
                  <a:gd name="connsiteX4" fmla="*/ 897252 w 1387109"/>
                  <a:gd name="connsiteY4" fmla="*/ 1755158 h 1850093"/>
                  <a:gd name="connsiteX5" fmla="*/ 803531 w 1387109"/>
                  <a:gd name="connsiteY5" fmla="*/ 1837688 h 1850093"/>
                  <a:gd name="connsiteX6" fmla="*/ 509035 w 1387109"/>
                  <a:gd name="connsiteY6" fmla="*/ 1850093 h 1850093"/>
                  <a:gd name="connsiteX7" fmla="*/ 363323 w 1387109"/>
                  <a:gd name="connsiteY7" fmla="*/ 1752629 h 1850093"/>
                  <a:gd name="connsiteX8" fmla="*/ 107241 w 1387109"/>
                  <a:gd name="connsiteY8" fmla="*/ 1485832 h 1850093"/>
                  <a:gd name="connsiteX9" fmla="*/ 31721 w 1387109"/>
                  <a:gd name="connsiteY9" fmla="*/ 1248494 h 1850093"/>
                  <a:gd name="connsiteX10" fmla="*/ 36392 w 1387109"/>
                  <a:gd name="connsiteY10" fmla="*/ 997027 h 1850093"/>
                  <a:gd name="connsiteX11" fmla="*/ 67 w 1387109"/>
                  <a:gd name="connsiteY11" fmla="*/ 762854 h 1850093"/>
                  <a:gd name="connsiteX12" fmla="*/ 22651 w 1387109"/>
                  <a:gd name="connsiteY12" fmla="*/ 479314 h 1850093"/>
                  <a:gd name="connsiteX13" fmla="*/ 70274 w 1387109"/>
                  <a:gd name="connsiteY13" fmla="*/ 277443 h 1850093"/>
                  <a:gd name="connsiteX14" fmla="*/ 195567 w 1387109"/>
                  <a:gd name="connsiteY14" fmla="*/ 120225 h 1850093"/>
                  <a:gd name="connsiteX15" fmla="*/ 358861 w 1387109"/>
                  <a:gd name="connsiteY15" fmla="*/ 16718 h 1850093"/>
                  <a:gd name="connsiteX16" fmla="*/ 523258 w 1387109"/>
                  <a:gd name="connsiteY16" fmla="*/ 0 h 1850093"/>
                  <a:gd name="connsiteX17" fmla="*/ 837832 w 1387109"/>
                  <a:gd name="connsiteY17" fmla="*/ 22693 h 1850093"/>
                  <a:gd name="connsiteX18" fmla="*/ 997719 w 1387109"/>
                  <a:gd name="connsiteY18" fmla="*/ 155439 h 1850093"/>
                  <a:gd name="connsiteX19" fmla="*/ 1060537 w 1387109"/>
                  <a:gd name="connsiteY19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95623 w 1387165"/>
                  <a:gd name="connsiteY14" fmla="*/ 120225 h 1850093"/>
                  <a:gd name="connsiteX15" fmla="*/ 358917 w 1387165"/>
                  <a:gd name="connsiteY15" fmla="*/ 16718 h 1850093"/>
                  <a:gd name="connsiteX16" fmla="*/ 523314 w 1387165"/>
                  <a:gd name="connsiteY16" fmla="*/ 0 h 1850093"/>
                  <a:gd name="connsiteX17" fmla="*/ 837888 w 1387165"/>
                  <a:gd name="connsiteY17" fmla="*/ 22693 h 1850093"/>
                  <a:gd name="connsiteX18" fmla="*/ 997775 w 1387165"/>
                  <a:gd name="connsiteY18" fmla="*/ 155439 h 1850093"/>
                  <a:gd name="connsiteX19" fmla="*/ 1060593 w 1387165"/>
                  <a:gd name="connsiteY19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3047 w 1387165"/>
                  <a:gd name="connsiteY14" fmla="*/ 238305 h 1850093"/>
                  <a:gd name="connsiteX15" fmla="*/ 195623 w 1387165"/>
                  <a:gd name="connsiteY15" fmla="*/ 120225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195623 w 1387165"/>
                  <a:gd name="connsiteY15" fmla="*/ 120225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455785 w 1387165"/>
                  <a:gd name="connsiteY16" fmla="*/ 7352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96783 w 1387165"/>
                  <a:gd name="connsiteY16" fmla="*/ 116535 h 1850093"/>
                  <a:gd name="connsiteX17" fmla="*/ 455785 w 1387165"/>
                  <a:gd name="connsiteY17" fmla="*/ 7352 h 1850093"/>
                  <a:gd name="connsiteX18" fmla="*/ 523314 w 1387165"/>
                  <a:gd name="connsiteY18" fmla="*/ 0 h 1850093"/>
                  <a:gd name="connsiteX19" fmla="*/ 837888 w 1387165"/>
                  <a:gd name="connsiteY19" fmla="*/ 22693 h 1850093"/>
                  <a:gd name="connsiteX20" fmla="*/ 997775 w 1387165"/>
                  <a:gd name="connsiteY20" fmla="*/ 155439 h 1850093"/>
                  <a:gd name="connsiteX21" fmla="*/ 1060593 w 1387165"/>
                  <a:gd name="connsiteY21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455785 w 1387165"/>
                  <a:gd name="connsiteY17" fmla="*/ 7352 h 1850093"/>
                  <a:gd name="connsiteX18" fmla="*/ 523314 w 1387165"/>
                  <a:gd name="connsiteY18" fmla="*/ 0 h 1850093"/>
                  <a:gd name="connsiteX19" fmla="*/ 837888 w 1387165"/>
                  <a:gd name="connsiteY19" fmla="*/ 22693 h 1850093"/>
                  <a:gd name="connsiteX20" fmla="*/ 997775 w 1387165"/>
                  <a:gd name="connsiteY20" fmla="*/ 155439 h 1850093"/>
                  <a:gd name="connsiteX21" fmla="*/ 1060593 w 1387165"/>
                  <a:gd name="connsiteY21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372460 w 1387165"/>
                  <a:gd name="connsiteY17" fmla="*/ 91556 h 1850093"/>
                  <a:gd name="connsiteX18" fmla="*/ 455785 w 1387165"/>
                  <a:gd name="connsiteY18" fmla="*/ 7352 h 1850093"/>
                  <a:gd name="connsiteX19" fmla="*/ 523314 w 1387165"/>
                  <a:gd name="connsiteY19" fmla="*/ 0 h 1850093"/>
                  <a:gd name="connsiteX20" fmla="*/ 837888 w 1387165"/>
                  <a:gd name="connsiteY20" fmla="*/ 22693 h 1850093"/>
                  <a:gd name="connsiteX21" fmla="*/ 997775 w 1387165"/>
                  <a:gd name="connsiteY21" fmla="*/ 155439 h 1850093"/>
                  <a:gd name="connsiteX22" fmla="*/ 1060593 w 1387165"/>
                  <a:gd name="connsiteY22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375488 w 1387165"/>
                  <a:gd name="connsiteY17" fmla="*/ 44721 h 1850093"/>
                  <a:gd name="connsiteX18" fmla="*/ 455785 w 1387165"/>
                  <a:gd name="connsiteY18" fmla="*/ 7352 h 1850093"/>
                  <a:gd name="connsiteX19" fmla="*/ 523314 w 1387165"/>
                  <a:gd name="connsiteY19" fmla="*/ 0 h 1850093"/>
                  <a:gd name="connsiteX20" fmla="*/ 837888 w 1387165"/>
                  <a:gd name="connsiteY20" fmla="*/ 22693 h 1850093"/>
                  <a:gd name="connsiteX21" fmla="*/ 997775 w 1387165"/>
                  <a:gd name="connsiteY21" fmla="*/ 155439 h 1850093"/>
                  <a:gd name="connsiteX22" fmla="*/ 1060593 w 1387165"/>
                  <a:gd name="connsiteY22" fmla="*/ 296472 h 1850093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75488 w 1387165"/>
                  <a:gd name="connsiteY17" fmla="*/ 60332 h 1865704"/>
                  <a:gd name="connsiteX18" fmla="*/ 455785 w 1387165"/>
                  <a:gd name="connsiteY18" fmla="*/ 2296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75488 w 1387165"/>
                  <a:gd name="connsiteY17" fmla="*/ 60332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942716 w 1387165"/>
                  <a:gd name="connsiteY4" fmla="*/ 1777013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54508 w 1402301"/>
                  <a:gd name="connsiteY2" fmla="*/ 61688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84779 w 1402301"/>
                  <a:gd name="connsiteY2" fmla="*/ 69806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84779 w 1402301"/>
                  <a:gd name="connsiteY2" fmla="*/ 69806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32060 w 1402301"/>
                  <a:gd name="connsiteY2" fmla="*/ 575514 h 1865704"/>
                  <a:gd name="connsiteX3" fmla="*/ 1384779 w 1402301"/>
                  <a:gd name="connsiteY3" fmla="*/ 698063 h 1865704"/>
                  <a:gd name="connsiteX4" fmla="*/ 1402301 w 1402301"/>
                  <a:gd name="connsiteY4" fmla="*/ 1767732 h 1865704"/>
                  <a:gd name="connsiteX5" fmla="*/ 942716 w 1402301"/>
                  <a:gd name="connsiteY5" fmla="*/ 1777013 h 1865704"/>
                  <a:gd name="connsiteX6" fmla="*/ 803587 w 1402301"/>
                  <a:gd name="connsiteY6" fmla="*/ 1853299 h 1865704"/>
                  <a:gd name="connsiteX7" fmla="*/ 509091 w 1402301"/>
                  <a:gd name="connsiteY7" fmla="*/ 1865704 h 1865704"/>
                  <a:gd name="connsiteX8" fmla="*/ 363379 w 1402301"/>
                  <a:gd name="connsiteY8" fmla="*/ 1768240 h 1865704"/>
                  <a:gd name="connsiteX9" fmla="*/ 107297 w 1402301"/>
                  <a:gd name="connsiteY9" fmla="*/ 1501443 h 1865704"/>
                  <a:gd name="connsiteX10" fmla="*/ 31777 w 1402301"/>
                  <a:gd name="connsiteY10" fmla="*/ 1264105 h 1865704"/>
                  <a:gd name="connsiteX11" fmla="*/ 36448 w 1402301"/>
                  <a:gd name="connsiteY11" fmla="*/ 1012638 h 1865704"/>
                  <a:gd name="connsiteX12" fmla="*/ 123 w 1402301"/>
                  <a:gd name="connsiteY12" fmla="*/ 778465 h 1865704"/>
                  <a:gd name="connsiteX13" fmla="*/ 10599 w 1402301"/>
                  <a:gd name="connsiteY13" fmla="*/ 485557 h 1865704"/>
                  <a:gd name="connsiteX14" fmla="*/ 70330 w 1402301"/>
                  <a:gd name="connsiteY14" fmla="*/ 293054 h 1865704"/>
                  <a:gd name="connsiteX15" fmla="*/ 100019 w 1402301"/>
                  <a:gd name="connsiteY15" fmla="*/ 160246 h 1865704"/>
                  <a:gd name="connsiteX16" fmla="*/ 216812 w 1402301"/>
                  <a:gd name="connsiteY16" fmla="*/ 195160 h 1865704"/>
                  <a:gd name="connsiteX17" fmla="*/ 208996 w 1402301"/>
                  <a:gd name="connsiteY17" fmla="*/ 263284 h 1865704"/>
                  <a:gd name="connsiteX18" fmla="*/ 381542 w 1402301"/>
                  <a:gd name="connsiteY18" fmla="*/ 72821 h 1865704"/>
                  <a:gd name="connsiteX19" fmla="*/ 492111 w 1402301"/>
                  <a:gd name="connsiteY19" fmla="*/ 10473 h 1865704"/>
                  <a:gd name="connsiteX20" fmla="*/ 686779 w 1402301"/>
                  <a:gd name="connsiteY20" fmla="*/ 0 h 1865704"/>
                  <a:gd name="connsiteX21" fmla="*/ 837888 w 1402301"/>
                  <a:gd name="connsiteY21" fmla="*/ 38304 h 1865704"/>
                  <a:gd name="connsiteX22" fmla="*/ 997775 w 1402301"/>
                  <a:gd name="connsiteY22" fmla="*/ 171050 h 1865704"/>
                  <a:gd name="connsiteX23" fmla="*/ 1060593 w 1402301"/>
                  <a:gd name="connsiteY23" fmla="*/ 312083 h 1865704"/>
                  <a:gd name="connsiteX0" fmla="*/ 1060593 w 1414616"/>
                  <a:gd name="connsiteY0" fmla="*/ 312083 h 1865704"/>
                  <a:gd name="connsiteX1" fmla="*/ 1180336 w 1414616"/>
                  <a:gd name="connsiteY1" fmla="*/ 312083 h 1865704"/>
                  <a:gd name="connsiteX2" fmla="*/ 1404711 w 1414616"/>
                  <a:gd name="connsiteY2" fmla="*/ 634838 h 1865704"/>
                  <a:gd name="connsiteX3" fmla="*/ 1384779 w 1414616"/>
                  <a:gd name="connsiteY3" fmla="*/ 698063 h 1865704"/>
                  <a:gd name="connsiteX4" fmla="*/ 1402301 w 1414616"/>
                  <a:gd name="connsiteY4" fmla="*/ 1767732 h 1865704"/>
                  <a:gd name="connsiteX5" fmla="*/ 942716 w 1414616"/>
                  <a:gd name="connsiteY5" fmla="*/ 1777013 h 1865704"/>
                  <a:gd name="connsiteX6" fmla="*/ 803587 w 1414616"/>
                  <a:gd name="connsiteY6" fmla="*/ 1853299 h 1865704"/>
                  <a:gd name="connsiteX7" fmla="*/ 509091 w 1414616"/>
                  <a:gd name="connsiteY7" fmla="*/ 1865704 h 1865704"/>
                  <a:gd name="connsiteX8" fmla="*/ 363379 w 1414616"/>
                  <a:gd name="connsiteY8" fmla="*/ 1768240 h 1865704"/>
                  <a:gd name="connsiteX9" fmla="*/ 107297 w 1414616"/>
                  <a:gd name="connsiteY9" fmla="*/ 1501443 h 1865704"/>
                  <a:gd name="connsiteX10" fmla="*/ 31777 w 1414616"/>
                  <a:gd name="connsiteY10" fmla="*/ 1264105 h 1865704"/>
                  <a:gd name="connsiteX11" fmla="*/ 36448 w 1414616"/>
                  <a:gd name="connsiteY11" fmla="*/ 1012638 h 1865704"/>
                  <a:gd name="connsiteX12" fmla="*/ 123 w 1414616"/>
                  <a:gd name="connsiteY12" fmla="*/ 778465 h 1865704"/>
                  <a:gd name="connsiteX13" fmla="*/ 10599 w 1414616"/>
                  <a:gd name="connsiteY13" fmla="*/ 485557 h 1865704"/>
                  <a:gd name="connsiteX14" fmla="*/ 70330 w 1414616"/>
                  <a:gd name="connsiteY14" fmla="*/ 293054 h 1865704"/>
                  <a:gd name="connsiteX15" fmla="*/ 100019 w 1414616"/>
                  <a:gd name="connsiteY15" fmla="*/ 160246 h 1865704"/>
                  <a:gd name="connsiteX16" fmla="*/ 216812 w 1414616"/>
                  <a:gd name="connsiteY16" fmla="*/ 195160 h 1865704"/>
                  <a:gd name="connsiteX17" fmla="*/ 208996 w 1414616"/>
                  <a:gd name="connsiteY17" fmla="*/ 263284 h 1865704"/>
                  <a:gd name="connsiteX18" fmla="*/ 381542 w 1414616"/>
                  <a:gd name="connsiteY18" fmla="*/ 72821 h 1865704"/>
                  <a:gd name="connsiteX19" fmla="*/ 492111 w 1414616"/>
                  <a:gd name="connsiteY19" fmla="*/ 10473 h 1865704"/>
                  <a:gd name="connsiteX20" fmla="*/ 686779 w 1414616"/>
                  <a:gd name="connsiteY20" fmla="*/ 0 h 1865704"/>
                  <a:gd name="connsiteX21" fmla="*/ 837888 w 1414616"/>
                  <a:gd name="connsiteY21" fmla="*/ 38304 h 1865704"/>
                  <a:gd name="connsiteX22" fmla="*/ 997775 w 1414616"/>
                  <a:gd name="connsiteY22" fmla="*/ 171050 h 1865704"/>
                  <a:gd name="connsiteX23" fmla="*/ 1060593 w 1414616"/>
                  <a:gd name="connsiteY23" fmla="*/ 312083 h 1865704"/>
                  <a:gd name="connsiteX0" fmla="*/ 1060593 w 1406354"/>
                  <a:gd name="connsiteY0" fmla="*/ 312083 h 1865704"/>
                  <a:gd name="connsiteX1" fmla="*/ 1180336 w 1406354"/>
                  <a:gd name="connsiteY1" fmla="*/ 312083 h 1865704"/>
                  <a:gd name="connsiteX2" fmla="*/ 1322979 w 1406354"/>
                  <a:gd name="connsiteY2" fmla="*/ 513067 h 1865704"/>
                  <a:gd name="connsiteX3" fmla="*/ 1404711 w 1406354"/>
                  <a:gd name="connsiteY3" fmla="*/ 634838 h 1865704"/>
                  <a:gd name="connsiteX4" fmla="*/ 1384779 w 1406354"/>
                  <a:gd name="connsiteY4" fmla="*/ 698063 h 1865704"/>
                  <a:gd name="connsiteX5" fmla="*/ 1402301 w 1406354"/>
                  <a:gd name="connsiteY5" fmla="*/ 1767732 h 1865704"/>
                  <a:gd name="connsiteX6" fmla="*/ 942716 w 1406354"/>
                  <a:gd name="connsiteY6" fmla="*/ 1777013 h 1865704"/>
                  <a:gd name="connsiteX7" fmla="*/ 803587 w 1406354"/>
                  <a:gd name="connsiteY7" fmla="*/ 1853299 h 1865704"/>
                  <a:gd name="connsiteX8" fmla="*/ 509091 w 1406354"/>
                  <a:gd name="connsiteY8" fmla="*/ 1865704 h 1865704"/>
                  <a:gd name="connsiteX9" fmla="*/ 363379 w 1406354"/>
                  <a:gd name="connsiteY9" fmla="*/ 1768240 h 1865704"/>
                  <a:gd name="connsiteX10" fmla="*/ 107297 w 1406354"/>
                  <a:gd name="connsiteY10" fmla="*/ 1501443 h 1865704"/>
                  <a:gd name="connsiteX11" fmla="*/ 31777 w 1406354"/>
                  <a:gd name="connsiteY11" fmla="*/ 1264105 h 1865704"/>
                  <a:gd name="connsiteX12" fmla="*/ 36448 w 1406354"/>
                  <a:gd name="connsiteY12" fmla="*/ 1012638 h 1865704"/>
                  <a:gd name="connsiteX13" fmla="*/ 123 w 1406354"/>
                  <a:gd name="connsiteY13" fmla="*/ 778465 h 1865704"/>
                  <a:gd name="connsiteX14" fmla="*/ 10599 w 1406354"/>
                  <a:gd name="connsiteY14" fmla="*/ 485557 h 1865704"/>
                  <a:gd name="connsiteX15" fmla="*/ 70330 w 1406354"/>
                  <a:gd name="connsiteY15" fmla="*/ 293054 h 1865704"/>
                  <a:gd name="connsiteX16" fmla="*/ 100019 w 1406354"/>
                  <a:gd name="connsiteY16" fmla="*/ 160246 h 1865704"/>
                  <a:gd name="connsiteX17" fmla="*/ 216812 w 1406354"/>
                  <a:gd name="connsiteY17" fmla="*/ 195160 h 1865704"/>
                  <a:gd name="connsiteX18" fmla="*/ 208996 w 1406354"/>
                  <a:gd name="connsiteY18" fmla="*/ 263284 h 1865704"/>
                  <a:gd name="connsiteX19" fmla="*/ 381542 w 1406354"/>
                  <a:gd name="connsiteY19" fmla="*/ 72821 h 1865704"/>
                  <a:gd name="connsiteX20" fmla="*/ 492111 w 1406354"/>
                  <a:gd name="connsiteY20" fmla="*/ 10473 h 1865704"/>
                  <a:gd name="connsiteX21" fmla="*/ 686779 w 1406354"/>
                  <a:gd name="connsiteY21" fmla="*/ 0 h 1865704"/>
                  <a:gd name="connsiteX22" fmla="*/ 837888 w 1406354"/>
                  <a:gd name="connsiteY22" fmla="*/ 38304 h 1865704"/>
                  <a:gd name="connsiteX23" fmla="*/ 997775 w 1406354"/>
                  <a:gd name="connsiteY23" fmla="*/ 171050 h 1865704"/>
                  <a:gd name="connsiteX24" fmla="*/ 1060593 w 1406354"/>
                  <a:gd name="connsiteY24" fmla="*/ 312083 h 1865704"/>
                  <a:gd name="connsiteX0" fmla="*/ 1060593 w 1450691"/>
                  <a:gd name="connsiteY0" fmla="*/ 312083 h 1865704"/>
                  <a:gd name="connsiteX1" fmla="*/ 1180336 w 1450691"/>
                  <a:gd name="connsiteY1" fmla="*/ 312083 h 1865704"/>
                  <a:gd name="connsiteX2" fmla="*/ 1441037 w 1450691"/>
                  <a:gd name="connsiteY2" fmla="*/ 609859 h 1865704"/>
                  <a:gd name="connsiteX3" fmla="*/ 1404711 w 1450691"/>
                  <a:gd name="connsiteY3" fmla="*/ 634838 h 1865704"/>
                  <a:gd name="connsiteX4" fmla="*/ 1384779 w 1450691"/>
                  <a:gd name="connsiteY4" fmla="*/ 698063 h 1865704"/>
                  <a:gd name="connsiteX5" fmla="*/ 1402301 w 1450691"/>
                  <a:gd name="connsiteY5" fmla="*/ 1767732 h 1865704"/>
                  <a:gd name="connsiteX6" fmla="*/ 942716 w 1450691"/>
                  <a:gd name="connsiteY6" fmla="*/ 1777013 h 1865704"/>
                  <a:gd name="connsiteX7" fmla="*/ 803587 w 1450691"/>
                  <a:gd name="connsiteY7" fmla="*/ 1853299 h 1865704"/>
                  <a:gd name="connsiteX8" fmla="*/ 509091 w 1450691"/>
                  <a:gd name="connsiteY8" fmla="*/ 1865704 h 1865704"/>
                  <a:gd name="connsiteX9" fmla="*/ 363379 w 1450691"/>
                  <a:gd name="connsiteY9" fmla="*/ 1768240 h 1865704"/>
                  <a:gd name="connsiteX10" fmla="*/ 107297 w 1450691"/>
                  <a:gd name="connsiteY10" fmla="*/ 1501443 h 1865704"/>
                  <a:gd name="connsiteX11" fmla="*/ 31777 w 1450691"/>
                  <a:gd name="connsiteY11" fmla="*/ 1264105 h 1865704"/>
                  <a:gd name="connsiteX12" fmla="*/ 36448 w 1450691"/>
                  <a:gd name="connsiteY12" fmla="*/ 1012638 h 1865704"/>
                  <a:gd name="connsiteX13" fmla="*/ 123 w 1450691"/>
                  <a:gd name="connsiteY13" fmla="*/ 778465 h 1865704"/>
                  <a:gd name="connsiteX14" fmla="*/ 10599 w 1450691"/>
                  <a:gd name="connsiteY14" fmla="*/ 485557 h 1865704"/>
                  <a:gd name="connsiteX15" fmla="*/ 70330 w 1450691"/>
                  <a:gd name="connsiteY15" fmla="*/ 293054 h 1865704"/>
                  <a:gd name="connsiteX16" fmla="*/ 100019 w 1450691"/>
                  <a:gd name="connsiteY16" fmla="*/ 160246 h 1865704"/>
                  <a:gd name="connsiteX17" fmla="*/ 216812 w 1450691"/>
                  <a:gd name="connsiteY17" fmla="*/ 195160 h 1865704"/>
                  <a:gd name="connsiteX18" fmla="*/ 208996 w 1450691"/>
                  <a:gd name="connsiteY18" fmla="*/ 263284 h 1865704"/>
                  <a:gd name="connsiteX19" fmla="*/ 381542 w 1450691"/>
                  <a:gd name="connsiteY19" fmla="*/ 72821 h 1865704"/>
                  <a:gd name="connsiteX20" fmla="*/ 492111 w 1450691"/>
                  <a:gd name="connsiteY20" fmla="*/ 10473 h 1865704"/>
                  <a:gd name="connsiteX21" fmla="*/ 686779 w 1450691"/>
                  <a:gd name="connsiteY21" fmla="*/ 0 h 1865704"/>
                  <a:gd name="connsiteX22" fmla="*/ 837888 w 1450691"/>
                  <a:gd name="connsiteY22" fmla="*/ 38304 h 1865704"/>
                  <a:gd name="connsiteX23" fmla="*/ 997775 w 1450691"/>
                  <a:gd name="connsiteY23" fmla="*/ 171050 h 1865704"/>
                  <a:gd name="connsiteX24" fmla="*/ 1060593 w 1450691"/>
                  <a:gd name="connsiteY24" fmla="*/ 312083 h 1865704"/>
                  <a:gd name="connsiteX0" fmla="*/ 1060593 w 1450691"/>
                  <a:gd name="connsiteY0" fmla="*/ 312083 h 1865704"/>
                  <a:gd name="connsiteX1" fmla="*/ 1180336 w 1450691"/>
                  <a:gd name="connsiteY1" fmla="*/ 312083 h 1865704"/>
                  <a:gd name="connsiteX2" fmla="*/ 1441037 w 1450691"/>
                  <a:gd name="connsiteY2" fmla="*/ 609859 h 1865704"/>
                  <a:gd name="connsiteX3" fmla="*/ 1404711 w 1450691"/>
                  <a:gd name="connsiteY3" fmla="*/ 634838 h 1865704"/>
                  <a:gd name="connsiteX4" fmla="*/ 1384779 w 1450691"/>
                  <a:gd name="connsiteY4" fmla="*/ 698063 h 1865704"/>
                  <a:gd name="connsiteX5" fmla="*/ 1402301 w 1450691"/>
                  <a:gd name="connsiteY5" fmla="*/ 1767732 h 1865704"/>
                  <a:gd name="connsiteX6" fmla="*/ 942716 w 1450691"/>
                  <a:gd name="connsiteY6" fmla="*/ 1777013 h 1865704"/>
                  <a:gd name="connsiteX7" fmla="*/ 803587 w 1450691"/>
                  <a:gd name="connsiteY7" fmla="*/ 1853299 h 1865704"/>
                  <a:gd name="connsiteX8" fmla="*/ 509091 w 1450691"/>
                  <a:gd name="connsiteY8" fmla="*/ 1865704 h 1865704"/>
                  <a:gd name="connsiteX9" fmla="*/ 363379 w 1450691"/>
                  <a:gd name="connsiteY9" fmla="*/ 1768240 h 1865704"/>
                  <a:gd name="connsiteX10" fmla="*/ 107297 w 1450691"/>
                  <a:gd name="connsiteY10" fmla="*/ 1501443 h 1865704"/>
                  <a:gd name="connsiteX11" fmla="*/ 31777 w 1450691"/>
                  <a:gd name="connsiteY11" fmla="*/ 1264105 h 1865704"/>
                  <a:gd name="connsiteX12" fmla="*/ 36448 w 1450691"/>
                  <a:gd name="connsiteY12" fmla="*/ 1012638 h 1865704"/>
                  <a:gd name="connsiteX13" fmla="*/ 123 w 1450691"/>
                  <a:gd name="connsiteY13" fmla="*/ 778465 h 1865704"/>
                  <a:gd name="connsiteX14" fmla="*/ 10599 w 1450691"/>
                  <a:gd name="connsiteY14" fmla="*/ 485557 h 1865704"/>
                  <a:gd name="connsiteX15" fmla="*/ 70330 w 1450691"/>
                  <a:gd name="connsiteY15" fmla="*/ 293054 h 1865704"/>
                  <a:gd name="connsiteX16" fmla="*/ 100019 w 1450691"/>
                  <a:gd name="connsiteY16" fmla="*/ 160246 h 1865704"/>
                  <a:gd name="connsiteX17" fmla="*/ 216812 w 1450691"/>
                  <a:gd name="connsiteY17" fmla="*/ 195160 h 1865704"/>
                  <a:gd name="connsiteX18" fmla="*/ 208996 w 1450691"/>
                  <a:gd name="connsiteY18" fmla="*/ 263284 h 1865704"/>
                  <a:gd name="connsiteX19" fmla="*/ 381542 w 1450691"/>
                  <a:gd name="connsiteY19" fmla="*/ 72821 h 1865704"/>
                  <a:gd name="connsiteX20" fmla="*/ 492111 w 1450691"/>
                  <a:gd name="connsiteY20" fmla="*/ 10473 h 1865704"/>
                  <a:gd name="connsiteX21" fmla="*/ 686779 w 1450691"/>
                  <a:gd name="connsiteY21" fmla="*/ 0 h 1865704"/>
                  <a:gd name="connsiteX22" fmla="*/ 1131519 w 1450691"/>
                  <a:gd name="connsiteY22" fmla="*/ 7081 h 1865704"/>
                  <a:gd name="connsiteX23" fmla="*/ 997775 w 1450691"/>
                  <a:gd name="connsiteY23" fmla="*/ 171050 h 1865704"/>
                  <a:gd name="connsiteX24" fmla="*/ 1060593 w 1450691"/>
                  <a:gd name="connsiteY24" fmla="*/ 312083 h 1865704"/>
                  <a:gd name="connsiteX0" fmla="*/ 1060593 w 1450691"/>
                  <a:gd name="connsiteY0" fmla="*/ 837309 h 2390930"/>
                  <a:gd name="connsiteX1" fmla="*/ 1180336 w 1450691"/>
                  <a:gd name="connsiteY1" fmla="*/ 837309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060593 w 1450691"/>
                  <a:gd name="connsiteY24" fmla="*/ 837309 h 2390930"/>
                  <a:gd name="connsiteX0" fmla="*/ 1432930 w 1450691"/>
                  <a:gd name="connsiteY0" fmla="*/ 62975 h 2390930"/>
                  <a:gd name="connsiteX1" fmla="*/ 1180336 w 1450691"/>
                  <a:gd name="connsiteY1" fmla="*/ 837309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432930 w 1450691"/>
                  <a:gd name="connsiteY24" fmla="*/ 62975 h 2390930"/>
                  <a:gd name="connsiteX0" fmla="*/ 1432930 w 1450691"/>
                  <a:gd name="connsiteY0" fmla="*/ 62975 h 2390930"/>
                  <a:gd name="connsiteX1" fmla="*/ 1358937 w 1450691"/>
                  <a:gd name="connsiteY1" fmla="*/ 478243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432930 w 1450691"/>
                  <a:gd name="connsiteY24" fmla="*/ 62975 h 2390930"/>
                  <a:gd name="connsiteX0" fmla="*/ 1432930 w 1441078"/>
                  <a:gd name="connsiteY0" fmla="*/ 62975 h 2390930"/>
                  <a:gd name="connsiteX1" fmla="*/ 1358937 w 1441078"/>
                  <a:gd name="connsiteY1" fmla="*/ 478243 h 2390930"/>
                  <a:gd name="connsiteX2" fmla="*/ 1410764 w 1441078"/>
                  <a:gd name="connsiteY2" fmla="*/ 969603 h 2390930"/>
                  <a:gd name="connsiteX3" fmla="*/ 1441037 w 1441078"/>
                  <a:gd name="connsiteY3" fmla="*/ 1135085 h 2390930"/>
                  <a:gd name="connsiteX4" fmla="*/ 1404711 w 1441078"/>
                  <a:gd name="connsiteY4" fmla="*/ 1160064 h 2390930"/>
                  <a:gd name="connsiteX5" fmla="*/ 1384779 w 1441078"/>
                  <a:gd name="connsiteY5" fmla="*/ 1223289 h 2390930"/>
                  <a:gd name="connsiteX6" fmla="*/ 1402301 w 1441078"/>
                  <a:gd name="connsiteY6" fmla="*/ 2292958 h 2390930"/>
                  <a:gd name="connsiteX7" fmla="*/ 942716 w 1441078"/>
                  <a:gd name="connsiteY7" fmla="*/ 2302239 h 2390930"/>
                  <a:gd name="connsiteX8" fmla="*/ 803587 w 1441078"/>
                  <a:gd name="connsiteY8" fmla="*/ 2378525 h 2390930"/>
                  <a:gd name="connsiteX9" fmla="*/ 509091 w 1441078"/>
                  <a:gd name="connsiteY9" fmla="*/ 2390930 h 2390930"/>
                  <a:gd name="connsiteX10" fmla="*/ 363379 w 1441078"/>
                  <a:gd name="connsiteY10" fmla="*/ 2293466 h 2390930"/>
                  <a:gd name="connsiteX11" fmla="*/ 107297 w 1441078"/>
                  <a:gd name="connsiteY11" fmla="*/ 2026669 h 2390930"/>
                  <a:gd name="connsiteX12" fmla="*/ 31777 w 1441078"/>
                  <a:gd name="connsiteY12" fmla="*/ 1789331 h 2390930"/>
                  <a:gd name="connsiteX13" fmla="*/ 36448 w 1441078"/>
                  <a:gd name="connsiteY13" fmla="*/ 1537864 h 2390930"/>
                  <a:gd name="connsiteX14" fmla="*/ 123 w 1441078"/>
                  <a:gd name="connsiteY14" fmla="*/ 1303691 h 2390930"/>
                  <a:gd name="connsiteX15" fmla="*/ 10599 w 1441078"/>
                  <a:gd name="connsiteY15" fmla="*/ 1010783 h 2390930"/>
                  <a:gd name="connsiteX16" fmla="*/ 70330 w 1441078"/>
                  <a:gd name="connsiteY16" fmla="*/ 818280 h 2390930"/>
                  <a:gd name="connsiteX17" fmla="*/ 100019 w 1441078"/>
                  <a:gd name="connsiteY17" fmla="*/ 685472 h 2390930"/>
                  <a:gd name="connsiteX18" fmla="*/ 216812 w 1441078"/>
                  <a:gd name="connsiteY18" fmla="*/ 720386 h 2390930"/>
                  <a:gd name="connsiteX19" fmla="*/ 208996 w 1441078"/>
                  <a:gd name="connsiteY19" fmla="*/ 788510 h 2390930"/>
                  <a:gd name="connsiteX20" fmla="*/ 381542 w 1441078"/>
                  <a:gd name="connsiteY20" fmla="*/ 598047 h 2390930"/>
                  <a:gd name="connsiteX21" fmla="*/ 492111 w 1441078"/>
                  <a:gd name="connsiteY21" fmla="*/ 535699 h 2390930"/>
                  <a:gd name="connsiteX22" fmla="*/ 686779 w 1441078"/>
                  <a:gd name="connsiteY22" fmla="*/ 525226 h 2390930"/>
                  <a:gd name="connsiteX23" fmla="*/ 1131519 w 1441078"/>
                  <a:gd name="connsiteY23" fmla="*/ 532307 h 2390930"/>
                  <a:gd name="connsiteX24" fmla="*/ 1212701 w 1441078"/>
                  <a:gd name="connsiteY24" fmla="*/ 0 h 2390930"/>
                  <a:gd name="connsiteX25" fmla="*/ 1432930 w 1441078"/>
                  <a:gd name="connsiteY25" fmla="*/ 62975 h 2390930"/>
                  <a:gd name="connsiteX0" fmla="*/ 1432930 w 1441052"/>
                  <a:gd name="connsiteY0" fmla="*/ 62975 h 2390930"/>
                  <a:gd name="connsiteX1" fmla="*/ 1358937 w 1441052"/>
                  <a:gd name="connsiteY1" fmla="*/ 478243 h 2390930"/>
                  <a:gd name="connsiteX2" fmla="*/ 1380493 w 1441052"/>
                  <a:gd name="connsiteY2" fmla="*/ 916524 h 2390930"/>
                  <a:gd name="connsiteX3" fmla="*/ 1441037 w 1441052"/>
                  <a:gd name="connsiteY3" fmla="*/ 1135085 h 2390930"/>
                  <a:gd name="connsiteX4" fmla="*/ 1404711 w 1441052"/>
                  <a:gd name="connsiteY4" fmla="*/ 1160064 h 2390930"/>
                  <a:gd name="connsiteX5" fmla="*/ 1384779 w 1441052"/>
                  <a:gd name="connsiteY5" fmla="*/ 1223289 h 2390930"/>
                  <a:gd name="connsiteX6" fmla="*/ 1402301 w 1441052"/>
                  <a:gd name="connsiteY6" fmla="*/ 2292958 h 2390930"/>
                  <a:gd name="connsiteX7" fmla="*/ 942716 w 1441052"/>
                  <a:gd name="connsiteY7" fmla="*/ 2302239 h 2390930"/>
                  <a:gd name="connsiteX8" fmla="*/ 803587 w 1441052"/>
                  <a:gd name="connsiteY8" fmla="*/ 2378525 h 2390930"/>
                  <a:gd name="connsiteX9" fmla="*/ 509091 w 1441052"/>
                  <a:gd name="connsiteY9" fmla="*/ 2390930 h 2390930"/>
                  <a:gd name="connsiteX10" fmla="*/ 363379 w 1441052"/>
                  <a:gd name="connsiteY10" fmla="*/ 2293466 h 2390930"/>
                  <a:gd name="connsiteX11" fmla="*/ 107297 w 1441052"/>
                  <a:gd name="connsiteY11" fmla="*/ 2026669 h 2390930"/>
                  <a:gd name="connsiteX12" fmla="*/ 31777 w 1441052"/>
                  <a:gd name="connsiteY12" fmla="*/ 1789331 h 2390930"/>
                  <a:gd name="connsiteX13" fmla="*/ 36448 w 1441052"/>
                  <a:gd name="connsiteY13" fmla="*/ 1537864 h 2390930"/>
                  <a:gd name="connsiteX14" fmla="*/ 123 w 1441052"/>
                  <a:gd name="connsiteY14" fmla="*/ 1303691 h 2390930"/>
                  <a:gd name="connsiteX15" fmla="*/ 10599 w 1441052"/>
                  <a:gd name="connsiteY15" fmla="*/ 1010783 h 2390930"/>
                  <a:gd name="connsiteX16" fmla="*/ 70330 w 1441052"/>
                  <a:gd name="connsiteY16" fmla="*/ 818280 h 2390930"/>
                  <a:gd name="connsiteX17" fmla="*/ 100019 w 1441052"/>
                  <a:gd name="connsiteY17" fmla="*/ 685472 h 2390930"/>
                  <a:gd name="connsiteX18" fmla="*/ 216812 w 1441052"/>
                  <a:gd name="connsiteY18" fmla="*/ 720386 h 2390930"/>
                  <a:gd name="connsiteX19" fmla="*/ 208996 w 1441052"/>
                  <a:gd name="connsiteY19" fmla="*/ 788510 h 2390930"/>
                  <a:gd name="connsiteX20" fmla="*/ 381542 w 1441052"/>
                  <a:gd name="connsiteY20" fmla="*/ 598047 h 2390930"/>
                  <a:gd name="connsiteX21" fmla="*/ 492111 w 1441052"/>
                  <a:gd name="connsiteY21" fmla="*/ 535699 h 2390930"/>
                  <a:gd name="connsiteX22" fmla="*/ 686779 w 1441052"/>
                  <a:gd name="connsiteY22" fmla="*/ 525226 h 2390930"/>
                  <a:gd name="connsiteX23" fmla="*/ 1131519 w 1441052"/>
                  <a:gd name="connsiteY23" fmla="*/ 532307 h 2390930"/>
                  <a:gd name="connsiteX24" fmla="*/ 1212701 w 1441052"/>
                  <a:gd name="connsiteY24" fmla="*/ 0 h 2390930"/>
                  <a:gd name="connsiteX25" fmla="*/ 1432930 w 1441052"/>
                  <a:gd name="connsiteY25" fmla="*/ 62975 h 2390930"/>
                  <a:gd name="connsiteX0" fmla="*/ 1432930 w 1441209"/>
                  <a:gd name="connsiteY0" fmla="*/ 62975 h 2390930"/>
                  <a:gd name="connsiteX1" fmla="*/ 1358937 w 1441209"/>
                  <a:gd name="connsiteY1" fmla="*/ 478243 h 2390930"/>
                  <a:gd name="connsiteX2" fmla="*/ 1380493 w 1441209"/>
                  <a:gd name="connsiteY2" fmla="*/ 916524 h 2390930"/>
                  <a:gd name="connsiteX3" fmla="*/ 1416819 w 1441209"/>
                  <a:gd name="connsiteY3" fmla="*/ 1050783 h 2390930"/>
                  <a:gd name="connsiteX4" fmla="*/ 1441037 w 1441209"/>
                  <a:gd name="connsiteY4" fmla="*/ 1135085 h 2390930"/>
                  <a:gd name="connsiteX5" fmla="*/ 1404711 w 1441209"/>
                  <a:gd name="connsiteY5" fmla="*/ 1160064 h 2390930"/>
                  <a:gd name="connsiteX6" fmla="*/ 1384779 w 1441209"/>
                  <a:gd name="connsiteY6" fmla="*/ 1223289 h 2390930"/>
                  <a:gd name="connsiteX7" fmla="*/ 1402301 w 1441209"/>
                  <a:gd name="connsiteY7" fmla="*/ 2292958 h 2390930"/>
                  <a:gd name="connsiteX8" fmla="*/ 942716 w 1441209"/>
                  <a:gd name="connsiteY8" fmla="*/ 2302239 h 2390930"/>
                  <a:gd name="connsiteX9" fmla="*/ 803587 w 1441209"/>
                  <a:gd name="connsiteY9" fmla="*/ 2378525 h 2390930"/>
                  <a:gd name="connsiteX10" fmla="*/ 509091 w 1441209"/>
                  <a:gd name="connsiteY10" fmla="*/ 2390930 h 2390930"/>
                  <a:gd name="connsiteX11" fmla="*/ 363379 w 1441209"/>
                  <a:gd name="connsiteY11" fmla="*/ 2293466 h 2390930"/>
                  <a:gd name="connsiteX12" fmla="*/ 107297 w 1441209"/>
                  <a:gd name="connsiteY12" fmla="*/ 2026669 h 2390930"/>
                  <a:gd name="connsiteX13" fmla="*/ 31777 w 1441209"/>
                  <a:gd name="connsiteY13" fmla="*/ 1789331 h 2390930"/>
                  <a:gd name="connsiteX14" fmla="*/ 36448 w 1441209"/>
                  <a:gd name="connsiteY14" fmla="*/ 1537864 h 2390930"/>
                  <a:gd name="connsiteX15" fmla="*/ 123 w 1441209"/>
                  <a:gd name="connsiteY15" fmla="*/ 1303691 h 2390930"/>
                  <a:gd name="connsiteX16" fmla="*/ 10599 w 1441209"/>
                  <a:gd name="connsiteY16" fmla="*/ 1010783 h 2390930"/>
                  <a:gd name="connsiteX17" fmla="*/ 70330 w 1441209"/>
                  <a:gd name="connsiteY17" fmla="*/ 818280 h 2390930"/>
                  <a:gd name="connsiteX18" fmla="*/ 100019 w 1441209"/>
                  <a:gd name="connsiteY18" fmla="*/ 685472 h 2390930"/>
                  <a:gd name="connsiteX19" fmla="*/ 216812 w 1441209"/>
                  <a:gd name="connsiteY19" fmla="*/ 720386 h 2390930"/>
                  <a:gd name="connsiteX20" fmla="*/ 208996 w 1441209"/>
                  <a:gd name="connsiteY20" fmla="*/ 788510 h 2390930"/>
                  <a:gd name="connsiteX21" fmla="*/ 381542 w 1441209"/>
                  <a:gd name="connsiteY21" fmla="*/ 598047 h 2390930"/>
                  <a:gd name="connsiteX22" fmla="*/ 492111 w 1441209"/>
                  <a:gd name="connsiteY22" fmla="*/ 535699 h 2390930"/>
                  <a:gd name="connsiteX23" fmla="*/ 686779 w 1441209"/>
                  <a:gd name="connsiteY23" fmla="*/ 525226 h 2390930"/>
                  <a:gd name="connsiteX24" fmla="*/ 1131519 w 1441209"/>
                  <a:gd name="connsiteY24" fmla="*/ 532307 h 2390930"/>
                  <a:gd name="connsiteX25" fmla="*/ 1212701 w 1441209"/>
                  <a:gd name="connsiteY25" fmla="*/ 0 h 2390930"/>
                  <a:gd name="connsiteX26" fmla="*/ 1432930 w 1441209"/>
                  <a:gd name="connsiteY26" fmla="*/ 62975 h 2390930"/>
                  <a:gd name="connsiteX0" fmla="*/ 1432930 w 1444094"/>
                  <a:gd name="connsiteY0" fmla="*/ 62975 h 2390930"/>
                  <a:gd name="connsiteX1" fmla="*/ 1358937 w 1444094"/>
                  <a:gd name="connsiteY1" fmla="*/ 478243 h 2390930"/>
                  <a:gd name="connsiteX2" fmla="*/ 1380493 w 1444094"/>
                  <a:gd name="connsiteY2" fmla="*/ 916524 h 2390930"/>
                  <a:gd name="connsiteX3" fmla="*/ 1438009 w 1444094"/>
                  <a:gd name="connsiteY3" fmla="*/ 1094496 h 2390930"/>
                  <a:gd name="connsiteX4" fmla="*/ 1441037 w 1444094"/>
                  <a:gd name="connsiteY4" fmla="*/ 1135085 h 2390930"/>
                  <a:gd name="connsiteX5" fmla="*/ 1404711 w 1444094"/>
                  <a:gd name="connsiteY5" fmla="*/ 1160064 h 2390930"/>
                  <a:gd name="connsiteX6" fmla="*/ 1384779 w 1444094"/>
                  <a:gd name="connsiteY6" fmla="*/ 1223289 h 2390930"/>
                  <a:gd name="connsiteX7" fmla="*/ 1402301 w 1444094"/>
                  <a:gd name="connsiteY7" fmla="*/ 2292958 h 2390930"/>
                  <a:gd name="connsiteX8" fmla="*/ 942716 w 1444094"/>
                  <a:gd name="connsiteY8" fmla="*/ 2302239 h 2390930"/>
                  <a:gd name="connsiteX9" fmla="*/ 803587 w 1444094"/>
                  <a:gd name="connsiteY9" fmla="*/ 2378525 h 2390930"/>
                  <a:gd name="connsiteX10" fmla="*/ 509091 w 1444094"/>
                  <a:gd name="connsiteY10" fmla="*/ 2390930 h 2390930"/>
                  <a:gd name="connsiteX11" fmla="*/ 363379 w 1444094"/>
                  <a:gd name="connsiteY11" fmla="*/ 2293466 h 2390930"/>
                  <a:gd name="connsiteX12" fmla="*/ 107297 w 1444094"/>
                  <a:gd name="connsiteY12" fmla="*/ 2026669 h 2390930"/>
                  <a:gd name="connsiteX13" fmla="*/ 31777 w 1444094"/>
                  <a:gd name="connsiteY13" fmla="*/ 1789331 h 2390930"/>
                  <a:gd name="connsiteX14" fmla="*/ 36448 w 1444094"/>
                  <a:gd name="connsiteY14" fmla="*/ 1537864 h 2390930"/>
                  <a:gd name="connsiteX15" fmla="*/ 123 w 1444094"/>
                  <a:gd name="connsiteY15" fmla="*/ 1303691 h 2390930"/>
                  <a:gd name="connsiteX16" fmla="*/ 10599 w 1444094"/>
                  <a:gd name="connsiteY16" fmla="*/ 1010783 h 2390930"/>
                  <a:gd name="connsiteX17" fmla="*/ 70330 w 1444094"/>
                  <a:gd name="connsiteY17" fmla="*/ 818280 h 2390930"/>
                  <a:gd name="connsiteX18" fmla="*/ 100019 w 1444094"/>
                  <a:gd name="connsiteY18" fmla="*/ 685472 h 2390930"/>
                  <a:gd name="connsiteX19" fmla="*/ 216812 w 1444094"/>
                  <a:gd name="connsiteY19" fmla="*/ 720386 h 2390930"/>
                  <a:gd name="connsiteX20" fmla="*/ 208996 w 1444094"/>
                  <a:gd name="connsiteY20" fmla="*/ 788510 h 2390930"/>
                  <a:gd name="connsiteX21" fmla="*/ 381542 w 1444094"/>
                  <a:gd name="connsiteY21" fmla="*/ 598047 h 2390930"/>
                  <a:gd name="connsiteX22" fmla="*/ 492111 w 1444094"/>
                  <a:gd name="connsiteY22" fmla="*/ 535699 h 2390930"/>
                  <a:gd name="connsiteX23" fmla="*/ 686779 w 1444094"/>
                  <a:gd name="connsiteY23" fmla="*/ 525226 h 2390930"/>
                  <a:gd name="connsiteX24" fmla="*/ 1131519 w 1444094"/>
                  <a:gd name="connsiteY24" fmla="*/ 532307 h 2390930"/>
                  <a:gd name="connsiteX25" fmla="*/ 1212701 w 1444094"/>
                  <a:gd name="connsiteY25" fmla="*/ 0 h 2390930"/>
                  <a:gd name="connsiteX26" fmla="*/ 1432930 w 1444094"/>
                  <a:gd name="connsiteY26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407737 w 1442442"/>
                  <a:gd name="connsiteY3" fmla="*/ 1007071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31519 w 1442442"/>
                  <a:gd name="connsiteY25" fmla="*/ 532307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31519 w 1442442"/>
                  <a:gd name="connsiteY25" fmla="*/ 532307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50432 w 1442442"/>
                  <a:gd name="connsiteY26" fmla="*/ 301427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772192 w 1442442"/>
                  <a:gd name="connsiteY24" fmla="*/ 502242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556172 w 1442442"/>
                  <a:gd name="connsiteY23" fmla="*/ 512714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92219 w 1442442"/>
                  <a:gd name="connsiteY22" fmla="*/ 586556 h 2390930"/>
                  <a:gd name="connsiteX23" fmla="*/ 556172 w 1442442"/>
                  <a:gd name="connsiteY23" fmla="*/ 512714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2219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2219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0810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0810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895204 w 1442442"/>
                  <a:gd name="connsiteY24" fmla="*/ 579296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39333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25090 w 1442442"/>
                  <a:gd name="connsiteY0" fmla="*/ 133513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39333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25090 w 1442442"/>
                  <a:gd name="connsiteY28" fmla="*/ 133513 h 2390930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9333 w 1442442"/>
                  <a:gd name="connsiteY25" fmla="*/ 647232 h 2328229"/>
                  <a:gd name="connsiteX26" fmla="*/ 1177676 w 1442442"/>
                  <a:gd name="connsiteY26" fmla="*/ 251215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1492 w 1442442"/>
                  <a:gd name="connsiteY25" fmla="*/ 623718 h 2328229"/>
                  <a:gd name="connsiteX26" fmla="*/ 1177676 w 1442442"/>
                  <a:gd name="connsiteY26" fmla="*/ 251215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1492 w 1442442"/>
                  <a:gd name="connsiteY25" fmla="*/ 623718 h 2328229"/>
                  <a:gd name="connsiteX26" fmla="*/ 1138478 w 1442442"/>
                  <a:gd name="connsiteY26" fmla="*/ 235542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38478 w 1442442"/>
                  <a:gd name="connsiteY26" fmla="*/ 251219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69835 w 1442442"/>
                  <a:gd name="connsiteY26" fmla="*/ 266893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46318 w 1442442"/>
                  <a:gd name="connsiteY26" fmla="*/ 259054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42442" h="2343906">
                    <a:moveTo>
                      <a:pt x="1425090" y="86489"/>
                    </a:moveTo>
                    <a:cubicBezTo>
                      <a:pt x="1400426" y="224912"/>
                      <a:pt x="1383601" y="292796"/>
                      <a:pt x="1358937" y="431219"/>
                    </a:cubicBezTo>
                    <a:cubicBezTo>
                      <a:pt x="1355243" y="582324"/>
                      <a:pt x="1366810" y="760026"/>
                      <a:pt x="1380493" y="869500"/>
                    </a:cubicBezTo>
                    <a:cubicBezTo>
                      <a:pt x="1388626" y="957638"/>
                      <a:pt x="1370907" y="992831"/>
                      <a:pt x="1380493" y="1022493"/>
                    </a:cubicBezTo>
                    <a:cubicBezTo>
                      <a:pt x="1390079" y="1052155"/>
                      <a:pt x="1432459" y="1026136"/>
                      <a:pt x="1438009" y="1047472"/>
                    </a:cubicBezTo>
                    <a:cubicBezTo>
                      <a:pt x="1443559" y="1068808"/>
                      <a:pt x="1443055" y="1069848"/>
                      <a:pt x="1441037" y="1088061"/>
                    </a:cubicBezTo>
                    <a:cubicBezTo>
                      <a:pt x="1439019" y="1106274"/>
                      <a:pt x="1394411" y="1082207"/>
                      <a:pt x="1404711" y="1113040"/>
                    </a:cubicBezTo>
                    <a:cubicBezTo>
                      <a:pt x="1415011" y="1143873"/>
                      <a:pt x="1373072" y="977562"/>
                      <a:pt x="1384779" y="1176265"/>
                    </a:cubicBezTo>
                    <a:lnTo>
                      <a:pt x="1402301" y="2245934"/>
                    </a:lnTo>
                    <a:lnTo>
                      <a:pt x="942716" y="2255215"/>
                    </a:lnTo>
                    <a:lnTo>
                      <a:pt x="803587" y="2331501"/>
                    </a:lnTo>
                    <a:lnTo>
                      <a:pt x="509091" y="2343906"/>
                    </a:lnTo>
                    <a:cubicBezTo>
                      <a:pt x="429669" y="2321924"/>
                      <a:pt x="430345" y="2308713"/>
                      <a:pt x="363379" y="2246442"/>
                    </a:cubicBezTo>
                    <a:cubicBezTo>
                      <a:pt x="296413" y="2184171"/>
                      <a:pt x="162564" y="2063668"/>
                      <a:pt x="107297" y="1979645"/>
                    </a:cubicBezTo>
                    <a:cubicBezTo>
                      <a:pt x="51852" y="1906776"/>
                      <a:pt x="25084" y="1791064"/>
                      <a:pt x="21101" y="1696340"/>
                    </a:cubicBezTo>
                    <a:lnTo>
                      <a:pt x="123" y="1256667"/>
                    </a:lnTo>
                    <a:cubicBezTo>
                      <a:pt x="-1430" y="1160072"/>
                      <a:pt x="12152" y="1060354"/>
                      <a:pt x="10599" y="963759"/>
                    </a:cubicBezTo>
                    <a:lnTo>
                      <a:pt x="70330" y="771256"/>
                    </a:lnTo>
                    <a:lnTo>
                      <a:pt x="100019" y="638448"/>
                    </a:lnTo>
                    <a:lnTo>
                      <a:pt x="216812" y="673362"/>
                    </a:lnTo>
                    <a:lnTo>
                      <a:pt x="208996" y="741486"/>
                    </a:lnTo>
                    <a:lnTo>
                      <a:pt x="397557" y="528040"/>
                    </a:lnTo>
                    <a:cubicBezTo>
                      <a:pt x="469469" y="477029"/>
                      <a:pt x="529993" y="469235"/>
                      <a:pt x="598879" y="459944"/>
                    </a:cubicBezTo>
                    <a:cubicBezTo>
                      <a:pt x="664259" y="454370"/>
                      <a:pt x="717488" y="460792"/>
                      <a:pt x="809560" y="472456"/>
                    </a:cubicBezTo>
                    <a:cubicBezTo>
                      <a:pt x="858947" y="484511"/>
                      <a:pt x="895583" y="527433"/>
                      <a:pt x="932572" y="555256"/>
                    </a:cubicBezTo>
                    <a:cubicBezTo>
                      <a:pt x="969561" y="583079"/>
                      <a:pt x="979075" y="597436"/>
                      <a:pt x="1031492" y="639395"/>
                    </a:cubicBezTo>
                    <a:lnTo>
                      <a:pt x="1146318" y="259054"/>
                    </a:lnTo>
                    <a:lnTo>
                      <a:pt x="1181345" y="0"/>
                    </a:lnTo>
                    <a:lnTo>
                      <a:pt x="1425090" y="8648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009/T108">
              <a:extLst>
                <a:ext uri="{FF2B5EF4-FFF2-40B4-BE49-F238E27FC236}">
                  <a16:creationId xmlns:a16="http://schemas.microsoft.com/office/drawing/2014/main" id="{B92B1B1D-30FE-48DC-949F-743B7F884E36}"/>
                </a:ext>
              </a:extLst>
            </p:cNvPr>
            <p:cNvGrpSpPr/>
            <p:nvPr/>
          </p:nvGrpSpPr>
          <p:grpSpPr>
            <a:xfrm>
              <a:off x="11319404" y="6575274"/>
              <a:ext cx="403299" cy="765709"/>
              <a:chOff x="1144643" y="661301"/>
              <a:chExt cx="765560" cy="1628304"/>
            </a:xfrm>
            <a:solidFill>
              <a:schemeClr val="bg1"/>
            </a:solidFill>
          </p:grpSpPr>
          <p:sp>
            <p:nvSpPr>
              <p:cNvPr id="77" name="T108">
                <a:extLst>
                  <a:ext uri="{FF2B5EF4-FFF2-40B4-BE49-F238E27FC236}">
                    <a16:creationId xmlns:a16="http://schemas.microsoft.com/office/drawing/2014/main" id="{596F1E79-E789-45A9-A1DB-CA630E5EAE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44643" y="661301"/>
                <a:ext cx="764319" cy="1628304"/>
              </a:xfrm>
              <a:custGeom>
                <a:avLst/>
                <a:gdLst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631371 h 2394857"/>
                  <a:gd name="connsiteX5" fmla="*/ 250371 w 533400"/>
                  <a:gd name="connsiteY5" fmla="*/ 391885 h 2394857"/>
                  <a:gd name="connsiteX6" fmla="*/ 228600 w 533400"/>
                  <a:gd name="connsiteY6" fmla="*/ 10885 h 2394857"/>
                  <a:gd name="connsiteX7" fmla="*/ 108857 w 533400"/>
                  <a:gd name="connsiteY7" fmla="*/ 0 h 2394857"/>
                  <a:gd name="connsiteX8" fmla="*/ 119742 w 533400"/>
                  <a:gd name="connsiteY8" fmla="*/ 326571 h 2394857"/>
                  <a:gd name="connsiteX9" fmla="*/ 0 w 533400"/>
                  <a:gd name="connsiteY9" fmla="*/ 609600 h 2394857"/>
                  <a:gd name="connsiteX10" fmla="*/ 21771 w 533400"/>
                  <a:gd name="connsiteY10" fmla="*/ 1774371 h 2394857"/>
                  <a:gd name="connsiteX11" fmla="*/ 119742 w 533400"/>
                  <a:gd name="connsiteY11" fmla="*/ 2024743 h 2394857"/>
                  <a:gd name="connsiteX12" fmla="*/ 108857 w 533400"/>
                  <a:gd name="connsiteY12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250371 w 533400"/>
                  <a:gd name="connsiteY6" fmla="*/ 391885 h 2394857"/>
                  <a:gd name="connsiteX7" fmla="*/ 228600 w 533400"/>
                  <a:gd name="connsiteY7" fmla="*/ 10885 h 2394857"/>
                  <a:gd name="connsiteX8" fmla="*/ 108857 w 533400"/>
                  <a:gd name="connsiteY8" fmla="*/ 0 h 2394857"/>
                  <a:gd name="connsiteX9" fmla="*/ 119742 w 533400"/>
                  <a:gd name="connsiteY9" fmla="*/ 326571 h 2394857"/>
                  <a:gd name="connsiteX10" fmla="*/ 0 w 533400"/>
                  <a:gd name="connsiteY10" fmla="*/ 609600 h 2394857"/>
                  <a:gd name="connsiteX11" fmla="*/ 21771 w 533400"/>
                  <a:gd name="connsiteY11" fmla="*/ 1774371 h 2394857"/>
                  <a:gd name="connsiteX12" fmla="*/ 119742 w 533400"/>
                  <a:gd name="connsiteY12" fmla="*/ 2024743 h 2394857"/>
                  <a:gd name="connsiteX13" fmla="*/ 108857 w 533400"/>
                  <a:gd name="connsiteY13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293914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424543 w 533400"/>
                  <a:gd name="connsiteY6" fmla="*/ 457200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91886 w 533400"/>
                  <a:gd name="connsiteY6" fmla="*/ 489857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391885 w 533400"/>
                  <a:gd name="connsiteY3" fmla="*/ 1926771 h 2394857"/>
                  <a:gd name="connsiteX4" fmla="*/ 533400 w 533400"/>
                  <a:gd name="connsiteY4" fmla="*/ 1774371 h 2394857"/>
                  <a:gd name="connsiteX5" fmla="*/ 522514 w 533400"/>
                  <a:gd name="connsiteY5" fmla="*/ 762000 h 2394857"/>
                  <a:gd name="connsiteX6" fmla="*/ 522514 w 533400"/>
                  <a:gd name="connsiteY6" fmla="*/ 609600 h 2394857"/>
                  <a:gd name="connsiteX7" fmla="*/ 391886 w 533400"/>
                  <a:gd name="connsiteY7" fmla="*/ 489857 h 2394857"/>
                  <a:gd name="connsiteX8" fmla="*/ 250371 w 533400"/>
                  <a:gd name="connsiteY8" fmla="*/ 337457 h 2394857"/>
                  <a:gd name="connsiteX9" fmla="*/ 228600 w 533400"/>
                  <a:gd name="connsiteY9" fmla="*/ 10885 h 2394857"/>
                  <a:gd name="connsiteX10" fmla="*/ 108857 w 533400"/>
                  <a:gd name="connsiteY10" fmla="*/ 0 h 2394857"/>
                  <a:gd name="connsiteX11" fmla="*/ 119742 w 533400"/>
                  <a:gd name="connsiteY11" fmla="*/ 326571 h 2394857"/>
                  <a:gd name="connsiteX12" fmla="*/ 0 w 533400"/>
                  <a:gd name="connsiteY12" fmla="*/ 609600 h 2394857"/>
                  <a:gd name="connsiteX13" fmla="*/ 21771 w 533400"/>
                  <a:gd name="connsiteY13" fmla="*/ 1774371 h 2394857"/>
                  <a:gd name="connsiteX14" fmla="*/ 119742 w 533400"/>
                  <a:gd name="connsiteY14" fmla="*/ 2024743 h 2394857"/>
                  <a:gd name="connsiteX15" fmla="*/ 108857 w 533400"/>
                  <a:gd name="connsiteY15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391885 w 533400"/>
                  <a:gd name="connsiteY4" fmla="*/ 1926771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424542 w 533400"/>
                  <a:gd name="connsiteY4" fmla="*/ 1894114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39485 w 533400"/>
                  <a:gd name="connsiteY3" fmla="*/ 2057400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72143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72151 w 533400"/>
                  <a:gd name="connsiteY11" fmla="*/ 10478 h 2383971"/>
                  <a:gd name="connsiteX12" fmla="*/ 108857 w 533400"/>
                  <a:gd name="connsiteY12" fmla="*/ 0 h 2383971"/>
                  <a:gd name="connsiteX13" fmla="*/ 119742 w 533400"/>
                  <a:gd name="connsiteY13" fmla="*/ 326571 h 2383971"/>
                  <a:gd name="connsiteX14" fmla="*/ 0 w 533400"/>
                  <a:gd name="connsiteY14" fmla="*/ 609600 h 2383971"/>
                  <a:gd name="connsiteX15" fmla="*/ 21771 w 533400"/>
                  <a:gd name="connsiteY15" fmla="*/ 1774371 h 2383971"/>
                  <a:gd name="connsiteX16" fmla="*/ 119742 w 533400"/>
                  <a:gd name="connsiteY16" fmla="*/ 2024743 h 2383971"/>
                  <a:gd name="connsiteX17" fmla="*/ 108857 w 533400"/>
                  <a:gd name="connsiteY17" fmla="*/ 2383971 h 2383971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666324 w 666324"/>
                  <a:gd name="connsiteY11" fmla="*/ 0 h 3245600"/>
                  <a:gd name="connsiteX12" fmla="*/ 108857 w 666324"/>
                  <a:gd name="connsiteY12" fmla="*/ 861629 h 3245600"/>
                  <a:gd name="connsiteX13" fmla="*/ 119742 w 666324"/>
                  <a:gd name="connsiteY13" fmla="*/ 1188200 h 3245600"/>
                  <a:gd name="connsiteX14" fmla="*/ 0 w 666324"/>
                  <a:gd name="connsiteY14" fmla="*/ 1471229 h 3245600"/>
                  <a:gd name="connsiteX15" fmla="*/ 21771 w 666324"/>
                  <a:gd name="connsiteY15" fmla="*/ 2636000 h 3245600"/>
                  <a:gd name="connsiteX16" fmla="*/ 119742 w 666324"/>
                  <a:gd name="connsiteY16" fmla="*/ 2886372 h 3245600"/>
                  <a:gd name="connsiteX17" fmla="*/ 108857 w 666324"/>
                  <a:gd name="connsiteY17" fmla="*/ 3245600 h 3245600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412902 w 666324"/>
                  <a:gd name="connsiteY11" fmla="*/ 501064 h 3245600"/>
                  <a:gd name="connsiteX12" fmla="*/ 666324 w 666324"/>
                  <a:gd name="connsiteY12" fmla="*/ 0 h 3245600"/>
                  <a:gd name="connsiteX13" fmla="*/ 108857 w 666324"/>
                  <a:gd name="connsiteY13" fmla="*/ 861629 h 3245600"/>
                  <a:gd name="connsiteX14" fmla="*/ 119742 w 666324"/>
                  <a:gd name="connsiteY14" fmla="*/ 1188200 h 3245600"/>
                  <a:gd name="connsiteX15" fmla="*/ 0 w 666324"/>
                  <a:gd name="connsiteY15" fmla="*/ 1471229 h 3245600"/>
                  <a:gd name="connsiteX16" fmla="*/ 21771 w 666324"/>
                  <a:gd name="connsiteY16" fmla="*/ 2636000 h 3245600"/>
                  <a:gd name="connsiteX17" fmla="*/ 119742 w 666324"/>
                  <a:gd name="connsiteY17" fmla="*/ 2886372 h 3245600"/>
                  <a:gd name="connsiteX18" fmla="*/ 108857 w 66632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705354 w 1705354"/>
                  <a:gd name="connsiteY11" fmla="*/ 421781 h 3245600"/>
                  <a:gd name="connsiteX12" fmla="*/ 666324 w 1705354"/>
                  <a:gd name="connsiteY12" fmla="*/ 0 h 3245600"/>
                  <a:gd name="connsiteX13" fmla="*/ 108857 w 1705354"/>
                  <a:gd name="connsiteY13" fmla="*/ 861629 h 3245600"/>
                  <a:gd name="connsiteX14" fmla="*/ 119742 w 1705354"/>
                  <a:gd name="connsiteY14" fmla="*/ 1188200 h 3245600"/>
                  <a:gd name="connsiteX15" fmla="*/ 0 w 1705354"/>
                  <a:gd name="connsiteY15" fmla="*/ 1471229 h 3245600"/>
                  <a:gd name="connsiteX16" fmla="*/ 21771 w 1705354"/>
                  <a:gd name="connsiteY16" fmla="*/ 2636000 h 3245600"/>
                  <a:gd name="connsiteX17" fmla="*/ 119742 w 1705354"/>
                  <a:gd name="connsiteY17" fmla="*/ 2886372 h 3245600"/>
                  <a:gd name="connsiteX18" fmla="*/ 108857 w 170535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040122 w 1705354"/>
                  <a:gd name="connsiteY11" fmla="*/ 624745 h 3245600"/>
                  <a:gd name="connsiteX12" fmla="*/ 1705354 w 1705354"/>
                  <a:gd name="connsiteY12" fmla="*/ 421781 h 3245600"/>
                  <a:gd name="connsiteX13" fmla="*/ 666324 w 1705354"/>
                  <a:gd name="connsiteY13" fmla="*/ 0 h 3245600"/>
                  <a:gd name="connsiteX14" fmla="*/ 108857 w 1705354"/>
                  <a:gd name="connsiteY14" fmla="*/ 861629 h 3245600"/>
                  <a:gd name="connsiteX15" fmla="*/ 119742 w 1705354"/>
                  <a:gd name="connsiteY15" fmla="*/ 1188200 h 3245600"/>
                  <a:gd name="connsiteX16" fmla="*/ 0 w 1705354"/>
                  <a:gd name="connsiteY16" fmla="*/ 1471229 h 3245600"/>
                  <a:gd name="connsiteX17" fmla="*/ 21771 w 1705354"/>
                  <a:gd name="connsiteY17" fmla="*/ 2636000 h 3245600"/>
                  <a:gd name="connsiteX18" fmla="*/ 119742 w 1705354"/>
                  <a:gd name="connsiteY18" fmla="*/ 2886372 h 3245600"/>
                  <a:gd name="connsiteX19" fmla="*/ 108857 w 1705354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108857 w 1870079"/>
                  <a:gd name="connsiteY14" fmla="*/ 861629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99354 w 1870079"/>
                  <a:gd name="connsiteY14" fmla="*/ 807717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705354 w 1870079"/>
                  <a:gd name="connsiteY12" fmla="*/ 472521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672660 w 1870079"/>
                  <a:gd name="connsiteY11" fmla="*/ 970417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455100 w 1870079"/>
                  <a:gd name="connsiteY12" fmla="*/ 811852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2264 w 1870079"/>
                  <a:gd name="connsiteY10" fmla="*/ 1119875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84897 w 1870079"/>
                  <a:gd name="connsiteY17" fmla="*/ 1146972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60278 w 1879986"/>
                  <a:gd name="connsiteY9" fmla="*/ 1249826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34935 w 1879986"/>
                  <a:gd name="connsiteY9" fmla="*/ 1138830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62622 w 1879986"/>
                  <a:gd name="connsiteY9" fmla="*/ 1341459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3118 w 1879986"/>
                  <a:gd name="connsiteY9" fmla="*/ 1138495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75293 w 1879986"/>
                  <a:gd name="connsiteY9" fmla="*/ 1293890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28934 w 1879986"/>
                  <a:gd name="connsiteY8" fmla="*/ 1269031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59454 w 1879986"/>
                  <a:gd name="connsiteY8" fmla="*/ 1309746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34112 w 1879986"/>
                  <a:gd name="connsiteY8" fmla="*/ 1290719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24261 w 1879986"/>
                  <a:gd name="connsiteY8" fmla="*/ 1397278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319367 w 1879986"/>
                  <a:gd name="connsiteY2" fmla="*/ 3160841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81901 w 1879986"/>
                  <a:gd name="connsiteY2" fmla="*/ 3247122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95870 w 1879986"/>
                  <a:gd name="connsiteY25" fmla="*/ 317892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118764 w 1879986"/>
                  <a:gd name="connsiteY26" fmla="*/ 3296340 h 4072550"/>
                  <a:gd name="connsiteX0" fmla="*/ 94635 w 1879986"/>
                  <a:gd name="connsiteY0" fmla="*/ 3523641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94635 w 1879986"/>
                  <a:gd name="connsiteY26" fmla="*/ 3523641 h 4072550"/>
                  <a:gd name="connsiteX0" fmla="*/ 94635 w 1879986"/>
                  <a:gd name="connsiteY0" fmla="*/ 3523641 h 4072550"/>
                  <a:gd name="connsiteX1" fmla="*/ 351874 w 1879986"/>
                  <a:gd name="connsiteY1" fmla="*/ 3820211 h 4072550"/>
                  <a:gd name="connsiteX2" fmla="*/ 573952 w 1879986"/>
                  <a:gd name="connsiteY2" fmla="*/ 4072550 h 4072550"/>
                  <a:gd name="connsiteX3" fmla="*/ 231230 w 1879986"/>
                  <a:gd name="connsiteY3" fmla="*/ 3169743 h 4072550"/>
                  <a:gd name="connsiteX4" fmla="*/ 319367 w 1879986"/>
                  <a:gd name="connsiteY4" fmla="*/ 3160841 h 4072550"/>
                  <a:gd name="connsiteX5" fmla="*/ 323124 w 1879986"/>
                  <a:gd name="connsiteY5" fmla="*/ 3071321 h 4072550"/>
                  <a:gd name="connsiteX6" fmla="*/ 511661 w 1879986"/>
                  <a:gd name="connsiteY6" fmla="*/ 2854845 h 4072550"/>
                  <a:gd name="connsiteX7" fmla="*/ 555371 w 1879986"/>
                  <a:gd name="connsiteY7" fmla="*/ 2747193 h 4072550"/>
                  <a:gd name="connsiteX8" fmla="*/ 556550 w 1879986"/>
                  <a:gd name="connsiteY8" fmla="*/ 1594571 h 4072550"/>
                  <a:gd name="connsiteX9" fmla="*/ 542073 w 1879986"/>
                  <a:gd name="connsiteY9" fmla="*/ 1512297 h 4072550"/>
                  <a:gd name="connsiteX10" fmla="*/ 368764 w 1879986"/>
                  <a:gd name="connsiteY10" fmla="*/ 1302973 h 4072550"/>
                  <a:gd name="connsiteX11" fmla="*/ 329287 w 1879986"/>
                  <a:gd name="connsiteY11" fmla="*/ 1302809 h 4072550"/>
                  <a:gd name="connsiteX12" fmla="*/ 328934 w 1879986"/>
                  <a:gd name="connsiteY12" fmla="*/ 1269031 h 4072550"/>
                  <a:gd name="connsiteX13" fmla="*/ 356286 w 1879986"/>
                  <a:gd name="connsiteY13" fmla="*/ 1268519 h 4072550"/>
                  <a:gd name="connsiteX14" fmla="*/ 353118 w 1879986"/>
                  <a:gd name="connsiteY14" fmla="*/ 1138495 h 4072550"/>
                  <a:gd name="connsiteX15" fmla="*/ 234935 w 1879986"/>
                  <a:gd name="connsiteY15" fmla="*/ 1138830 h 4072550"/>
                  <a:gd name="connsiteX16" fmla="*/ 235339 w 1879986"/>
                  <a:gd name="connsiteY16" fmla="*/ 923254 h 4072550"/>
                  <a:gd name="connsiteX17" fmla="*/ 603374 w 1879986"/>
                  <a:gd name="connsiteY17" fmla="*/ 237848 h 4072550"/>
                  <a:gd name="connsiteX18" fmla="*/ 1680415 w 1879986"/>
                  <a:gd name="connsiteY18" fmla="*/ 1068728 h 4072550"/>
                  <a:gd name="connsiteX19" fmla="*/ 1879986 w 1879986"/>
                  <a:gd name="connsiteY19" fmla="*/ 1081411 h 4072550"/>
                  <a:gd name="connsiteX20" fmla="*/ 1816630 w 1879986"/>
                  <a:gd name="connsiteY20" fmla="*/ 913332 h 4072550"/>
                  <a:gd name="connsiteX21" fmla="*/ 958163 w 1879986"/>
                  <a:gd name="connsiteY21" fmla="*/ 0 h 4072550"/>
                  <a:gd name="connsiteX22" fmla="*/ 109261 w 1879986"/>
                  <a:gd name="connsiteY22" fmla="*/ 858457 h 4072550"/>
                  <a:gd name="connsiteX23" fmla="*/ 94804 w 1879986"/>
                  <a:gd name="connsiteY23" fmla="*/ 1146972 h 4072550"/>
                  <a:gd name="connsiteX24" fmla="*/ 9907 w 1879986"/>
                  <a:gd name="connsiteY24" fmla="*/ 1521969 h 4072550"/>
                  <a:gd name="connsiteX25" fmla="*/ 0 w 1879986"/>
                  <a:gd name="connsiteY25" fmla="*/ 2778708 h 4072550"/>
                  <a:gd name="connsiteX26" fmla="*/ 95870 w 1879986"/>
                  <a:gd name="connsiteY26" fmla="*/ 3178922 h 4072550"/>
                  <a:gd name="connsiteX27" fmla="*/ 94635 w 1879986"/>
                  <a:gd name="connsiteY27" fmla="*/ 3523641 h 4072550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231230 w 1879986"/>
                  <a:gd name="connsiteY3" fmla="*/ 3169743 h 4136982"/>
                  <a:gd name="connsiteX4" fmla="*/ 319367 w 1879986"/>
                  <a:gd name="connsiteY4" fmla="*/ 3160841 h 4136982"/>
                  <a:gd name="connsiteX5" fmla="*/ 323124 w 1879986"/>
                  <a:gd name="connsiteY5" fmla="*/ 3071321 h 4136982"/>
                  <a:gd name="connsiteX6" fmla="*/ 511661 w 1879986"/>
                  <a:gd name="connsiteY6" fmla="*/ 2854845 h 4136982"/>
                  <a:gd name="connsiteX7" fmla="*/ 555371 w 1879986"/>
                  <a:gd name="connsiteY7" fmla="*/ 2747193 h 4136982"/>
                  <a:gd name="connsiteX8" fmla="*/ 556550 w 1879986"/>
                  <a:gd name="connsiteY8" fmla="*/ 1594571 h 4136982"/>
                  <a:gd name="connsiteX9" fmla="*/ 542073 w 1879986"/>
                  <a:gd name="connsiteY9" fmla="*/ 1512297 h 4136982"/>
                  <a:gd name="connsiteX10" fmla="*/ 368764 w 1879986"/>
                  <a:gd name="connsiteY10" fmla="*/ 1302973 h 4136982"/>
                  <a:gd name="connsiteX11" fmla="*/ 329287 w 1879986"/>
                  <a:gd name="connsiteY11" fmla="*/ 1302809 h 4136982"/>
                  <a:gd name="connsiteX12" fmla="*/ 328934 w 1879986"/>
                  <a:gd name="connsiteY12" fmla="*/ 1269031 h 4136982"/>
                  <a:gd name="connsiteX13" fmla="*/ 356286 w 1879986"/>
                  <a:gd name="connsiteY13" fmla="*/ 1268519 h 4136982"/>
                  <a:gd name="connsiteX14" fmla="*/ 353118 w 1879986"/>
                  <a:gd name="connsiteY14" fmla="*/ 1138495 h 4136982"/>
                  <a:gd name="connsiteX15" fmla="*/ 234935 w 1879986"/>
                  <a:gd name="connsiteY15" fmla="*/ 1138830 h 4136982"/>
                  <a:gd name="connsiteX16" fmla="*/ 235339 w 1879986"/>
                  <a:gd name="connsiteY16" fmla="*/ 923254 h 4136982"/>
                  <a:gd name="connsiteX17" fmla="*/ 603374 w 1879986"/>
                  <a:gd name="connsiteY17" fmla="*/ 237848 h 4136982"/>
                  <a:gd name="connsiteX18" fmla="*/ 1680415 w 1879986"/>
                  <a:gd name="connsiteY18" fmla="*/ 1068728 h 4136982"/>
                  <a:gd name="connsiteX19" fmla="*/ 1879986 w 1879986"/>
                  <a:gd name="connsiteY19" fmla="*/ 1081411 h 4136982"/>
                  <a:gd name="connsiteX20" fmla="*/ 1816630 w 1879986"/>
                  <a:gd name="connsiteY20" fmla="*/ 913332 h 4136982"/>
                  <a:gd name="connsiteX21" fmla="*/ 958163 w 1879986"/>
                  <a:gd name="connsiteY21" fmla="*/ 0 h 4136982"/>
                  <a:gd name="connsiteX22" fmla="*/ 109261 w 1879986"/>
                  <a:gd name="connsiteY22" fmla="*/ 858457 h 4136982"/>
                  <a:gd name="connsiteX23" fmla="*/ 94804 w 1879986"/>
                  <a:gd name="connsiteY23" fmla="*/ 1146972 h 4136982"/>
                  <a:gd name="connsiteX24" fmla="*/ 9907 w 1879986"/>
                  <a:gd name="connsiteY24" fmla="*/ 1521969 h 4136982"/>
                  <a:gd name="connsiteX25" fmla="*/ 0 w 1879986"/>
                  <a:gd name="connsiteY25" fmla="*/ 2778708 h 4136982"/>
                  <a:gd name="connsiteX26" fmla="*/ 95870 w 1879986"/>
                  <a:gd name="connsiteY26" fmla="*/ 3178922 h 4136982"/>
                  <a:gd name="connsiteX27" fmla="*/ 94635 w 1879986"/>
                  <a:gd name="connsiteY27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36325 w 1879986"/>
                  <a:gd name="connsiteY3" fmla="*/ 3723487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1478686 w 1879986"/>
                  <a:gd name="connsiteY3" fmla="*/ 3384953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581097 w 1879986"/>
                  <a:gd name="connsiteY3" fmla="*/ 4076529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076529"/>
                  <a:gd name="connsiteX1" fmla="*/ 1818901 w 1879986"/>
                  <a:gd name="connsiteY1" fmla="*/ 3237450 h 4076529"/>
                  <a:gd name="connsiteX2" fmla="*/ 1674223 w 1879986"/>
                  <a:gd name="connsiteY2" fmla="*/ 3231052 h 4076529"/>
                  <a:gd name="connsiteX3" fmla="*/ 581097 w 1879986"/>
                  <a:gd name="connsiteY3" fmla="*/ 4076529 h 4076529"/>
                  <a:gd name="connsiteX4" fmla="*/ 231230 w 1879986"/>
                  <a:gd name="connsiteY4" fmla="*/ 3169743 h 4076529"/>
                  <a:gd name="connsiteX5" fmla="*/ 319367 w 1879986"/>
                  <a:gd name="connsiteY5" fmla="*/ 3160841 h 4076529"/>
                  <a:gd name="connsiteX6" fmla="*/ 323124 w 1879986"/>
                  <a:gd name="connsiteY6" fmla="*/ 3071321 h 4076529"/>
                  <a:gd name="connsiteX7" fmla="*/ 511661 w 1879986"/>
                  <a:gd name="connsiteY7" fmla="*/ 2854845 h 4076529"/>
                  <a:gd name="connsiteX8" fmla="*/ 555371 w 1879986"/>
                  <a:gd name="connsiteY8" fmla="*/ 2747193 h 4076529"/>
                  <a:gd name="connsiteX9" fmla="*/ 556550 w 1879986"/>
                  <a:gd name="connsiteY9" fmla="*/ 1594571 h 4076529"/>
                  <a:gd name="connsiteX10" fmla="*/ 542073 w 1879986"/>
                  <a:gd name="connsiteY10" fmla="*/ 1512297 h 4076529"/>
                  <a:gd name="connsiteX11" fmla="*/ 368764 w 1879986"/>
                  <a:gd name="connsiteY11" fmla="*/ 1302973 h 4076529"/>
                  <a:gd name="connsiteX12" fmla="*/ 329287 w 1879986"/>
                  <a:gd name="connsiteY12" fmla="*/ 1302809 h 4076529"/>
                  <a:gd name="connsiteX13" fmla="*/ 328934 w 1879986"/>
                  <a:gd name="connsiteY13" fmla="*/ 1269031 h 4076529"/>
                  <a:gd name="connsiteX14" fmla="*/ 356286 w 1879986"/>
                  <a:gd name="connsiteY14" fmla="*/ 1268519 h 4076529"/>
                  <a:gd name="connsiteX15" fmla="*/ 353118 w 1879986"/>
                  <a:gd name="connsiteY15" fmla="*/ 1138495 h 4076529"/>
                  <a:gd name="connsiteX16" fmla="*/ 234935 w 1879986"/>
                  <a:gd name="connsiteY16" fmla="*/ 1138830 h 4076529"/>
                  <a:gd name="connsiteX17" fmla="*/ 235339 w 1879986"/>
                  <a:gd name="connsiteY17" fmla="*/ 923254 h 4076529"/>
                  <a:gd name="connsiteX18" fmla="*/ 603374 w 1879986"/>
                  <a:gd name="connsiteY18" fmla="*/ 237848 h 4076529"/>
                  <a:gd name="connsiteX19" fmla="*/ 1680415 w 1879986"/>
                  <a:gd name="connsiteY19" fmla="*/ 1068728 h 4076529"/>
                  <a:gd name="connsiteX20" fmla="*/ 1879986 w 1879986"/>
                  <a:gd name="connsiteY20" fmla="*/ 1081411 h 4076529"/>
                  <a:gd name="connsiteX21" fmla="*/ 1816630 w 1879986"/>
                  <a:gd name="connsiteY21" fmla="*/ 913332 h 4076529"/>
                  <a:gd name="connsiteX22" fmla="*/ 958163 w 1879986"/>
                  <a:gd name="connsiteY22" fmla="*/ 0 h 4076529"/>
                  <a:gd name="connsiteX23" fmla="*/ 109261 w 1879986"/>
                  <a:gd name="connsiteY23" fmla="*/ 858457 h 4076529"/>
                  <a:gd name="connsiteX24" fmla="*/ 94804 w 1879986"/>
                  <a:gd name="connsiteY24" fmla="*/ 1146972 h 4076529"/>
                  <a:gd name="connsiteX25" fmla="*/ 9907 w 1879986"/>
                  <a:gd name="connsiteY25" fmla="*/ 1521969 h 4076529"/>
                  <a:gd name="connsiteX26" fmla="*/ 0 w 1879986"/>
                  <a:gd name="connsiteY26" fmla="*/ 2778708 h 4076529"/>
                  <a:gd name="connsiteX27" fmla="*/ 95870 w 1879986"/>
                  <a:gd name="connsiteY27" fmla="*/ 3178922 h 4076529"/>
                  <a:gd name="connsiteX28" fmla="*/ 94635 w 1879986"/>
                  <a:gd name="connsiteY28" fmla="*/ 3523641 h 4076529"/>
                  <a:gd name="connsiteX0" fmla="*/ 94635 w 1879986"/>
                  <a:gd name="connsiteY0" fmla="*/ 3523641 h 4076529"/>
                  <a:gd name="connsiteX1" fmla="*/ 1003350 w 1879986"/>
                  <a:gd name="connsiteY1" fmla="*/ 3372863 h 4076529"/>
                  <a:gd name="connsiteX2" fmla="*/ 1818901 w 1879986"/>
                  <a:gd name="connsiteY2" fmla="*/ 3237450 h 4076529"/>
                  <a:gd name="connsiteX3" fmla="*/ 1674223 w 1879986"/>
                  <a:gd name="connsiteY3" fmla="*/ 3231052 h 4076529"/>
                  <a:gd name="connsiteX4" fmla="*/ 581097 w 1879986"/>
                  <a:gd name="connsiteY4" fmla="*/ 4076529 h 4076529"/>
                  <a:gd name="connsiteX5" fmla="*/ 231230 w 1879986"/>
                  <a:gd name="connsiteY5" fmla="*/ 3169743 h 4076529"/>
                  <a:gd name="connsiteX6" fmla="*/ 319367 w 1879986"/>
                  <a:gd name="connsiteY6" fmla="*/ 3160841 h 4076529"/>
                  <a:gd name="connsiteX7" fmla="*/ 323124 w 1879986"/>
                  <a:gd name="connsiteY7" fmla="*/ 3071321 h 4076529"/>
                  <a:gd name="connsiteX8" fmla="*/ 511661 w 1879986"/>
                  <a:gd name="connsiteY8" fmla="*/ 2854845 h 4076529"/>
                  <a:gd name="connsiteX9" fmla="*/ 555371 w 1879986"/>
                  <a:gd name="connsiteY9" fmla="*/ 2747193 h 4076529"/>
                  <a:gd name="connsiteX10" fmla="*/ 556550 w 1879986"/>
                  <a:gd name="connsiteY10" fmla="*/ 1594571 h 4076529"/>
                  <a:gd name="connsiteX11" fmla="*/ 542073 w 1879986"/>
                  <a:gd name="connsiteY11" fmla="*/ 1512297 h 4076529"/>
                  <a:gd name="connsiteX12" fmla="*/ 368764 w 1879986"/>
                  <a:gd name="connsiteY12" fmla="*/ 1302973 h 4076529"/>
                  <a:gd name="connsiteX13" fmla="*/ 329287 w 1879986"/>
                  <a:gd name="connsiteY13" fmla="*/ 1302809 h 4076529"/>
                  <a:gd name="connsiteX14" fmla="*/ 328934 w 1879986"/>
                  <a:gd name="connsiteY14" fmla="*/ 1269031 h 4076529"/>
                  <a:gd name="connsiteX15" fmla="*/ 356286 w 1879986"/>
                  <a:gd name="connsiteY15" fmla="*/ 1268519 h 4076529"/>
                  <a:gd name="connsiteX16" fmla="*/ 353118 w 1879986"/>
                  <a:gd name="connsiteY16" fmla="*/ 1138495 h 4076529"/>
                  <a:gd name="connsiteX17" fmla="*/ 234935 w 1879986"/>
                  <a:gd name="connsiteY17" fmla="*/ 1138830 h 4076529"/>
                  <a:gd name="connsiteX18" fmla="*/ 235339 w 1879986"/>
                  <a:gd name="connsiteY18" fmla="*/ 923254 h 4076529"/>
                  <a:gd name="connsiteX19" fmla="*/ 603374 w 1879986"/>
                  <a:gd name="connsiteY19" fmla="*/ 237848 h 4076529"/>
                  <a:gd name="connsiteX20" fmla="*/ 1680415 w 1879986"/>
                  <a:gd name="connsiteY20" fmla="*/ 1068728 h 4076529"/>
                  <a:gd name="connsiteX21" fmla="*/ 1879986 w 1879986"/>
                  <a:gd name="connsiteY21" fmla="*/ 1081411 h 4076529"/>
                  <a:gd name="connsiteX22" fmla="*/ 1816630 w 1879986"/>
                  <a:gd name="connsiteY22" fmla="*/ 913332 h 4076529"/>
                  <a:gd name="connsiteX23" fmla="*/ 958163 w 1879986"/>
                  <a:gd name="connsiteY23" fmla="*/ 0 h 4076529"/>
                  <a:gd name="connsiteX24" fmla="*/ 109261 w 1879986"/>
                  <a:gd name="connsiteY24" fmla="*/ 858457 h 4076529"/>
                  <a:gd name="connsiteX25" fmla="*/ 94804 w 1879986"/>
                  <a:gd name="connsiteY25" fmla="*/ 1146972 h 4076529"/>
                  <a:gd name="connsiteX26" fmla="*/ 9907 w 1879986"/>
                  <a:gd name="connsiteY26" fmla="*/ 1521969 h 4076529"/>
                  <a:gd name="connsiteX27" fmla="*/ 0 w 1879986"/>
                  <a:gd name="connsiteY27" fmla="*/ 2778708 h 4076529"/>
                  <a:gd name="connsiteX28" fmla="*/ 95870 w 1879986"/>
                  <a:gd name="connsiteY28" fmla="*/ 3178922 h 4076529"/>
                  <a:gd name="connsiteX29" fmla="*/ 94635 w 1879986"/>
                  <a:gd name="connsiteY29" fmla="*/ 3523641 h 4076529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96378 w 1879986"/>
                  <a:gd name="connsiteY5" fmla="*/ 3409134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77883 w 1879986"/>
                  <a:gd name="connsiteY22" fmla="*/ 1078088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26140 w 1879986"/>
                  <a:gd name="connsiteY22" fmla="*/ 1385187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41689 w 1879986"/>
                  <a:gd name="connsiteY22" fmla="*/ 120382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744103 w 1879986"/>
                  <a:gd name="connsiteY23" fmla="*/ 1370678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734452 w 1879986"/>
                  <a:gd name="connsiteY24" fmla="*/ 1547198 h 4330639"/>
                  <a:gd name="connsiteX25" fmla="*/ 1826140 w 1879986"/>
                  <a:gd name="connsiteY25" fmla="*/ 1385187 h 4330639"/>
                  <a:gd name="connsiteX26" fmla="*/ 1879986 w 1879986"/>
                  <a:gd name="connsiteY26" fmla="*/ 1081411 h 4330639"/>
                  <a:gd name="connsiteX27" fmla="*/ 1816630 w 1879986"/>
                  <a:gd name="connsiteY27" fmla="*/ 913332 h 4330639"/>
                  <a:gd name="connsiteX28" fmla="*/ 958163 w 1879986"/>
                  <a:gd name="connsiteY28" fmla="*/ 0 h 4330639"/>
                  <a:gd name="connsiteX29" fmla="*/ 109261 w 1879986"/>
                  <a:gd name="connsiteY29" fmla="*/ 858457 h 4330639"/>
                  <a:gd name="connsiteX30" fmla="*/ 94804 w 1879986"/>
                  <a:gd name="connsiteY30" fmla="*/ 1146972 h 4330639"/>
                  <a:gd name="connsiteX31" fmla="*/ 9907 w 1879986"/>
                  <a:gd name="connsiteY31" fmla="*/ 1521969 h 4330639"/>
                  <a:gd name="connsiteX32" fmla="*/ 0 w 1879986"/>
                  <a:gd name="connsiteY32" fmla="*/ 2778708 h 4330639"/>
                  <a:gd name="connsiteX33" fmla="*/ 95870 w 1879986"/>
                  <a:gd name="connsiteY33" fmla="*/ 3178922 h 4330639"/>
                  <a:gd name="connsiteX34" fmla="*/ 94635 w 1879986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2106035 w 2106035"/>
                  <a:gd name="connsiteY24" fmla="*/ 1663267 h 4330639"/>
                  <a:gd name="connsiteX25" fmla="*/ 1826140 w 2106035"/>
                  <a:gd name="connsiteY25" fmla="*/ 1385187 h 4330639"/>
                  <a:gd name="connsiteX26" fmla="*/ 1879986 w 2106035"/>
                  <a:gd name="connsiteY26" fmla="*/ 1081411 h 4330639"/>
                  <a:gd name="connsiteX27" fmla="*/ 1816630 w 2106035"/>
                  <a:gd name="connsiteY27" fmla="*/ 913332 h 4330639"/>
                  <a:gd name="connsiteX28" fmla="*/ 958163 w 2106035"/>
                  <a:gd name="connsiteY28" fmla="*/ 0 h 4330639"/>
                  <a:gd name="connsiteX29" fmla="*/ 109261 w 2106035"/>
                  <a:gd name="connsiteY29" fmla="*/ 858457 h 4330639"/>
                  <a:gd name="connsiteX30" fmla="*/ 94804 w 2106035"/>
                  <a:gd name="connsiteY30" fmla="*/ 1146972 h 4330639"/>
                  <a:gd name="connsiteX31" fmla="*/ 9907 w 2106035"/>
                  <a:gd name="connsiteY31" fmla="*/ 1521969 h 4330639"/>
                  <a:gd name="connsiteX32" fmla="*/ 0 w 2106035"/>
                  <a:gd name="connsiteY32" fmla="*/ 2778708 h 4330639"/>
                  <a:gd name="connsiteX33" fmla="*/ 95870 w 2106035"/>
                  <a:gd name="connsiteY33" fmla="*/ 3178922 h 4330639"/>
                  <a:gd name="connsiteX34" fmla="*/ 94635 w 2106035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1797186 w 2106035"/>
                  <a:gd name="connsiteY24" fmla="*/ 1704376 h 4330639"/>
                  <a:gd name="connsiteX25" fmla="*/ 2106035 w 2106035"/>
                  <a:gd name="connsiteY25" fmla="*/ 1663267 h 4330639"/>
                  <a:gd name="connsiteX26" fmla="*/ 1826140 w 2106035"/>
                  <a:gd name="connsiteY26" fmla="*/ 1385187 h 4330639"/>
                  <a:gd name="connsiteX27" fmla="*/ 1879986 w 2106035"/>
                  <a:gd name="connsiteY27" fmla="*/ 1081411 h 4330639"/>
                  <a:gd name="connsiteX28" fmla="*/ 1816630 w 2106035"/>
                  <a:gd name="connsiteY28" fmla="*/ 913332 h 4330639"/>
                  <a:gd name="connsiteX29" fmla="*/ 958163 w 2106035"/>
                  <a:gd name="connsiteY29" fmla="*/ 0 h 4330639"/>
                  <a:gd name="connsiteX30" fmla="*/ 109261 w 2106035"/>
                  <a:gd name="connsiteY30" fmla="*/ 858457 h 4330639"/>
                  <a:gd name="connsiteX31" fmla="*/ 94804 w 2106035"/>
                  <a:gd name="connsiteY31" fmla="*/ 1146972 h 4330639"/>
                  <a:gd name="connsiteX32" fmla="*/ 9907 w 2106035"/>
                  <a:gd name="connsiteY32" fmla="*/ 1521969 h 4330639"/>
                  <a:gd name="connsiteX33" fmla="*/ 0 w 2106035"/>
                  <a:gd name="connsiteY33" fmla="*/ 2778708 h 4330639"/>
                  <a:gd name="connsiteX34" fmla="*/ 95870 w 2106035"/>
                  <a:gd name="connsiteY34" fmla="*/ 3178922 h 4330639"/>
                  <a:gd name="connsiteX35" fmla="*/ 94635 w 2106035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7054 w 2147054"/>
                  <a:gd name="connsiteY24" fmla="*/ 1759991 h 4330639"/>
                  <a:gd name="connsiteX25" fmla="*/ 2106035 w 2147054"/>
                  <a:gd name="connsiteY25" fmla="*/ 1663267 h 4330639"/>
                  <a:gd name="connsiteX26" fmla="*/ 1826140 w 2147054"/>
                  <a:gd name="connsiteY26" fmla="*/ 1385187 h 4330639"/>
                  <a:gd name="connsiteX27" fmla="*/ 1879986 w 2147054"/>
                  <a:gd name="connsiteY27" fmla="*/ 1081411 h 4330639"/>
                  <a:gd name="connsiteX28" fmla="*/ 1816630 w 2147054"/>
                  <a:gd name="connsiteY28" fmla="*/ 913332 h 4330639"/>
                  <a:gd name="connsiteX29" fmla="*/ 958163 w 2147054"/>
                  <a:gd name="connsiteY29" fmla="*/ 0 h 4330639"/>
                  <a:gd name="connsiteX30" fmla="*/ 109261 w 2147054"/>
                  <a:gd name="connsiteY30" fmla="*/ 858457 h 4330639"/>
                  <a:gd name="connsiteX31" fmla="*/ 94804 w 2147054"/>
                  <a:gd name="connsiteY31" fmla="*/ 1146972 h 4330639"/>
                  <a:gd name="connsiteX32" fmla="*/ 9907 w 2147054"/>
                  <a:gd name="connsiteY32" fmla="*/ 1521969 h 4330639"/>
                  <a:gd name="connsiteX33" fmla="*/ 0 w 2147054"/>
                  <a:gd name="connsiteY33" fmla="*/ 2778708 h 4330639"/>
                  <a:gd name="connsiteX34" fmla="*/ 95870 w 2147054"/>
                  <a:gd name="connsiteY34" fmla="*/ 3178922 h 4330639"/>
                  <a:gd name="connsiteX35" fmla="*/ 94635 w 2147054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17831 w 2147054"/>
                  <a:gd name="connsiteY24" fmla="*/ 1740646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4641 w 2147054"/>
                  <a:gd name="connsiteY24" fmla="*/ 2550708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37134 w 2147054"/>
                  <a:gd name="connsiteY24" fmla="*/ 2212175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15686 w 2147054"/>
                  <a:gd name="connsiteY24" fmla="*/ 2642597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96114 w 2147054"/>
                  <a:gd name="connsiteY24" fmla="*/ 2200085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71986 w 2147054"/>
                  <a:gd name="connsiteY24" fmla="*/ 2862643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60993 w 2147054"/>
                  <a:gd name="connsiteY24" fmla="*/ 2294391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50270 w 2147054"/>
                  <a:gd name="connsiteY25" fmla="*/ 2884406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46516 w 2147054"/>
                  <a:gd name="connsiteY24" fmla="*/ 2386279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732038 w 2147054"/>
                  <a:gd name="connsiteY25" fmla="*/ 2780429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758580 w 2147054"/>
                  <a:gd name="connsiteY26" fmla="*/ 2925514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748929 w 2147054"/>
                  <a:gd name="connsiteY27" fmla="*/ 3106872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23728 w 2147054"/>
                  <a:gd name="connsiteY28" fmla="*/ 3102035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09251 w 2147054"/>
                  <a:gd name="connsiteY29" fmla="*/ 2942441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62334 w 2147054"/>
                  <a:gd name="connsiteY35" fmla="*/ 115546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22940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47054" h="4330639">
                    <a:moveTo>
                      <a:pt x="94635" y="3523641"/>
                    </a:moveTo>
                    <a:cubicBezTo>
                      <a:pt x="202097" y="4048889"/>
                      <a:pt x="572564" y="4339581"/>
                      <a:pt x="938203" y="4330430"/>
                    </a:cubicBezTo>
                    <a:cubicBezTo>
                      <a:pt x="1592896" y="4303831"/>
                      <a:pt x="1796382" y="3767014"/>
                      <a:pt x="1802011" y="3474424"/>
                    </a:cubicBezTo>
                    <a:lnTo>
                      <a:pt x="1674223" y="3231052"/>
                    </a:lnTo>
                    <a:lnTo>
                      <a:pt x="581097" y="4076529"/>
                    </a:lnTo>
                    <a:cubicBezTo>
                      <a:pt x="324914" y="3876490"/>
                      <a:pt x="238873" y="3594118"/>
                      <a:pt x="243296" y="3401879"/>
                    </a:cubicBezTo>
                    <a:cubicBezTo>
                      <a:pt x="233243" y="3250748"/>
                      <a:pt x="227399" y="3211125"/>
                      <a:pt x="231230" y="3169743"/>
                    </a:cubicBezTo>
                    <a:lnTo>
                      <a:pt x="319367" y="3160841"/>
                    </a:lnTo>
                    <a:lnTo>
                      <a:pt x="323124" y="3071321"/>
                    </a:lnTo>
                    <a:lnTo>
                      <a:pt x="511661" y="2854845"/>
                    </a:lnTo>
                    <a:cubicBezTo>
                      <a:pt x="545534" y="2818961"/>
                      <a:pt x="555278" y="2800003"/>
                      <a:pt x="555371" y="2747193"/>
                    </a:cubicBezTo>
                    <a:lnTo>
                      <a:pt x="556550" y="1594571"/>
                    </a:lnTo>
                    <a:lnTo>
                      <a:pt x="542073" y="1512297"/>
                    </a:lnTo>
                    <a:lnTo>
                      <a:pt x="368764" y="1302973"/>
                    </a:lnTo>
                    <a:lnTo>
                      <a:pt x="329287" y="1302809"/>
                    </a:lnTo>
                    <a:cubicBezTo>
                      <a:pt x="329169" y="1291550"/>
                      <a:pt x="329052" y="1280290"/>
                      <a:pt x="328934" y="1269031"/>
                    </a:cubicBezTo>
                    <a:lnTo>
                      <a:pt x="356286" y="1268519"/>
                    </a:lnTo>
                    <a:lnTo>
                      <a:pt x="353118" y="1138495"/>
                    </a:lnTo>
                    <a:lnTo>
                      <a:pt x="234935" y="1138830"/>
                    </a:lnTo>
                    <a:cubicBezTo>
                      <a:pt x="235070" y="1066971"/>
                      <a:pt x="235204" y="995113"/>
                      <a:pt x="235339" y="923254"/>
                    </a:cubicBezTo>
                    <a:cubicBezTo>
                      <a:pt x="259816" y="529878"/>
                      <a:pt x="401502" y="393377"/>
                      <a:pt x="603374" y="237848"/>
                    </a:cubicBezTo>
                    <a:lnTo>
                      <a:pt x="1680415" y="1068728"/>
                    </a:lnTo>
                    <a:lnTo>
                      <a:pt x="1676542" y="1356169"/>
                    </a:lnTo>
                    <a:lnTo>
                      <a:pt x="1633111" y="1704376"/>
                    </a:lnTo>
                    <a:cubicBezTo>
                      <a:pt x="1633915" y="2000190"/>
                      <a:pt x="1634720" y="2296004"/>
                      <a:pt x="1635524" y="2591818"/>
                    </a:cubicBezTo>
                    <a:lnTo>
                      <a:pt x="1671717" y="2867480"/>
                    </a:lnTo>
                    <a:cubicBezTo>
                      <a:pt x="1672521" y="2982742"/>
                      <a:pt x="1673326" y="3098005"/>
                      <a:pt x="1674130" y="3213267"/>
                    </a:cubicBezTo>
                    <a:lnTo>
                      <a:pt x="1804424" y="3462334"/>
                    </a:lnTo>
                    <a:cubicBezTo>
                      <a:pt x="1805228" y="3332562"/>
                      <a:pt x="1813273" y="3098812"/>
                      <a:pt x="1814077" y="2969040"/>
                    </a:cubicBezTo>
                    <a:cubicBezTo>
                      <a:pt x="1826141" y="2911812"/>
                      <a:pt x="1838206" y="2912617"/>
                      <a:pt x="1850270" y="2884406"/>
                    </a:cubicBezTo>
                    <a:lnTo>
                      <a:pt x="2115686" y="2642597"/>
                    </a:lnTo>
                    <a:cubicBezTo>
                      <a:pt x="2147055" y="2597459"/>
                      <a:pt x="2144640" y="2591010"/>
                      <a:pt x="2144641" y="2550708"/>
                    </a:cubicBezTo>
                    <a:cubicBezTo>
                      <a:pt x="2145445" y="2287136"/>
                      <a:pt x="2146250" y="2013891"/>
                      <a:pt x="2147054" y="1750319"/>
                    </a:cubicBezTo>
                    <a:cubicBezTo>
                      <a:pt x="2140620" y="1687450"/>
                      <a:pt x="2139011" y="1689866"/>
                      <a:pt x="2106035" y="1663267"/>
                    </a:cubicBezTo>
                    <a:lnTo>
                      <a:pt x="1826140" y="1385187"/>
                    </a:lnTo>
                    <a:lnTo>
                      <a:pt x="1874398" y="1165140"/>
                    </a:lnTo>
                    <a:cubicBezTo>
                      <a:pt x="1890738" y="1129976"/>
                      <a:pt x="1878123" y="1109321"/>
                      <a:pt x="1879986" y="1081411"/>
                    </a:cubicBezTo>
                    <a:lnTo>
                      <a:pt x="1816630" y="913332"/>
                    </a:lnTo>
                    <a:cubicBezTo>
                      <a:pt x="1768056" y="326644"/>
                      <a:pt x="1396372" y="6342"/>
                      <a:pt x="958163" y="0"/>
                    </a:cubicBezTo>
                    <a:cubicBezTo>
                      <a:pt x="453452" y="10248"/>
                      <a:pt x="141974" y="375685"/>
                      <a:pt x="109261" y="858457"/>
                    </a:cubicBezTo>
                    <a:lnTo>
                      <a:pt x="94804" y="1146972"/>
                    </a:lnTo>
                    <a:lnTo>
                      <a:pt x="9907" y="1521969"/>
                    </a:lnTo>
                    <a:cubicBezTo>
                      <a:pt x="6605" y="1940882"/>
                      <a:pt x="3302" y="2359795"/>
                      <a:pt x="0" y="2778708"/>
                    </a:cubicBezTo>
                    <a:lnTo>
                      <a:pt x="95870" y="3178922"/>
                    </a:lnTo>
                    <a:cubicBezTo>
                      <a:pt x="95458" y="3293828"/>
                      <a:pt x="95047" y="3408735"/>
                      <a:pt x="94635" y="3523641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G009">
                <a:extLst>
                  <a:ext uri="{FF2B5EF4-FFF2-40B4-BE49-F238E27FC236}">
                    <a16:creationId xmlns:a16="http://schemas.microsoft.com/office/drawing/2014/main" id="{466BCA00-EA0D-4CFE-8C9E-F4312DA037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26920" y="1160627"/>
                <a:ext cx="183283" cy="616199"/>
              </a:xfrm>
              <a:custGeom>
                <a:avLst/>
                <a:gdLst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631371 h 2394857"/>
                  <a:gd name="connsiteX5" fmla="*/ 250371 w 533400"/>
                  <a:gd name="connsiteY5" fmla="*/ 391885 h 2394857"/>
                  <a:gd name="connsiteX6" fmla="*/ 228600 w 533400"/>
                  <a:gd name="connsiteY6" fmla="*/ 10885 h 2394857"/>
                  <a:gd name="connsiteX7" fmla="*/ 108857 w 533400"/>
                  <a:gd name="connsiteY7" fmla="*/ 0 h 2394857"/>
                  <a:gd name="connsiteX8" fmla="*/ 119742 w 533400"/>
                  <a:gd name="connsiteY8" fmla="*/ 326571 h 2394857"/>
                  <a:gd name="connsiteX9" fmla="*/ 0 w 533400"/>
                  <a:gd name="connsiteY9" fmla="*/ 609600 h 2394857"/>
                  <a:gd name="connsiteX10" fmla="*/ 21771 w 533400"/>
                  <a:gd name="connsiteY10" fmla="*/ 1774371 h 2394857"/>
                  <a:gd name="connsiteX11" fmla="*/ 119742 w 533400"/>
                  <a:gd name="connsiteY11" fmla="*/ 2024743 h 2394857"/>
                  <a:gd name="connsiteX12" fmla="*/ 108857 w 533400"/>
                  <a:gd name="connsiteY12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250371 w 533400"/>
                  <a:gd name="connsiteY6" fmla="*/ 391885 h 2394857"/>
                  <a:gd name="connsiteX7" fmla="*/ 228600 w 533400"/>
                  <a:gd name="connsiteY7" fmla="*/ 10885 h 2394857"/>
                  <a:gd name="connsiteX8" fmla="*/ 108857 w 533400"/>
                  <a:gd name="connsiteY8" fmla="*/ 0 h 2394857"/>
                  <a:gd name="connsiteX9" fmla="*/ 119742 w 533400"/>
                  <a:gd name="connsiteY9" fmla="*/ 326571 h 2394857"/>
                  <a:gd name="connsiteX10" fmla="*/ 0 w 533400"/>
                  <a:gd name="connsiteY10" fmla="*/ 609600 h 2394857"/>
                  <a:gd name="connsiteX11" fmla="*/ 21771 w 533400"/>
                  <a:gd name="connsiteY11" fmla="*/ 1774371 h 2394857"/>
                  <a:gd name="connsiteX12" fmla="*/ 119742 w 533400"/>
                  <a:gd name="connsiteY12" fmla="*/ 2024743 h 2394857"/>
                  <a:gd name="connsiteX13" fmla="*/ 108857 w 533400"/>
                  <a:gd name="connsiteY13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293914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424543 w 533400"/>
                  <a:gd name="connsiteY6" fmla="*/ 457200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91886 w 533400"/>
                  <a:gd name="connsiteY6" fmla="*/ 489857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391885 w 533400"/>
                  <a:gd name="connsiteY3" fmla="*/ 1926771 h 2394857"/>
                  <a:gd name="connsiteX4" fmla="*/ 533400 w 533400"/>
                  <a:gd name="connsiteY4" fmla="*/ 1774371 h 2394857"/>
                  <a:gd name="connsiteX5" fmla="*/ 522514 w 533400"/>
                  <a:gd name="connsiteY5" fmla="*/ 762000 h 2394857"/>
                  <a:gd name="connsiteX6" fmla="*/ 522514 w 533400"/>
                  <a:gd name="connsiteY6" fmla="*/ 609600 h 2394857"/>
                  <a:gd name="connsiteX7" fmla="*/ 391886 w 533400"/>
                  <a:gd name="connsiteY7" fmla="*/ 489857 h 2394857"/>
                  <a:gd name="connsiteX8" fmla="*/ 250371 w 533400"/>
                  <a:gd name="connsiteY8" fmla="*/ 337457 h 2394857"/>
                  <a:gd name="connsiteX9" fmla="*/ 228600 w 533400"/>
                  <a:gd name="connsiteY9" fmla="*/ 10885 h 2394857"/>
                  <a:gd name="connsiteX10" fmla="*/ 108857 w 533400"/>
                  <a:gd name="connsiteY10" fmla="*/ 0 h 2394857"/>
                  <a:gd name="connsiteX11" fmla="*/ 119742 w 533400"/>
                  <a:gd name="connsiteY11" fmla="*/ 326571 h 2394857"/>
                  <a:gd name="connsiteX12" fmla="*/ 0 w 533400"/>
                  <a:gd name="connsiteY12" fmla="*/ 609600 h 2394857"/>
                  <a:gd name="connsiteX13" fmla="*/ 21771 w 533400"/>
                  <a:gd name="connsiteY13" fmla="*/ 1774371 h 2394857"/>
                  <a:gd name="connsiteX14" fmla="*/ 119742 w 533400"/>
                  <a:gd name="connsiteY14" fmla="*/ 2024743 h 2394857"/>
                  <a:gd name="connsiteX15" fmla="*/ 108857 w 533400"/>
                  <a:gd name="connsiteY15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391885 w 533400"/>
                  <a:gd name="connsiteY4" fmla="*/ 1926771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424542 w 533400"/>
                  <a:gd name="connsiteY4" fmla="*/ 1894114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39485 w 533400"/>
                  <a:gd name="connsiteY3" fmla="*/ 2057400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72143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72151 w 533400"/>
                  <a:gd name="connsiteY11" fmla="*/ 10478 h 2383971"/>
                  <a:gd name="connsiteX12" fmla="*/ 108857 w 533400"/>
                  <a:gd name="connsiteY12" fmla="*/ 0 h 2383971"/>
                  <a:gd name="connsiteX13" fmla="*/ 119742 w 533400"/>
                  <a:gd name="connsiteY13" fmla="*/ 326571 h 2383971"/>
                  <a:gd name="connsiteX14" fmla="*/ 0 w 533400"/>
                  <a:gd name="connsiteY14" fmla="*/ 609600 h 2383971"/>
                  <a:gd name="connsiteX15" fmla="*/ 21771 w 533400"/>
                  <a:gd name="connsiteY15" fmla="*/ 1774371 h 2383971"/>
                  <a:gd name="connsiteX16" fmla="*/ 119742 w 533400"/>
                  <a:gd name="connsiteY16" fmla="*/ 2024743 h 2383971"/>
                  <a:gd name="connsiteX17" fmla="*/ 108857 w 533400"/>
                  <a:gd name="connsiteY17" fmla="*/ 2383971 h 2383971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666324 w 666324"/>
                  <a:gd name="connsiteY11" fmla="*/ 0 h 3245600"/>
                  <a:gd name="connsiteX12" fmla="*/ 108857 w 666324"/>
                  <a:gd name="connsiteY12" fmla="*/ 861629 h 3245600"/>
                  <a:gd name="connsiteX13" fmla="*/ 119742 w 666324"/>
                  <a:gd name="connsiteY13" fmla="*/ 1188200 h 3245600"/>
                  <a:gd name="connsiteX14" fmla="*/ 0 w 666324"/>
                  <a:gd name="connsiteY14" fmla="*/ 1471229 h 3245600"/>
                  <a:gd name="connsiteX15" fmla="*/ 21771 w 666324"/>
                  <a:gd name="connsiteY15" fmla="*/ 2636000 h 3245600"/>
                  <a:gd name="connsiteX16" fmla="*/ 119742 w 666324"/>
                  <a:gd name="connsiteY16" fmla="*/ 2886372 h 3245600"/>
                  <a:gd name="connsiteX17" fmla="*/ 108857 w 666324"/>
                  <a:gd name="connsiteY17" fmla="*/ 3245600 h 3245600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412902 w 666324"/>
                  <a:gd name="connsiteY11" fmla="*/ 501064 h 3245600"/>
                  <a:gd name="connsiteX12" fmla="*/ 666324 w 666324"/>
                  <a:gd name="connsiteY12" fmla="*/ 0 h 3245600"/>
                  <a:gd name="connsiteX13" fmla="*/ 108857 w 666324"/>
                  <a:gd name="connsiteY13" fmla="*/ 861629 h 3245600"/>
                  <a:gd name="connsiteX14" fmla="*/ 119742 w 666324"/>
                  <a:gd name="connsiteY14" fmla="*/ 1188200 h 3245600"/>
                  <a:gd name="connsiteX15" fmla="*/ 0 w 666324"/>
                  <a:gd name="connsiteY15" fmla="*/ 1471229 h 3245600"/>
                  <a:gd name="connsiteX16" fmla="*/ 21771 w 666324"/>
                  <a:gd name="connsiteY16" fmla="*/ 2636000 h 3245600"/>
                  <a:gd name="connsiteX17" fmla="*/ 119742 w 666324"/>
                  <a:gd name="connsiteY17" fmla="*/ 2886372 h 3245600"/>
                  <a:gd name="connsiteX18" fmla="*/ 108857 w 66632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705354 w 1705354"/>
                  <a:gd name="connsiteY11" fmla="*/ 421781 h 3245600"/>
                  <a:gd name="connsiteX12" fmla="*/ 666324 w 1705354"/>
                  <a:gd name="connsiteY12" fmla="*/ 0 h 3245600"/>
                  <a:gd name="connsiteX13" fmla="*/ 108857 w 1705354"/>
                  <a:gd name="connsiteY13" fmla="*/ 861629 h 3245600"/>
                  <a:gd name="connsiteX14" fmla="*/ 119742 w 1705354"/>
                  <a:gd name="connsiteY14" fmla="*/ 1188200 h 3245600"/>
                  <a:gd name="connsiteX15" fmla="*/ 0 w 1705354"/>
                  <a:gd name="connsiteY15" fmla="*/ 1471229 h 3245600"/>
                  <a:gd name="connsiteX16" fmla="*/ 21771 w 1705354"/>
                  <a:gd name="connsiteY16" fmla="*/ 2636000 h 3245600"/>
                  <a:gd name="connsiteX17" fmla="*/ 119742 w 1705354"/>
                  <a:gd name="connsiteY17" fmla="*/ 2886372 h 3245600"/>
                  <a:gd name="connsiteX18" fmla="*/ 108857 w 170535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040122 w 1705354"/>
                  <a:gd name="connsiteY11" fmla="*/ 624745 h 3245600"/>
                  <a:gd name="connsiteX12" fmla="*/ 1705354 w 1705354"/>
                  <a:gd name="connsiteY12" fmla="*/ 421781 h 3245600"/>
                  <a:gd name="connsiteX13" fmla="*/ 666324 w 1705354"/>
                  <a:gd name="connsiteY13" fmla="*/ 0 h 3245600"/>
                  <a:gd name="connsiteX14" fmla="*/ 108857 w 1705354"/>
                  <a:gd name="connsiteY14" fmla="*/ 861629 h 3245600"/>
                  <a:gd name="connsiteX15" fmla="*/ 119742 w 1705354"/>
                  <a:gd name="connsiteY15" fmla="*/ 1188200 h 3245600"/>
                  <a:gd name="connsiteX16" fmla="*/ 0 w 1705354"/>
                  <a:gd name="connsiteY16" fmla="*/ 1471229 h 3245600"/>
                  <a:gd name="connsiteX17" fmla="*/ 21771 w 1705354"/>
                  <a:gd name="connsiteY17" fmla="*/ 2636000 h 3245600"/>
                  <a:gd name="connsiteX18" fmla="*/ 119742 w 1705354"/>
                  <a:gd name="connsiteY18" fmla="*/ 2886372 h 3245600"/>
                  <a:gd name="connsiteX19" fmla="*/ 108857 w 1705354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108857 w 1870079"/>
                  <a:gd name="connsiteY14" fmla="*/ 861629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99354 w 1870079"/>
                  <a:gd name="connsiteY14" fmla="*/ 807717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705354 w 1870079"/>
                  <a:gd name="connsiteY12" fmla="*/ 472521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672660 w 1870079"/>
                  <a:gd name="connsiteY11" fmla="*/ 970417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455100 w 1870079"/>
                  <a:gd name="connsiteY12" fmla="*/ 811852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2264 w 1870079"/>
                  <a:gd name="connsiteY10" fmla="*/ 1119875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84897 w 1870079"/>
                  <a:gd name="connsiteY17" fmla="*/ 1146972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60278 w 1879986"/>
                  <a:gd name="connsiteY9" fmla="*/ 1249826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34935 w 1879986"/>
                  <a:gd name="connsiteY9" fmla="*/ 1138830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62622 w 1879986"/>
                  <a:gd name="connsiteY9" fmla="*/ 1341459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3118 w 1879986"/>
                  <a:gd name="connsiteY9" fmla="*/ 1138495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75293 w 1879986"/>
                  <a:gd name="connsiteY9" fmla="*/ 1293890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28934 w 1879986"/>
                  <a:gd name="connsiteY8" fmla="*/ 1269031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59454 w 1879986"/>
                  <a:gd name="connsiteY8" fmla="*/ 1309746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34112 w 1879986"/>
                  <a:gd name="connsiteY8" fmla="*/ 1290719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24261 w 1879986"/>
                  <a:gd name="connsiteY8" fmla="*/ 1397278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319367 w 1879986"/>
                  <a:gd name="connsiteY2" fmla="*/ 3160841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81901 w 1879986"/>
                  <a:gd name="connsiteY2" fmla="*/ 3247122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95870 w 1879986"/>
                  <a:gd name="connsiteY25" fmla="*/ 317892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118764 w 1879986"/>
                  <a:gd name="connsiteY26" fmla="*/ 3296340 h 4072550"/>
                  <a:gd name="connsiteX0" fmla="*/ 94635 w 1879986"/>
                  <a:gd name="connsiteY0" fmla="*/ 3523641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94635 w 1879986"/>
                  <a:gd name="connsiteY26" fmla="*/ 3523641 h 4072550"/>
                  <a:gd name="connsiteX0" fmla="*/ 94635 w 1879986"/>
                  <a:gd name="connsiteY0" fmla="*/ 3523641 h 4072550"/>
                  <a:gd name="connsiteX1" fmla="*/ 351874 w 1879986"/>
                  <a:gd name="connsiteY1" fmla="*/ 3820211 h 4072550"/>
                  <a:gd name="connsiteX2" fmla="*/ 573952 w 1879986"/>
                  <a:gd name="connsiteY2" fmla="*/ 4072550 h 4072550"/>
                  <a:gd name="connsiteX3" fmla="*/ 231230 w 1879986"/>
                  <a:gd name="connsiteY3" fmla="*/ 3169743 h 4072550"/>
                  <a:gd name="connsiteX4" fmla="*/ 319367 w 1879986"/>
                  <a:gd name="connsiteY4" fmla="*/ 3160841 h 4072550"/>
                  <a:gd name="connsiteX5" fmla="*/ 323124 w 1879986"/>
                  <a:gd name="connsiteY5" fmla="*/ 3071321 h 4072550"/>
                  <a:gd name="connsiteX6" fmla="*/ 511661 w 1879986"/>
                  <a:gd name="connsiteY6" fmla="*/ 2854845 h 4072550"/>
                  <a:gd name="connsiteX7" fmla="*/ 555371 w 1879986"/>
                  <a:gd name="connsiteY7" fmla="*/ 2747193 h 4072550"/>
                  <a:gd name="connsiteX8" fmla="*/ 556550 w 1879986"/>
                  <a:gd name="connsiteY8" fmla="*/ 1594571 h 4072550"/>
                  <a:gd name="connsiteX9" fmla="*/ 542073 w 1879986"/>
                  <a:gd name="connsiteY9" fmla="*/ 1512297 h 4072550"/>
                  <a:gd name="connsiteX10" fmla="*/ 368764 w 1879986"/>
                  <a:gd name="connsiteY10" fmla="*/ 1302973 h 4072550"/>
                  <a:gd name="connsiteX11" fmla="*/ 329287 w 1879986"/>
                  <a:gd name="connsiteY11" fmla="*/ 1302809 h 4072550"/>
                  <a:gd name="connsiteX12" fmla="*/ 328934 w 1879986"/>
                  <a:gd name="connsiteY12" fmla="*/ 1269031 h 4072550"/>
                  <a:gd name="connsiteX13" fmla="*/ 356286 w 1879986"/>
                  <a:gd name="connsiteY13" fmla="*/ 1268519 h 4072550"/>
                  <a:gd name="connsiteX14" fmla="*/ 353118 w 1879986"/>
                  <a:gd name="connsiteY14" fmla="*/ 1138495 h 4072550"/>
                  <a:gd name="connsiteX15" fmla="*/ 234935 w 1879986"/>
                  <a:gd name="connsiteY15" fmla="*/ 1138830 h 4072550"/>
                  <a:gd name="connsiteX16" fmla="*/ 235339 w 1879986"/>
                  <a:gd name="connsiteY16" fmla="*/ 923254 h 4072550"/>
                  <a:gd name="connsiteX17" fmla="*/ 603374 w 1879986"/>
                  <a:gd name="connsiteY17" fmla="*/ 237848 h 4072550"/>
                  <a:gd name="connsiteX18" fmla="*/ 1680415 w 1879986"/>
                  <a:gd name="connsiteY18" fmla="*/ 1068728 h 4072550"/>
                  <a:gd name="connsiteX19" fmla="*/ 1879986 w 1879986"/>
                  <a:gd name="connsiteY19" fmla="*/ 1081411 h 4072550"/>
                  <a:gd name="connsiteX20" fmla="*/ 1816630 w 1879986"/>
                  <a:gd name="connsiteY20" fmla="*/ 913332 h 4072550"/>
                  <a:gd name="connsiteX21" fmla="*/ 958163 w 1879986"/>
                  <a:gd name="connsiteY21" fmla="*/ 0 h 4072550"/>
                  <a:gd name="connsiteX22" fmla="*/ 109261 w 1879986"/>
                  <a:gd name="connsiteY22" fmla="*/ 858457 h 4072550"/>
                  <a:gd name="connsiteX23" fmla="*/ 94804 w 1879986"/>
                  <a:gd name="connsiteY23" fmla="*/ 1146972 h 4072550"/>
                  <a:gd name="connsiteX24" fmla="*/ 9907 w 1879986"/>
                  <a:gd name="connsiteY24" fmla="*/ 1521969 h 4072550"/>
                  <a:gd name="connsiteX25" fmla="*/ 0 w 1879986"/>
                  <a:gd name="connsiteY25" fmla="*/ 2778708 h 4072550"/>
                  <a:gd name="connsiteX26" fmla="*/ 95870 w 1879986"/>
                  <a:gd name="connsiteY26" fmla="*/ 3178922 h 4072550"/>
                  <a:gd name="connsiteX27" fmla="*/ 94635 w 1879986"/>
                  <a:gd name="connsiteY27" fmla="*/ 3523641 h 4072550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231230 w 1879986"/>
                  <a:gd name="connsiteY3" fmla="*/ 3169743 h 4136982"/>
                  <a:gd name="connsiteX4" fmla="*/ 319367 w 1879986"/>
                  <a:gd name="connsiteY4" fmla="*/ 3160841 h 4136982"/>
                  <a:gd name="connsiteX5" fmla="*/ 323124 w 1879986"/>
                  <a:gd name="connsiteY5" fmla="*/ 3071321 h 4136982"/>
                  <a:gd name="connsiteX6" fmla="*/ 511661 w 1879986"/>
                  <a:gd name="connsiteY6" fmla="*/ 2854845 h 4136982"/>
                  <a:gd name="connsiteX7" fmla="*/ 555371 w 1879986"/>
                  <a:gd name="connsiteY7" fmla="*/ 2747193 h 4136982"/>
                  <a:gd name="connsiteX8" fmla="*/ 556550 w 1879986"/>
                  <a:gd name="connsiteY8" fmla="*/ 1594571 h 4136982"/>
                  <a:gd name="connsiteX9" fmla="*/ 542073 w 1879986"/>
                  <a:gd name="connsiteY9" fmla="*/ 1512297 h 4136982"/>
                  <a:gd name="connsiteX10" fmla="*/ 368764 w 1879986"/>
                  <a:gd name="connsiteY10" fmla="*/ 1302973 h 4136982"/>
                  <a:gd name="connsiteX11" fmla="*/ 329287 w 1879986"/>
                  <a:gd name="connsiteY11" fmla="*/ 1302809 h 4136982"/>
                  <a:gd name="connsiteX12" fmla="*/ 328934 w 1879986"/>
                  <a:gd name="connsiteY12" fmla="*/ 1269031 h 4136982"/>
                  <a:gd name="connsiteX13" fmla="*/ 356286 w 1879986"/>
                  <a:gd name="connsiteY13" fmla="*/ 1268519 h 4136982"/>
                  <a:gd name="connsiteX14" fmla="*/ 353118 w 1879986"/>
                  <a:gd name="connsiteY14" fmla="*/ 1138495 h 4136982"/>
                  <a:gd name="connsiteX15" fmla="*/ 234935 w 1879986"/>
                  <a:gd name="connsiteY15" fmla="*/ 1138830 h 4136982"/>
                  <a:gd name="connsiteX16" fmla="*/ 235339 w 1879986"/>
                  <a:gd name="connsiteY16" fmla="*/ 923254 h 4136982"/>
                  <a:gd name="connsiteX17" fmla="*/ 603374 w 1879986"/>
                  <a:gd name="connsiteY17" fmla="*/ 237848 h 4136982"/>
                  <a:gd name="connsiteX18" fmla="*/ 1680415 w 1879986"/>
                  <a:gd name="connsiteY18" fmla="*/ 1068728 h 4136982"/>
                  <a:gd name="connsiteX19" fmla="*/ 1879986 w 1879986"/>
                  <a:gd name="connsiteY19" fmla="*/ 1081411 h 4136982"/>
                  <a:gd name="connsiteX20" fmla="*/ 1816630 w 1879986"/>
                  <a:gd name="connsiteY20" fmla="*/ 913332 h 4136982"/>
                  <a:gd name="connsiteX21" fmla="*/ 958163 w 1879986"/>
                  <a:gd name="connsiteY21" fmla="*/ 0 h 4136982"/>
                  <a:gd name="connsiteX22" fmla="*/ 109261 w 1879986"/>
                  <a:gd name="connsiteY22" fmla="*/ 858457 h 4136982"/>
                  <a:gd name="connsiteX23" fmla="*/ 94804 w 1879986"/>
                  <a:gd name="connsiteY23" fmla="*/ 1146972 h 4136982"/>
                  <a:gd name="connsiteX24" fmla="*/ 9907 w 1879986"/>
                  <a:gd name="connsiteY24" fmla="*/ 1521969 h 4136982"/>
                  <a:gd name="connsiteX25" fmla="*/ 0 w 1879986"/>
                  <a:gd name="connsiteY25" fmla="*/ 2778708 h 4136982"/>
                  <a:gd name="connsiteX26" fmla="*/ 95870 w 1879986"/>
                  <a:gd name="connsiteY26" fmla="*/ 3178922 h 4136982"/>
                  <a:gd name="connsiteX27" fmla="*/ 94635 w 1879986"/>
                  <a:gd name="connsiteY27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36325 w 1879986"/>
                  <a:gd name="connsiteY3" fmla="*/ 3723487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1478686 w 1879986"/>
                  <a:gd name="connsiteY3" fmla="*/ 3384953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581097 w 1879986"/>
                  <a:gd name="connsiteY3" fmla="*/ 4076529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076529"/>
                  <a:gd name="connsiteX1" fmla="*/ 1818901 w 1879986"/>
                  <a:gd name="connsiteY1" fmla="*/ 3237450 h 4076529"/>
                  <a:gd name="connsiteX2" fmla="*/ 1674223 w 1879986"/>
                  <a:gd name="connsiteY2" fmla="*/ 3231052 h 4076529"/>
                  <a:gd name="connsiteX3" fmla="*/ 581097 w 1879986"/>
                  <a:gd name="connsiteY3" fmla="*/ 4076529 h 4076529"/>
                  <a:gd name="connsiteX4" fmla="*/ 231230 w 1879986"/>
                  <a:gd name="connsiteY4" fmla="*/ 3169743 h 4076529"/>
                  <a:gd name="connsiteX5" fmla="*/ 319367 w 1879986"/>
                  <a:gd name="connsiteY5" fmla="*/ 3160841 h 4076529"/>
                  <a:gd name="connsiteX6" fmla="*/ 323124 w 1879986"/>
                  <a:gd name="connsiteY6" fmla="*/ 3071321 h 4076529"/>
                  <a:gd name="connsiteX7" fmla="*/ 511661 w 1879986"/>
                  <a:gd name="connsiteY7" fmla="*/ 2854845 h 4076529"/>
                  <a:gd name="connsiteX8" fmla="*/ 555371 w 1879986"/>
                  <a:gd name="connsiteY8" fmla="*/ 2747193 h 4076529"/>
                  <a:gd name="connsiteX9" fmla="*/ 556550 w 1879986"/>
                  <a:gd name="connsiteY9" fmla="*/ 1594571 h 4076529"/>
                  <a:gd name="connsiteX10" fmla="*/ 542073 w 1879986"/>
                  <a:gd name="connsiteY10" fmla="*/ 1512297 h 4076529"/>
                  <a:gd name="connsiteX11" fmla="*/ 368764 w 1879986"/>
                  <a:gd name="connsiteY11" fmla="*/ 1302973 h 4076529"/>
                  <a:gd name="connsiteX12" fmla="*/ 329287 w 1879986"/>
                  <a:gd name="connsiteY12" fmla="*/ 1302809 h 4076529"/>
                  <a:gd name="connsiteX13" fmla="*/ 328934 w 1879986"/>
                  <a:gd name="connsiteY13" fmla="*/ 1269031 h 4076529"/>
                  <a:gd name="connsiteX14" fmla="*/ 356286 w 1879986"/>
                  <a:gd name="connsiteY14" fmla="*/ 1268519 h 4076529"/>
                  <a:gd name="connsiteX15" fmla="*/ 353118 w 1879986"/>
                  <a:gd name="connsiteY15" fmla="*/ 1138495 h 4076529"/>
                  <a:gd name="connsiteX16" fmla="*/ 234935 w 1879986"/>
                  <a:gd name="connsiteY16" fmla="*/ 1138830 h 4076529"/>
                  <a:gd name="connsiteX17" fmla="*/ 235339 w 1879986"/>
                  <a:gd name="connsiteY17" fmla="*/ 923254 h 4076529"/>
                  <a:gd name="connsiteX18" fmla="*/ 603374 w 1879986"/>
                  <a:gd name="connsiteY18" fmla="*/ 237848 h 4076529"/>
                  <a:gd name="connsiteX19" fmla="*/ 1680415 w 1879986"/>
                  <a:gd name="connsiteY19" fmla="*/ 1068728 h 4076529"/>
                  <a:gd name="connsiteX20" fmla="*/ 1879986 w 1879986"/>
                  <a:gd name="connsiteY20" fmla="*/ 1081411 h 4076529"/>
                  <a:gd name="connsiteX21" fmla="*/ 1816630 w 1879986"/>
                  <a:gd name="connsiteY21" fmla="*/ 913332 h 4076529"/>
                  <a:gd name="connsiteX22" fmla="*/ 958163 w 1879986"/>
                  <a:gd name="connsiteY22" fmla="*/ 0 h 4076529"/>
                  <a:gd name="connsiteX23" fmla="*/ 109261 w 1879986"/>
                  <a:gd name="connsiteY23" fmla="*/ 858457 h 4076529"/>
                  <a:gd name="connsiteX24" fmla="*/ 94804 w 1879986"/>
                  <a:gd name="connsiteY24" fmla="*/ 1146972 h 4076529"/>
                  <a:gd name="connsiteX25" fmla="*/ 9907 w 1879986"/>
                  <a:gd name="connsiteY25" fmla="*/ 1521969 h 4076529"/>
                  <a:gd name="connsiteX26" fmla="*/ 0 w 1879986"/>
                  <a:gd name="connsiteY26" fmla="*/ 2778708 h 4076529"/>
                  <a:gd name="connsiteX27" fmla="*/ 95870 w 1879986"/>
                  <a:gd name="connsiteY27" fmla="*/ 3178922 h 4076529"/>
                  <a:gd name="connsiteX28" fmla="*/ 94635 w 1879986"/>
                  <a:gd name="connsiteY28" fmla="*/ 3523641 h 4076529"/>
                  <a:gd name="connsiteX0" fmla="*/ 94635 w 1879986"/>
                  <a:gd name="connsiteY0" fmla="*/ 3523641 h 4076529"/>
                  <a:gd name="connsiteX1" fmla="*/ 1003350 w 1879986"/>
                  <a:gd name="connsiteY1" fmla="*/ 3372863 h 4076529"/>
                  <a:gd name="connsiteX2" fmla="*/ 1818901 w 1879986"/>
                  <a:gd name="connsiteY2" fmla="*/ 3237450 h 4076529"/>
                  <a:gd name="connsiteX3" fmla="*/ 1674223 w 1879986"/>
                  <a:gd name="connsiteY3" fmla="*/ 3231052 h 4076529"/>
                  <a:gd name="connsiteX4" fmla="*/ 581097 w 1879986"/>
                  <a:gd name="connsiteY4" fmla="*/ 4076529 h 4076529"/>
                  <a:gd name="connsiteX5" fmla="*/ 231230 w 1879986"/>
                  <a:gd name="connsiteY5" fmla="*/ 3169743 h 4076529"/>
                  <a:gd name="connsiteX6" fmla="*/ 319367 w 1879986"/>
                  <a:gd name="connsiteY6" fmla="*/ 3160841 h 4076529"/>
                  <a:gd name="connsiteX7" fmla="*/ 323124 w 1879986"/>
                  <a:gd name="connsiteY7" fmla="*/ 3071321 h 4076529"/>
                  <a:gd name="connsiteX8" fmla="*/ 511661 w 1879986"/>
                  <a:gd name="connsiteY8" fmla="*/ 2854845 h 4076529"/>
                  <a:gd name="connsiteX9" fmla="*/ 555371 w 1879986"/>
                  <a:gd name="connsiteY9" fmla="*/ 2747193 h 4076529"/>
                  <a:gd name="connsiteX10" fmla="*/ 556550 w 1879986"/>
                  <a:gd name="connsiteY10" fmla="*/ 1594571 h 4076529"/>
                  <a:gd name="connsiteX11" fmla="*/ 542073 w 1879986"/>
                  <a:gd name="connsiteY11" fmla="*/ 1512297 h 4076529"/>
                  <a:gd name="connsiteX12" fmla="*/ 368764 w 1879986"/>
                  <a:gd name="connsiteY12" fmla="*/ 1302973 h 4076529"/>
                  <a:gd name="connsiteX13" fmla="*/ 329287 w 1879986"/>
                  <a:gd name="connsiteY13" fmla="*/ 1302809 h 4076529"/>
                  <a:gd name="connsiteX14" fmla="*/ 328934 w 1879986"/>
                  <a:gd name="connsiteY14" fmla="*/ 1269031 h 4076529"/>
                  <a:gd name="connsiteX15" fmla="*/ 356286 w 1879986"/>
                  <a:gd name="connsiteY15" fmla="*/ 1268519 h 4076529"/>
                  <a:gd name="connsiteX16" fmla="*/ 353118 w 1879986"/>
                  <a:gd name="connsiteY16" fmla="*/ 1138495 h 4076529"/>
                  <a:gd name="connsiteX17" fmla="*/ 234935 w 1879986"/>
                  <a:gd name="connsiteY17" fmla="*/ 1138830 h 4076529"/>
                  <a:gd name="connsiteX18" fmla="*/ 235339 w 1879986"/>
                  <a:gd name="connsiteY18" fmla="*/ 923254 h 4076529"/>
                  <a:gd name="connsiteX19" fmla="*/ 603374 w 1879986"/>
                  <a:gd name="connsiteY19" fmla="*/ 237848 h 4076529"/>
                  <a:gd name="connsiteX20" fmla="*/ 1680415 w 1879986"/>
                  <a:gd name="connsiteY20" fmla="*/ 1068728 h 4076529"/>
                  <a:gd name="connsiteX21" fmla="*/ 1879986 w 1879986"/>
                  <a:gd name="connsiteY21" fmla="*/ 1081411 h 4076529"/>
                  <a:gd name="connsiteX22" fmla="*/ 1816630 w 1879986"/>
                  <a:gd name="connsiteY22" fmla="*/ 913332 h 4076529"/>
                  <a:gd name="connsiteX23" fmla="*/ 958163 w 1879986"/>
                  <a:gd name="connsiteY23" fmla="*/ 0 h 4076529"/>
                  <a:gd name="connsiteX24" fmla="*/ 109261 w 1879986"/>
                  <a:gd name="connsiteY24" fmla="*/ 858457 h 4076529"/>
                  <a:gd name="connsiteX25" fmla="*/ 94804 w 1879986"/>
                  <a:gd name="connsiteY25" fmla="*/ 1146972 h 4076529"/>
                  <a:gd name="connsiteX26" fmla="*/ 9907 w 1879986"/>
                  <a:gd name="connsiteY26" fmla="*/ 1521969 h 4076529"/>
                  <a:gd name="connsiteX27" fmla="*/ 0 w 1879986"/>
                  <a:gd name="connsiteY27" fmla="*/ 2778708 h 4076529"/>
                  <a:gd name="connsiteX28" fmla="*/ 95870 w 1879986"/>
                  <a:gd name="connsiteY28" fmla="*/ 3178922 h 4076529"/>
                  <a:gd name="connsiteX29" fmla="*/ 94635 w 1879986"/>
                  <a:gd name="connsiteY29" fmla="*/ 3523641 h 4076529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96378 w 1879986"/>
                  <a:gd name="connsiteY5" fmla="*/ 3409134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77883 w 1879986"/>
                  <a:gd name="connsiteY22" fmla="*/ 1078088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26140 w 1879986"/>
                  <a:gd name="connsiteY22" fmla="*/ 1385187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41689 w 1879986"/>
                  <a:gd name="connsiteY22" fmla="*/ 120382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744103 w 1879986"/>
                  <a:gd name="connsiteY23" fmla="*/ 1370678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734452 w 1879986"/>
                  <a:gd name="connsiteY24" fmla="*/ 1547198 h 4330639"/>
                  <a:gd name="connsiteX25" fmla="*/ 1826140 w 1879986"/>
                  <a:gd name="connsiteY25" fmla="*/ 1385187 h 4330639"/>
                  <a:gd name="connsiteX26" fmla="*/ 1879986 w 1879986"/>
                  <a:gd name="connsiteY26" fmla="*/ 1081411 h 4330639"/>
                  <a:gd name="connsiteX27" fmla="*/ 1816630 w 1879986"/>
                  <a:gd name="connsiteY27" fmla="*/ 913332 h 4330639"/>
                  <a:gd name="connsiteX28" fmla="*/ 958163 w 1879986"/>
                  <a:gd name="connsiteY28" fmla="*/ 0 h 4330639"/>
                  <a:gd name="connsiteX29" fmla="*/ 109261 w 1879986"/>
                  <a:gd name="connsiteY29" fmla="*/ 858457 h 4330639"/>
                  <a:gd name="connsiteX30" fmla="*/ 94804 w 1879986"/>
                  <a:gd name="connsiteY30" fmla="*/ 1146972 h 4330639"/>
                  <a:gd name="connsiteX31" fmla="*/ 9907 w 1879986"/>
                  <a:gd name="connsiteY31" fmla="*/ 1521969 h 4330639"/>
                  <a:gd name="connsiteX32" fmla="*/ 0 w 1879986"/>
                  <a:gd name="connsiteY32" fmla="*/ 2778708 h 4330639"/>
                  <a:gd name="connsiteX33" fmla="*/ 95870 w 1879986"/>
                  <a:gd name="connsiteY33" fmla="*/ 3178922 h 4330639"/>
                  <a:gd name="connsiteX34" fmla="*/ 94635 w 1879986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2106035 w 2106035"/>
                  <a:gd name="connsiteY24" fmla="*/ 1663267 h 4330639"/>
                  <a:gd name="connsiteX25" fmla="*/ 1826140 w 2106035"/>
                  <a:gd name="connsiteY25" fmla="*/ 1385187 h 4330639"/>
                  <a:gd name="connsiteX26" fmla="*/ 1879986 w 2106035"/>
                  <a:gd name="connsiteY26" fmla="*/ 1081411 h 4330639"/>
                  <a:gd name="connsiteX27" fmla="*/ 1816630 w 2106035"/>
                  <a:gd name="connsiteY27" fmla="*/ 913332 h 4330639"/>
                  <a:gd name="connsiteX28" fmla="*/ 958163 w 2106035"/>
                  <a:gd name="connsiteY28" fmla="*/ 0 h 4330639"/>
                  <a:gd name="connsiteX29" fmla="*/ 109261 w 2106035"/>
                  <a:gd name="connsiteY29" fmla="*/ 858457 h 4330639"/>
                  <a:gd name="connsiteX30" fmla="*/ 94804 w 2106035"/>
                  <a:gd name="connsiteY30" fmla="*/ 1146972 h 4330639"/>
                  <a:gd name="connsiteX31" fmla="*/ 9907 w 2106035"/>
                  <a:gd name="connsiteY31" fmla="*/ 1521969 h 4330639"/>
                  <a:gd name="connsiteX32" fmla="*/ 0 w 2106035"/>
                  <a:gd name="connsiteY32" fmla="*/ 2778708 h 4330639"/>
                  <a:gd name="connsiteX33" fmla="*/ 95870 w 2106035"/>
                  <a:gd name="connsiteY33" fmla="*/ 3178922 h 4330639"/>
                  <a:gd name="connsiteX34" fmla="*/ 94635 w 2106035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1797186 w 2106035"/>
                  <a:gd name="connsiteY24" fmla="*/ 1704376 h 4330639"/>
                  <a:gd name="connsiteX25" fmla="*/ 2106035 w 2106035"/>
                  <a:gd name="connsiteY25" fmla="*/ 1663267 h 4330639"/>
                  <a:gd name="connsiteX26" fmla="*/ 1826140 w 2106035"/>
                  <a:gd name="connsiteY26" fmla="*/ 1385187 h 4330639"/>
                  <a:gd name="connsiteX27" fmla="*/ 1879986 w 2106035"/>
                  <a:gd name="connsiteY27" fmla="*/ 1081411 h 4330639"/>
                  <a:gd name="connsiteX28" fmla="*/ 1816630 w 2106035"/>
                  <a:gd name="connsiteY28" fmla="*/ 913332 h 4330639"/>
                  <a:gd name="connsiteX29" fmla="*/ 958163 w 2106035"/>
                  <a:gd name="connsiteY29" fmla="*/ 0 h 4330639"/>
                  <a:gd name="connsiteX30" fmla="*/ 109261 w 2106035"/>
                  <a:gd name="connsiteY30" fmla="*/ 858457 h 4330639"/>
                  <a:gd name="connsiteX31" fmla="*/ 94804 w 2106035"/>
                  <a:gd name="connsiteY31" fmla="*/ 1146972 h 4330639"/>
                  <a:gd name="connsiteX32" fmla="*/ 9907 w 2106035"/>
                  <a:gd name="connsiteY32" fmla="*/ 1521969 h 4330639"/>
                  <a:gd name="connsiteX33" fmla="*/ 0 w 2106035"/>
                  <a:gd name="connsiteY33" fmla="*/ 2778708 h 4330639"/>
                  <a:gd name="connsiteX34" fmla="*/ 95870 w 2106035"/>
                  <a:gd name="connsiteY34" fmla="*/ 3178922 h 4330639"/>
                  <a:gd name="connsiteX35" fmla="*/ 94635 w 2106035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7054 w 2147054"/>
                  <a:gd name="connsiteY24" fmla="*/ 1759991 h 4330639"/>
                  <a:gd name="connsiteX25" fmla="*/ 2106035 w 2147054"/>
                  <a:gd name="connsiteY25" fmla="*/ 1663267 h 4330639"/>
                  <a:gd name="connsiteX26" fmla="*/ 1826140 w 2147054"/>
                  <a:gd name="connsiteY26" fmla="*/ 1385187 h 4330639"/>
                  <a:gd name="connsiteX27" fmla="*/ 1879986 w 2147054"/>
                  <a:gd name="connsiteY27" fmla="*/ 1081411 h 4330639"/>
                  <a:gd name="connsiteX28" fmla="*/ 1816630 w 2147054"/>
                  <a:gd name="connsiteY28" fmla="*/ 913332 h 4330639"/>
                  <a:gd name="connsiteX29" fmla="*/ 958163 w 2147054"/>
                  <a:gd name="connsiteY29" fmla="*/ 0 h 4330639"/>
                  <a:gd name="connsiteX30" fmla="*/ 109261 w 2147054"/>
                  <a:gd name="connsiteY30" fmla="*/ 858457 h 4330639"/>
                  <a:gd name="connsiteX31" fmla="*/ 94804 w 2147054"/>
                  <a:gd name="connsiteY31" fmla="*/ 1146972 h 4330639"/>
                  <a:gd name="connsiteX32" fmla="*/ 9907 w 2147054"/>
                  <a:gd name="connsiteY32" fmla="*/ 1521969 h 4330639"/>
                  <a:gd name="connsiteX33" fmla="*/ 0 w 2147054"/>
                  <a:gd name="connsiteY33" fmla="*/ 2778708 h 4330639"/>
                  <a:gd name="connsiteX34" fmla="*/ 95870 w 2147054"/>
                  <a:gd name="connsiteY34" fmla="*/ 3178922 h 4330639"/>
                  <a:gd name="connsiteX35" fmla="*/ 94635 w 2147054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17831 w 2147054"/>
                  <a:gd name="connsiteY24" fmla="*/ 1740646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4641 w 2147054"/>
                  <a:gd name="connsiteY24" fmla="*/ 2550708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37134 w 2147054"/>
                  <a:gd name="connsiteY24" fmla="*/ 2212175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15686 w 2147054"/>
                  <a:gd name="connsiteY24" fmla="*/ 2642597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96114 w 2147054"/>
                  <a:gd name="connsiteY24" fmla="*/ 2200085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71986 w 2147054"/>
                  <a:gd name="connsiteY24" fmla="*/ 2862643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60993 w 2147054"/>
                  <a:gd name="connsiteY24" fmla="*/ 2294391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50270 w 2147054"/>
                  <a:gd name="connsiteY25" fmla="*/ 2884406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46516 w 2147054"/>
                  <a:gd name="connsiteY24" fmla="*/ 2386279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732038 w 2147054"/>
                  <a:gd name="connsiteY25" fmla="*/ 2780429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758580 w 2147054"/>
                  <a:gd name="connsiteY26" fmla="*/ 2925514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748929 w 2147054"/>
                  <a:gd name="connsiteY27" fmla="*/ 3106872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23728 w 2147054"/>
                  <a:gd name="connsiteY28" fmla="*/ 3102035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09251 w 2147054"/>
                  <a:gd name="connsiteY29" fmla="*/ 2942441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62334 w 2147054"/>
                  <a:gd name="connsiteY35" fmla="*/ 115546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22940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2802 w 2147054"/>
                  <a:gd name="connsiteY26" fmla="*/ 3043348 h 4330639"/>
                  <a:gd name="connsiteX27" fmla="*/ 1674130 w 2147054"/>
                  <a:gd name="connsiteY27" fmla="*/ 3213267 h 4330639"/>
                  <a:gd name="connsiteX28" fmla="*/ 1804424 w 2147054"/>
                  <a:gd name="connsiteY28" fmla="*/ 3462334 h 4330639"/>
                  <a:gd name="connsiteX29" fmla="*/ 1814077 w 2147054"/>
                  <a:gd name="connsiteY29" fmla="*/ 2969040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0319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4398 w 2147054"/>
                  <a:gd name="connsiteY36" fmla="*/ 1165140 h 4330639"/>
                  <a:gd name="connsiteX37" fmla="*/ 1879986 w 2147054"/>
                  <a:gd name="connsiteY37" fmla="*/ 1081411 h 4330639"/>
                  <a:gd name="connsiteX38" fmla="*/ 1816630 w 2147054"/>
                  <a:gd name="connsiteY38" fmla="*/ 913332 h 4330639"/>
                  <a:gd name="connsiteX39" fmla="*/ 958163 w 2147054"/>
                  <a:gd name="connsiteY39" fmla="*/ 0 h 4330639"/>
                  <a:gd name="connsiteX40" fmla="*/ 109261 w 2147054"/>
                  <a:gd name="connsiteY40" fmla="*/ 858457 h 4330639"/>
                  <a:gd name="connsiteX41" fmla="*/ 94804 w 2147054"/>
                  <a:gd name="connsiteY41" fmla="*/ 1146972 h 4330639"/>
                  <a:gd name="connsiteX42" fmla="*/ 9907 w 2147054"/>
                  <a:gd name="connsiteY42" fmla="*/ 1521969 h 4330639"/>
                  <a:gd name="connsiteX43" fmla="*/ 0 w 2147054"/>
                  <a:gd name="connsiteY43" fmla="*/ 2778708 h 4330639"/>
                  <a:gd name="connsiteX44" fmla="*/ 95870 w 2147054"/>
                  <a:gd name="connsiteY44" fmla="*/ 3178922 h 4330639"/>
                  <a:gd name="connsiteX45" fmla="*/ 94635 w 2147054"/>
                  <a:gd name="connsiteY4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2802 w 2147054"/>
                  <a:gd name="connsiteY26" fmla="*/ 3043348 h 4330639"/>
                  <a:gd name="connsiteX27" fmla="*/ 1674130 w 2147054"/>
                  <a:gd name="connsiteY27" fmla="*/ 3213267 h 4330639"/>
                  <a:gd name="connsiteX28" fmla="*/ 1804424 w 2147054"/>
                  <a:gd name="connsiteY28" fmla="*/ 3462334 h 4330639"/>
                  <a:gd name="connsiteX29" fmla="*/ 1801794 w 2147054"/>
                  <a:gd name="connsiteY29" fmla="*/ 3043348 h 4330639"/>
                  <a:gd name="connsiteX30" fmla="*/ 1814077 w 2147054"/>
                  <a:gd name="connsiteY30" fmla="*/ 2969040 h 4330639"/>
                  <a:gd name="connsiteX31" fmla="*/ 1850270 w 2147054"/>
                  <a:gd name="connsiteY31" fmla="*/ 2884406 h 4330639"/>
                  <a:gd name="connsiteX32" fmla="*/ 2115686 w 2147054"/>
                  <a:gd name="connsiteY32" fmla="*/ 2642597 h 4330639"/>
                  <a:gd name="connsiteX33" fmla="*/ 2144641 w 2147054"/>
                  <a:gd name="connsiteY33" fmla="*/ 2550708 h 4330639"/>
                  <a:gd name="connsiteX34" fmla="*/ 2147054 w 2147054"/>
                  <a:gd name="connsiteY34" fmla="*/ 1750319 h 4330639"/>
                  <a:gd name="connsiteX35" fmla="*/ 2106035 w 2147054"/>
                  <a:gd name="connsiteY35" fmla="*/ 1663267 h 4330639"/>
                  <a:gd name="connsiteX36" fmla="*/ 1826140 w 2147054"/>
                  <a:gd name="connsiteY36" fmla="*/ 1385187 h 4330639"/>
                  <a:gd name="connsiteX37" fmla="*/ 1874398 w 2147054"/>
                  <a:gd name="connsiteY37" fmla="*/ 1165140 h 4330639"/>
                  <a:gd name="connsiteX38" fmla="*/ 1879986 w 2147054"/>
                  <a:gd name="connsiteY38" fmla="*/ 1081411 h 4330639"/>
                  <a:gd name="connsiteX39" fmla="*/ 1816630 w 2147054"/>
                  <a:gd name="connsiteY39" fmla="*/ 913332 h 4330639"/>
                  <a:gd name="connsiteX40" fmla="*/ 958163 w 2147054"/>
                  <a:gd name="connsiteY40" fmla="*/ 0 h 4330639"/>
                  <a:gd name="connsiteX41" fmla="*/ 109261 w 2147054"/>
                  <a:gd name="connsiteY41" fmla="*/ 858457 h 4330639"/>
                  <a:gd name="connsiteX42" fmla="*/ 94804 w 2147054"/>
                  <a:gd name="connsiteY42" fmla="*/ 1146972 h 4330639"/>
                  <a:gd name="connsiteX43" fmla="*/ 9907 w 2147054"/>
                  <a:gd name="connsiteY43" fmla="*/ 1521969 h 4330639"/>
                  <a:gd name="connsiteX44" fmla="*/ 0 w 2147054"/>
                  <a:gd name="connsiteY44" fmla="*/ 2778708 h 4330639"/>
                  <a:gd name="connsiteX45" fmla="*/ 95870 w 2147054"/>
                  <a:gd name="connsiteY45" fmla="*/ 3178922 h 4330639"/>
                  <a:gd name="connsiteX46" fmla="*/ 94635 w 2147054"/>
                  <a:gd name="connsiteY4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76542 w 2147054"/>
                  <a:gd name="connsiteY21" fmla="*/ 1356169 h 4330639"/>
                  <a:gd name="connsiteX22" fmla="*/ 1633111 w 2147054"/>
                  <a:gd name="connsiteY22" fmla="*/ 1704376 h 4330639"/>
                  <a:gd name="connsiteX23" fmla="*/ 1635524 w 2147054"/>
                  <a:gd name="connsiteY23" fmla="*/ 2591818 h 4330639"/>
                  <a:gd name="connsiteX24" fmla="*/ 1671717 w 2147054"/>
                  <a:gd name="connsiteY24" fmla="*/ 2867480 h 4330639"/>
                  <a:gd name="connsiteX25" fmla="*/ 1672802 w 2147054"/>
                  <a:gd name="connsiteY25" fmla="*/ 3043348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01794 w 2147054"/>
                  <a:gd name="connsiteY28" fmla="*/ 3043348 h 4330639"/>
                  <a:gd name="connsiteX29" fmla="*/ 1814077 w 2147054"/>
                  <a:gd name="connsiteY29" fmla="*/ 2969040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0319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4398 w 2147054"/>
                  <a:gd name="connsiteY36" fmla="*/ 1165140 h 4330639"/>
                  <a:gd name="connsiteX37" fmla="*/ 1879986 w 2147054"/>
                  <a:gd name="connsiteY37" fmla="*/ 1081411 h 4330639"/>
                  <a:gd name="connsiteX38" fmla="*/ 1816630 w 2147054"/>
                  <a:gd name="connsiteY38" fmla="*/ 913332 h 4330639"/>
                  <a:gd name="connsiteX39" fmla="*/ 958163 w 2147054"/>
                  <a:gd name="connsiteY39" fmla="*/ 0 h 4330639"/>
                  <a:gd name="connsiteX40" fmla="*/ 109261 w 2147054"/>
                  <a:gd name="connsiteY40" fmla="*/ 858457 h 4330639"/>
                  <a:gd name="connsiteX41" fmla="*/ 94804 w 2147054"/>
                  <a:gd name="connsiteY41" fmla="*/ 1146972 h 4330639"/>
                  <a:gd name="connsiteX42" fmla="*/ 9907 w 2147054"/>
                  <a:gd name="connsiteY42" fmla="*/ 1521969 h 4330639"/>
                  <a:gd name="connsiteX43" fmla="*/ 0 w 2147054"/>
                  <a:gd name="connsiteY43" fmla="*/ 2778708 h 4330639"/>
                  <a:gd name="connsiteX44" fmla="*/ 95870 w 2147054"/>
                  <a:gd name="connsiteY44" fmla="*/ 3178922 h 4330639"/>
                  <a:gd name="connsiteX45" fmla="*/ 94635 w 2147054"/>
                  <a:gd name="connsiteY4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243296 w 2147054"/>
                  <a:gd name="connsiteY4" fmla="*/ 3401879 h 4330639"/>
                  <a:gd name="connsiteX5" fmla="*/ 231230 w 2147054"/>
                  <a:gd name="connsiteY5" fmla="*/ 3169743 h 4330639"/>
                  <a:gd name="connsiteX6" fmla="*/ 319367 w 2147054"/>
                  <a:gd name="connsiteY6" fmla="*/ 3160841 h 4330639"/>
                  <a:gd name="connsiteX7" fmla="*/ 323124 w 2147054"/>
                  <a:gd name="connsiteY7" fmla="*/ 3071321 h 4330639"/>
                  <a:gd name="connsiteX8" fmla="*/ 511661 w 2147054"/>
                  <a:gd name="connsiteY8" fmla="*/ 2854845 h 4330639"/>
                  <a:gd name="connsiteX9" fmla="*/ 555371 w 2147054"/>
                  <a:gd name="connsiteY9" fmla="*/ 2747193 h 4330639"/>
                  <a:gd name="connsiteX10" fmla="*/ 556550 w 2147054"/>
                  <a:gd name="connsiteY10" fmla="*/ 1594571 h 4330639"/>
                  <a:gd name="connsiteX11" fmla="*/ 542073 w 2147054"/>
                  <a:gd name="connsiteY11" fmla="*/ 1512297 h 4330639"/>
                  <a:gd name="connsiteX12" fmla="*/ 368764 w 2147054"/>
                  <a:gd name="connsiteY12" fmla="*/ 1302973 h 4330639"/>
                  <a:gd name="connsiteX13" fmla="*/ 329287 w 2147054"/>
                  <a:gd name="connsiteY13" fmla="*/ 1302809 h 4330639"/>
                  <a:gd name="connsiteX14" fmla="*/ 328934 w 2147054"/>
                  <a:gd name="connsiteY14" fmla="*/ 1269031 h 4330639"/>
                  <a:gd name="connsiteX15" fmla="*/ 356286 w 2147054"/>
                  <a:gd name="connsiteY15" fmla="*/ 1268519 h 4330639"/>
                  <a:gd name="connsiteX16" fmla="*/ 353118 w 2147054"/>
                  <a:gd name="connsiteY16" fmla="*/ 1138495 h 4330639"/>
                  <a:gd name="connsiteX17" fmla="*/ 234935 w 2147054"/>
                  <a:gd name="connsiteY17" fmla="*/ 1138830 h 4330639"/>
                  <a:gd name="connsiteX18" fmla="*/ 235339 w 2147054"/>
                  <a:gd name="connsiteY18" fmla="*/ 923254 h 4330639"/>
                  <a:gd name="connsiteX19" fmla="*/ 603374 w 2147054"/>
                  <a:gd name="connsiteY19" fmla="*/ 237848 h 4330639"/>
                  <a:gd name="connsiteX20" fmla="*/ 1676542 w 2147054"/>
                  <a:gd name="connsiteY20" fmla="*/ 1356169 h 4330639"/>
                  <a:gd name="connsiteX21" fmla="*/ 1633111 w 2147054"/>
                  <a:gd name="connsiteY21" fmla="*/ 1704376 h 4330639"/>
                  <a:gd name="connsiteX22" fmla="*/ 1635524 w 2147054"/>
                  <a:gd name="connsiteY22" fmla="*/ 2591818 h 4330639"/>
                  <a:gd name="connsiteX23" fmla="*/ 1671717 w 2147054"/>
                  <a:gd name="connsiteY23" fmla="*/ 2867480 h 4330639"/>
                  <a:gd name="connsiteX24" fmla="*/ 1672802 w 2147054"/>
                  <a:gd name="connsiteY24" fmla="*/ 3043348 h 4330639"/>
                  <a:gd name="connsiteX25" fmla="*/ 1674130 w 2147054"/>
                  <a:gd name="connsiteY25" fmla="*/ 3213267 h 4330639"/>
                  <a:gd name="connsiteX26" fmla="*/ 1804424 w 2147054"/>
                  <a:gd name="connsiteY26" fmla="*/ 3462334 h 4330639"/>
                  <a:gd name="connsiteX27" fmla="*/ 1801794 w 2147054"/>
                  <a:gd name="connsiteY27" fmla="*/ 3043348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231230 w 2147054"/>
                  <a:gd name="connsiteY4" fmla="*/ 3169743 h 4330639"/>
                  <a:gd name="connsiteX5" fmla="*/ 319367 w 2147054"/>
                  <a:gd name="connsiteY5" fmla="*/ 3160841 h 4330639"/>
                  <a:gd name="connsiteX6" fmla="*/ 323124 w 2147054"/>
                  <a:gd name="connsiteY6" fmla="*/ 3071321 h 4330639"/>
                  <a:gd name="connsiteX7" fmla="*/ 511661 w 2147054"/>
                  <a:gd name="connsiteY7" fmla="*/ 2854845 h 4330639"/>
                  <a:gd name="connsiteX8" fmla="*/ 555371 w 2147054"/>
                  <a:gd name="connsiteY8" fmla="*/ 2747193 h 4330639"/>
                  <a:gd name="connsiteX9" fmla="*/ 556550 w 2147054"/>
                  <a:gd name="connsiteY9" fmla="*/ 1594571 h 4330639"/>
                  <a:gd name="connsiteX10" fmla="*/ 542073 w 2147054"/>
                  <a:gd name="connsiteY10" fmla="*/ 1512297 h 4330639"/>
                  <a:gd name="connsiteX11" fmla="*/ 368764 w 2147054"/>
                  <a:gd name="connsiteY11" fmla="*/ 1302973 h 4330639"/>
                  <a:gd name="connsiteX12" fmla="*/ 329287 w 2147054"/>
                  <a:gd name="connsiteY12" fmla="*/ 1302809 h 4330639"/>
                  <a:gd name="connsiteX13" fmla="*/ 328934 w 2147054"/>
                  <a:gd name="connsiteY13" fmla="*/ 1269031 h 4330639"/>
                  <a:gd name="connsiteX14" fmla="*/ 356286 w 2147054"/>
                  <a:gd name="connsiteY14" fmla="*/ 1268519 h 4330639"/>
                  <a:gd name="connsiteX15" fmla="*/ 353118 w 2147054"/>
                  <a:gd name="connsiteY15" fmla="*/ 1138495 h 4330639"/>
                  <a:gd name="connsiteX16" fmla="*/ 234935 w 2147054"/>
                  <a:gd name="connsiteY16" fmla="*/ 1138830 h 4330639"/>
                  <a:gd name="connsiteX17" fmla="*/ 235339 w 2147054"/>
                  <a:gd name="connsiteY17" fmla="*/ 923254 h 4330639"/>
                  <a:gd name="connsiteX18" fmla="*/ 603374 w 2147054"/>
                  <a:gd name="connsiteY18" fmla="*/ 237848 h 4330639"/>
                  <a:gd name="connsiteX19" fmla="*/ 1676542 w 2147054"/>
                  <a:gd name="connsiteY19" fmla="*/ 1356169 h 4330639"/>
                  <a:gd name="connsiteX20" fmla="*/ 1633111 w 2147054"/>
                  <a:gd name="connsiteY20" fmla="*/ 1704376 h 4330639"/>
                  <a:gd name="connsiteX21" fmla="*/ 1635524 w 2147054"/>
                  <a:gd name="connsiteY21" fmla="*/ 2591818 h 4330639"/>
                  <a:gd name="connsiteX22" fmla="*/ 1671717 w 2147054"/>
                  <a:gd name="connsiteY22" fmla="*/ 2867480 h 4330639"/>
                  <a:gd name="connsiteX23" fmla="*/ 1672802 w 2147054"/>
                  <a:gd name="connsiteY23" fmla="*/ 3043348 h 4330639"/>
                  <a:gd name="connsiteX24" fmla="*/ 1674130 w 2147054"/>
                  <a:gd name="connsiteY24" fmla="*/ 3213267 h 4330639"/>
                  <a:gd name="connsiteX25" fmla="*/ 1804424 w 2147054"/>
                  <a:gd name="connsiteY25" fmla="*/ 3462334 h 4330639"/>
                  <a:gd name="connsiteX26" fmla="*/ 1801794 w 2147054"/>
                  <a:gd name="connsiteY26" fmla="*/ 3043348 h 4330639"/>
                  <a:gd name="connsiteX27" fmla="*/ 1814077 w 2147054"/>
                  <a:gd name="connsiteY27" fmla="*/ 2969040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0319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4398 w 2147054"/>
                  <a:gd name="connsiteY34" fmla="*/ 1165140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5185"/>
                  <a:gd name="connsiteX1" fmla="*/ 938203 w 2147054"/>
                  <a:gd name="connsiteY1" fmla="*/ 4330430 h 4335185"/>
                  <a:gd name="connsiteX2" fmla="*/ 1674223 w 2147054"/>
                  <a:gd name="connsiteY2" fmla="*/ 3231052 h 4335185"/>
                  <a:gd name="connsiteX3" fmla="*/ 231230 w 2147054"/>
                  <a:gd name="connsiteY3" fmla="*/ 3169743 h 4335185"/>
                  <a:gd name="connsiteX4" fmla="*/ 319367 w 2147054"/>
                  <a:gd name="connsiteY4" fmla="*/ 3160841 h 4335185"/>
                  <a:gd name="connsiteX5" fmla="*/ 323124 w 2147054"/>
                  <a:gd name="connsiteY5" fmla="*/ 3071321 h 4335185"/>
                  <a:gd name="connsiteX6" fmla="*/ 511661 w 2147054"/>
                  <a:gd name="connsiteY6" fmla="*/ 2854845 h 4335185"/>
                  <a:gd name="connsiteX7" fmla="*/ 555371 w 2147054"/>
                  <a:gd name="connsiteY7" fmla="*/ 2747193 h 4335185"/>
                  <a:gd name="connsiteX8" fmla="*/ 556550 w 2147054"/>
                  <a:gd name="connsiteY8" fmla="*/ 1594571 h 4335185"/>
                  <a:gd name="connsiteX9" fmla="*/ 542073 w 2147054"/>
                  <a:gd name="connsiteY9" fmla="*/ 1512297 h 4335185"/>
                  <a:gd name="connsiteX10" fmla="*/ 368764 w 2147054"/>
                  <a:gd name="connsiteY10" fmla="*/ 1302973 h 4335185"/>
                  <a:gd name="connsiteX11" fmla="*/ 329287 w 2147054"/>
                  <a:gd name="connsiteY11" fmla="*/ 1302809 h 4335185"/>
                  <a:gd name="connsiteX12" fmla="*/ 328934 w 2147054"/>
                  <a:gd name="connsiteY12" fmla="*/ 1269031 h 4335185"/>
                  <a:gd name="connsiteX13" fmla="*/ 356286 w 2147054"/>
                  <a:gd name="connsiteY13" fmla="*/ 1268519 h 4335185"/>
                  <a:gd name="connsiteX14" fmla="*/ 353118 w 2147054"/>
                  <a:gd name="connsiteY14" fmla="*/ 1138495 h 4335185"/>
                  <a:gd name="connsiteX15" fmla="*/ 234935 w 2147054"/>
                  <a:gd name="connsiteY15" fmla="*/ 1138830 h 4335185"/>
                  <a:gd name="connsiteX16" fmla="*/ 235339 w 2147054"/>
                  <a:gd name="connsiteY16" fmla="*/ 923254 h 4335185"/>
                  <a:gd name="connsiteX17" fmla="*/ 603374 w 2147054"/>
                  <a:gd name="connsiteY17" fmla="*/ 237848 h 4335185"/>
                  <a:gd name="connsiteX18" fmla="*/ 1676542 w 2147054"/>
                  <a:gd name="connsiteY18" fmla="*/ 1356169 h 4335185"/>
                  <a:gd name="connsiteX19" fmla="*/ 1633111 w 2147054"/>
                  <a:gd name="connsiteY19" fmla="*/ 1704376 h 4335185"/>
                  <a:gd name="connsiteX20" fmla="*/ 1635524 w 2147054"/>
                  <a:gd name="connsiteY20" fmla="*/ 2591818 h 4335185"/>
                  <a:gd name="connsiteX21" fmla="*/ 1671717 w 2147054"/>
                  <a:gd name="connsiteY21" fmla="*/ 2867480 h 4335185"/>
                  <a:gd name="connsiteX22" fmla="*/ 1672802 w 2147054"/>
                  <a:gd name="connsiteY22" fmla="*/ 3043348 h 4335185"/>
                  <a:gd name="connsiteX23" fmla="*/ 1674130 w 2147054"/>
                  <a:gd name="connsiteY23" fmla="*/ 3213267 h 4335185"/>
                  <a:gd name="connsiteX24" fmla="*/ 1804424 w 2147054"/>
                  <a:gd name="connsiteY24" fmla="*/ 3462334 h 4335185"/>
                  <a:gd name="connsiteX25" fmla="*/ 1801794 w 2147054"/>
                  <a:gd name="connsiteY25" fmla="*/ 3043348 h 4335185"/>
                  <a:gd name="connsiteX26" fmla="*/ 1814077 w 2147054"/>
                  <a:gd name="connsiteY26" fmla="*/ 2969040 h 4335185"/>
                  <a:gd name="connsiteX27" fmla="*/ 1850270 w 2147054"/>
                  <a:gd name="connsiteY27" fmla="*/ 2884406 h 4335185"/>
                  <a:gd name="connsiteX28" fmla="*/ 2115686 w 2147054"/>
                  <a:gd name="connsiteY28" fmla="*/ 2642597 h 4335185"/>
                  <a:gd name="connsiteX29" fmla="*/ 2144641 w 2147054"/>
                  <a:gd name="connsiteY29" fmla="*/ 2550708 h 4335185"/>
                  <a:gd name="connsiteX30" fmla="*/ 2147054 w 2147054"/>
                  <a:gd name="connsiteY30" fmla="*/ 1750319 h 4335185"/>
                  <a:gd name="connsiteX31" fmla="*/ 2106035 w 2147054"/>
                  <a:gd name="connsiteY31" fmla="*/ 1663267 h 4335185"/>
                  <a:gd name="connsiteX32" fmla="*/ 1826140 w 2147054"/>
                  <a:gd name="connsiteY32" fmla="*/ 1385187 h 4335185"/>
                  <a:gd name="connsiteX33" fmla="*/ 1874398 w 2147054"/>
                  <a:gd name="connsiteY33" fmla="*/ 1165140 h 4335185"/>
                  <a:gd name="connsiteX34" fmla="*/ 1879986 w 2147054"/>
                  <a:gd name="connsiteY34" fmla="*/ 1081411 h 4335185"/>
                  <a:gd name="connsiteX35" fmla="*/ 1816630 w 2147054"/>
                  <a:gd name="connsiteY35" fmla="*/ 913332 h 4335185"/>
                  <a:gd name="connsiteX36" fmla="*/ 958163 w 2147054"/>
                  <a:gd name="connsiteY36" fmla="*/ 0 h 4335185"/>
                  <a:gd name="connsiteX37" fmla="*/ 109261 w 2147054"/>
                  <a:gd name="connsiteY37" fmla="*/ 858457 h 4335185"/>
                  <a:gd name="connsiteX38" fmla="*/ 94804 w 2147054"/>
                  <a:gd name="connsiteY38" fmla="*/ 1146972 h 4335185"/>
                  <a:gd name="connsiteX39" fmla="*/ 9907 w 2147054"/>
                  <a:gd name="connsiteY39" fmla="*/ 1521969 h 4335185"/>
                  <a:gd name="connsiteX40" fmla="*/ 0 w 2147054"/>
                  <a:gd name="connsiteY40" fmla="*/ 2778708 h 4335185"/>
                  <a:gd name="connsiteX41" fmla="*/ 95870 w 2147054"/>
                  <a:gd name="connsiteY41" fmla="*/ 3178922 h 4335185"/>
                  <a:gd name="connsiteX42" fmla="*/ 94635 w 2147054"/>
                  <a:gd name="connsiteY42" fmla="*/ 3523641 h 4335185"/>
                  <a:gd name="connsiteX0" fmla="*/ 94635 w 2147054"/>
                  <a:gd name="connsiteY0" fmla="*/ 3523641 h 4337050"/>
                  <a:gd name="connsiteX1" fmla="*/ 938203 w 2147054"/>
                  <a:gd name="connsiteY1" fmla="*/ 4330430 h 4337050"/>
                  <a:gd name="connsiteX2" fmla="*/ 231230 w 2147054"/>
                  <a:gd name="connsiteY2" fmla="*/ 3169743 h 4337050"/>
                  <a:gd name="connsiteX3" fmla="*/ 319367 w 2147054"/>
                  <a:gd name="connsiteY3" fmla="*/ 3160841 h 4337050"/>
                  <a:gd name="connsiteX4" fmla="*/ 323124 w 2147054"/>
                  <a:gd name="connsiteY4" fmla="*/ 3071321 h 4337050"/>
                  <a:gd name="connsiteX5" fmla="*/ 511661 w 2147054"/>
                  <a:gd name="connsiteY5" fmla="*/ 2854845 h 4337050"/>
                  <a:gd name="connsiteX6" fmla="*/ 555371 w 2147054"/>
                  <a:gd name="connsiteY6" fmla="*/ 2747193 h 4337050"/>
                  <a:gd name="connsiteX7" fmla="*/ 556550 w 2147054"/>
                  <a:gd name="connsiteY7" fmla="*/ 1594571 h 4337050"/>
                  <a:gd name="connsiteX8" fmla="*/ 542073 w 2147054"/>
                  <a:gd name="connsiteY8" fmla="*/ 1512297 h 4337050"/>
                  <a:gd name="connsiteX9" fmla="*/ 368764 w 2147054"/>
                  <a:gd name="connsiteY9" fmla="*/ 1302973 h 4337050"/>
                  <a:gd name="connsiteX10" fmla="*/ 329287 w 2147054"/>
                  <a:gd name="connsiteY10" fmla="*/ 1302809 h 4337050"/>
                  <a:gd name="connsiteX11" fmla="*/ 328934 w 2147054"/>
                  <a:gd name="connsiteY11" fmla="*/ 1269031 h 4337050"/>
                  <a:gd name="connsiteX12" fmla="*/ 356286 w 2147054"/>
                  <a:gd name="connsiteY12" fmla="*/ 1268519 h 4337050"/>
                  <a:gd name="connsiteX13" fmla="*/ 353118 w 2147054"/>
                  <a:gd name="connsiteY13" fmla="*/ 1138495 h 4337050"/>
                  <a:gd name="connsiteX14" fmla="*/ 234935 w 2147054"/>
                  <a:gd name="connsiteY14" fmla="*/ 1138830 h 4337050"/>
                  <a:gd name="connsiteX15" fmla="*/ 235339 w 2147054"/>
                  <a:gd name="connsiteY15" fmla="*/ 923254 h 4337050"/>
                  <a:gd name="connsiteX16" fmla="*/ 603374 w 2147054"/>
                  <a:gd name="connsiteY16" fmla="*/ 237848 h 4337050"/>
                  <a:gd name="connsiteX17" fmla="*/ 1676542 w 2147054"/>
                  <a:gd name="connsiteY17" fmla="*/ 1356169 h 4337050"/>
                  <a:gd name="connsiteX18" fmla="*/ 1633111 w 2147054"/>
                  <a:gd name="connsiteY18" fmla="*/ 1704376 h 4337050"/>
                  <a:gd name="connsiteX19" fmla="*/ 1635524 w 2147054"/>
                  <a:gd name="connsiteY19" fmla="*/ 2591818 h 4337050"/>
                  <a:gd name="connsiteX20" fmla="*/ 1671717 w 2147054"/>
                  <a:gd name="connsiteY20" fmla="*/ 2867480 h 4337050"/>
                  <a:gd name="connsiteX21" fmla="*/ 1672802 w 2147054"/>
                  <a:gd name="connsiteY21" fmla="*/ 3043348 h 4337050"/>
                  <a:gd name="connsiteX22" fmla="*/ 1674130 w 2147054"/>
                  <a:gd name="connsiteY22" fmla="*/ 3213267 h 4337050"/>
                  <a:gd name="connsiteX23" fmla="*/ 1804424 w 2147054"/>
                  <a:gd name="connsiteY23" fmla="*/ 3462334 h 4337050"/>
                  <a:gd name="connsiteX24" fmla="*/ 1801794 w 2147054"/>
                  <a:gd name="connsiteY24" fmla="*/ 3043348 h 4337050"/>
                  <a:gd name="connsiteX25" fmla="*/ 1814077 w 2147054"/>
                  <a:gd name="connsiteY25" fmla="*/ 2969040 h 4337050"/>
                  <a:gd name="connsiteX26" fmla="*/ 1850270 w 2147054"/>
                  <a:gd name="connsiteY26" fmla="*/ 2884406 h 4337050"/>
                  <a:gd name="connsiteX27" fmla="*/ 2115686 w 2147054"/>
                  <a:gd name="connsiteY27" fmla="*/ 2642597 h 4337050"/>
                  <a:gd name="connsiteX28" fmla="*/ 2144641 w 2147054"/>
                  <a:gd name="connsiteY28" fmla="*/ 2550708 h 4337050"/>
                  <a:gd name="connsiteX29" fmla="*/ 2147054 w 2147054"/>
                  <a:gd name="connsiteY29" fmla="*/ 1750319 h 4337050"/>
                  <a:gd name="connsiteX30" fmla="*/ 2106035 w 2147054"/>
                  <a:gd name="connsiteY30" fmla="*/ 1663267 h 4337050"/>
                  <a:gd name="connsiteX31" fmla="*/ 1826140 w 2147054"/>
                  <a:gd name="connsiteY31" fmla="*/ 1385187 h 4337050"/>
                  <a:gd name="connsiteX32" fmla="*/ 1874398 w 2147054"/>
                  <a:gd name="connsiteY32" fmla="*/ 1165140 h 4337050"/>
                  <a:gd name="connsiteX33" fmla="*/ 1879986 w 2147054"/>
                  <a:gd name="connsiteY33" fmla="*/ 1081411 h 4337050"/>
                  <a:gd name="connsiteX34" fmla="*/ 1816630 w 2147054"/>
                  <a:gd name="connsiteY34" fmla="*/ 913332 h 4337050"/>
                  <a:gd name="connsiteX35" fmla="*/ 958163 w 2147054"/>
                  <a:gd name="connsiteY35" fmla="*/ 0 h 4337050"/>
                  <a:gd name="connsiteX36" fmla="*/ 109261 w 2147054"/>
                  <a:gd name="connsiteY36" fmla="*/ 858457 h 4337050"/>
                  <a:gd name="connsiteX37" fmla="*/ 94804 w 2147054"/>
                  <a:gd name="connsiteY37" fmla="*/ 1146972 h 4337050"/>
                  <a:gd name="connsiteX38" fmla="*/ 9907 w 2147054"/>
                  <a:gd name="connsiteY38" fmla="*/ 1521969 h 4337050"/>
                  <a:gd name="connsiteX39" fmla="*/ 0 w 2147054"/>
                  <a:gd name="connsiteY39" fmla="*/ 2778708 h 4337050"/>
                  <a:gd name="connsiteX40" fmla="*/ 95870 w 2147054"/>
                  <a:gd name="connsiteY40" fmla="*/ 3178922 h 4337050"/>
                  <a:gd name="connsiteX41" fmla="*/ 94635 w 2147054"/>
                  <a:gd name="connsiteY41" fmla="*/ 3523641 h 4337050"/>
                  <a:gd name="connsiteX0" fmla="*/ 94635 w 2147054"/>
                  <a:gd name="connsiteY0" fmla="*/ 3523641 h 3523641"/>
                  <a:gd name="connsiteX1" fmla="*/ 231230 w 2147054"/>
                  <a:gd name="connsiteY1" fmla="*/ 3169743 h 3523641"/>
                  <a:gd name="connsiteX2" fmla="*/ 319367 w 2147054"/>
                  <a:gd name="connsiteY2" fmla="*/ 3160841 h 3523641"/>
                  <a:gd name="connsiteX3" fmla="*/ 323124 w 2147054"/>
                  <a:gd name="connsiteY3" fmla="*/ 3071321 h 3523641"/>
                  <a:gd name="connsiteX4" fmla="*/ 511661 w 2147054"/>
                  <a:gd name="connsiteY4" fmla="*/ 2854845 h 3523641"/>
                  <a:gd name="connsiteX5" fmla="*/ 555371 w 2147054"/>
                  <a:gd name="connsiteY5" fmla="*/ 2747193 h 3523641"/>
                  <a:gd name="connsiteX6" fmla="*/ 556550 w 2147054"/>
                  <a:gd name="connsiteY6" fmla="*/ 1594571 h 3523641"/>
                  <a:gd name="connsiteX7" fmla="*/ 542073 w 2147054"/>
                  <a:gd name="connsiteY7" fmla="*/ 1512297 h 3523641"/>
                  <a:gd name="connsiteX8" fmla="*/ 368764 w 2147054"/>
                  <a:gd name="connsiteY8" fmla="*/ 1302973 h 3523641"/>
                  <a:gd name="connsiteX9" fmla="*/ 329287 w 2147054"/>
                  <a:gd name="connsiteY9" fmla="*/ 1302809 h 3523641"/>
                  <a:gd name="connsiteX10" fmla="*/ 328934 w 2147054"/>
                  <a:gd name="connsiteY10" fmla="*/ 1269031 h 3523641"/>
                  <a:gd name="connsiteX11" fmla="*/ 356286 w 2147054"/>
                  <a:gd name="connsiteY11" fmla="*/ 1268519 h 3523641"/>
                  <a:gd name="connsiteX12" fmla="*/ 353118 w 2147054"/>
                  <a:gd name="connsiteY12" fmla="*/ 1138495 h 3523641"/>
                  <a:gd name="connsiteX13" fmla="*/ 234935 w 2147054"/>
                  <a:gd name="connsiteY13" fmla="*/ 1138830 h 3523641"/>
                  <a:gd name="connsiteX14" fmla="*/ 235339 w 2147054"/>
                  <a:gd name="connsiteY14" fmla="*/ 923254 h 3523641"/>
                  <a:gd name="connsiteX15" fmla="*/ 603374 w 2147054"/>
                  <a:gd name="connsiteY15" fmla="*/ 237848 h 3523641"/>
                  <a:gd name="connsiteX16" fmla="*/ 1676542 w 2147054"/>
                  <a:gd name="connsiteY16" fmla="*/ 1356169 h 3523641"/>
                  <a:gd name="connsiteX17" fmla="*/ 1633111 w 2147054"/>
                  <a:gd name="connsiteY17" fmla="*/ 1704376 h 3523641"/>
                  <a:gd name="connsiteX18" fmla="*/ 1635524 w 2147054"/>
                  <a:gd name="connsiteY18" fmla="*/ 2591818 h 3523641"/>
                  <a:gd name="connsiteX19" fmla="*/ 1671717 w 2147054"/>
                  <a:gd name="connsiteY19" fmla="*/ 2867480 h 3523641"/>
                  <a:gd name="connsiteX20" fmla="*/ 1672802 w 2147054"/>
                  <a:gd name="connsiteY20" fmla="*/ 3043348 h 3523641"/>
                  <a:gd name="connsiteX21" fmla="*/ 1674130 w 2147054"/>
                  <a:gd name="connsiteY21" fmla="*/ 3213267 h 3523641"/>
                  <a:gd name="connsiteX22" fmla="*/ 1804424 w 2147054"/>
                  <a:gd name="connsiteY22" fmla="*/ 3462334 h 3523641"/>
                  <a:gd name="connsiteX23" fmla="*/ 1801794 w 2147054"/>
                  <a:gd name="connsiteY23" fmla="*/ 3043348 h 3523641"/>
                  <a:gd name="connsiteX24" fmla="*/ 1814077 w 2147054"/>
                  <a:gd name="connsiteY24" fmla="*/ 2969040 h 3523641"/>
                  <a:gd name="connsiteX25" fmla="*/ 1850270 w 2147054"/>
                  <a:gd name="connsiteY25" fmla="*/ 2884406 h 3523641"/>
                  <a:gd name="connsiteX26" fmla="*/ 2115686 w 2147054"/>
                  <a:gd name="connsiteY26" fmla="*/ 2642597 h 3523641"/>
                  <a:gd name="connsiteX27" fmla="*/ 2144641 w 2147054"/>
                  <a:gd name="connsiteY27" fmla="*/ 2550708 h 3523641"/>
                  <a:gd name="connsiteX28" fmla="*/ 2147054 w 2147054"/>
                  <a:gd name="connsiteY28" fmla="*/ 1750319 h 3523641"/>
                  <a:gd name="connsiteX29" fmla="*/ 2106035 w 2147054"/>
                  <a:gd name="connsiteY29" fmla="*/ 1663267 h 3523641"/>
                  <a:gd name="connsiteX30" fmla="*/ 1826140 w 2147054"/>
                  <a:gd name="connsiteY30" fmla="*/ 1385187 h 3523641"/>
                  <a:gd name="connsiteX31" fmla="*/ 1874398 w 2147054"/>
                  <a:gd name="connsiteY31" fmla="*/ 1165140 h 3523641"/>
                  <a:gd name="connsiteX32" fmla="*/ 1879986 w 2147054"/>
                  <a:gd name="connsiteY32" fmla="*/ 1081411 h 3523641"/>
                  <a:gd name="connsiteX33" fmla="*/ 1816630 w 2147054"/>
                  <a:gd name="connsiteY33" fmla="*/ 913332 h 3523641"/>
                  <a:gd name="connsiteX34" fmla="*/ 958163 w 2147054"/>
                  <a:gd name="connsiteY34" fmla="*/ 0 h 3523641"/>
                  <a:gd name="connsiteX35" fmla="*/ 109261 w 2147054"/>
                  <a:gd name="connsiteY35" fmla="*/ 858457 h 3523641"/>
                  <a:gd name="connsiteX36" fmla="*/ 94804 w 2147054"/>
                  <a:gd name="connsiteY36" fmla="*/ 1146972 h 3523641"/>
                  <a:gd name="connsiteX37" fmla="*/ 9907 w 2147054"/>
                  <a:gd name="connsiteY37" fmla="*/ 1521969 h 3523641"/>
                  <a:gd name="connsiteX38" fmla="*/ 0 w 2147054"/>
                  <a:gd name="connsiteY38" fmla="*/ 2778708 h 3523641"/>
                  <a:gd name="connsiteX39" fmla="*/ 95870 w 2147054"/>
                  <a:gd name="connsiteY39" fmla="*/ 3178922 h 3523641"/>
                  <a:gd name="connsiteX40" fmla="*/ 94635 w 2147054"/>
                  <a:gd name="connsiteY40" fmla="*/ 3523641 h 3523641"/>
                  <a:gd name="connsiteX0" fmla="*/ 95870 w 2147054"/>
                  <a:gd name="connsiteY0" fmla="*/ 3178922 h 3462334"/>
                  <a:gd name="connsiteX1" fmla="*/ 231230 w 2147054"/>
                  <a:gd name="connsiteY1" fmla="*/ 3169743 h 3462334"/>
                  <a:gd name="connsiteX2" fmla="*/ 319367 w 2147054"/>
                  <a:gd name="connsiteY2" fmla="*/ 3160841 h 3462334"/>
                  <a:gd name="connsiteX3" fmla="*/ 323124 w 2147054"/>
                  <a:gd name="connsiteY3" fmla="*/ 3071321 h 3462334"/>
                  <a:gd name="connsiteX4" fmla="*/ 511661 w 2147054"/>
                  <a:gd name="connsiteY4" fmla="*/ 2854845 h 3462334"/>
                  <a:gd name="connsiteX5" fmla="*/ 555371 w 2147054"/>
                  <a:gd name="connsiteY5" fmla="*/ 2747193 h 3462334"/>
                  <a:gd name="connsiteX6" fmla="*/ 556550 w 2147054"/>
                  <a:gd name="connsiteY6" fmla="*/ 1594571 h 3462334"/>
                  <a:gd name="connsiteX7" fmla="*/ 542073 w 2147054"/>
                  <a:gd name="connsiteY7" fmla="*/ 1512297 h 3462334"/>
                  <a:gd name="connsiteX8" fmla="*/ 368764 w 2147054"/>
                  <a:gd name="connsiteY8" fmla="*/ 1302973 h 3462334"/>
                  <a:gd name="connsiteX9" fmla="*/ 329287 w 2147054"/>
                  <a:gd name="connsiteY9" fmla="*/ 1302809 h 3462334"/>
                  <a:gd name="connsiteX10" fmla="*/ 328934 w 2147054"/>
                  <a:gd name="connsiteY10" fmla="*/ 1269031 h 3462334"/>
                  <a:gd name="connsiteX11" fmla="*/ 356286 w 2147054"/>
                  <a:gd name="connsiteY11" fmla="*/ 1268519 h 3462334"/>
                  <a:gd name="connsiteX12" fmla="*/ 353118 w 2147054"/>
                  <a:gd name="connsiteY12" fmla="*/ 1138495 h 3462334"/>
                  <a:gd name="connsiteX13" fmla="*/ 234935 w 2147054"/>
                  <a:gd name="connsiteY13" fmla="*/ 1138830 h 3462334"/>
                  <a:gd name="connsiteX14" fmla="*/ 235339 w 2147054"/>
                  <a:gd name="connsiteY14" fmla="*/ 923254 h 3462334"/>
                  <a:gd name="connsiteX15" fmla="*/ 603374 w 2147054"/>
                  <a:gd name="connsiteY15" fmla="*/ 237848 h 3462334"/>
                  <a:gd name="connsiteX16" fmla="*/ 1676542 w 2147054"/>
                  <a:gd name="connsiteY16" fmla="*/ 1356169 h 3462334"/>
                  <a:gd name="connsiteX17" fmla="*/ 1633111 w 2147054"/>
                  <a:gd name="connsiteY17" fmla="*/ 1704376 h 3462334"/>
                  <a:gd name="connsiteX18" fmla="*/ 1635524 w 2147054"/>
                  <a:gd name="connsiteY18" fmla="*/ 2591818 h 3462334"/>
                  <a:gd name="connsiteX19" fmla="*/ 1671717 w 2147054"/>
                  <a:gd name="connsiteY19" fmla="*/ 2867480 h 3462334"/>
                  <a:gd name="connsiteX20" fmla="*/ 1672802 w 2147054"/>
                  <a:gd name="connsiteY20" fmla="*/ 3043348 h 3462334"/>
                  <a:gd name="connsiteX21" fmla="*/ 1674130 w 2147054"/>
                  <a:gd name="connsiteY21" fmla="*/ 3213267 h 3462334"/>
                  <a:gd name="connsiteX22" fmla="*/ 1804424 w 2147054"/>
                  <a:gd name="connsiteY22" fmla="*/ 3462334 h 3462334"/>
                  <a:gd name="connsiteX23" fmla="*/ 1801794 w 2147054"/>
                  <a:gd name="connsiteY23" fmla="*/ 3043348 h 3462334"/>
                  <a:gd name="connsiteX24" fmla="*/ 1814077 w 2147054"/>
                  <a:gd name="connsiteY24" fmla="*/ 2969040 h 3462334"/>
                  <a:gd name="connsiteX25" fmla="*/ 1850270 w 2147054"/>
                  <a:gd name="connsiteY25" fmla="*/ 2884406 h 3462334"/>
                  <a:gd name="connsiteX26" fmla="*/ 2115686 w 2147054"/>
                  <a:gd name="connsiteY26" fmla="*/ 2642597 h 3462334"/>
                  <a:gd name="connsiteX27" fmla="*/ 2144641 w 2147054"/>
                  <a:gd name="connsiteY27" fmla="*/ 2550708 h 3462334"/>
                  <a:gd name="connsiteX28" fmla="*/ 2147054 w 2147054"/>
                  <a:gd name="connsiteY28" fmla="*/ 1750319 h 3462334"/>
                  <a:gd name="connsiteX29" fmla="*/ 2106035 w 2147054"/>
                  <a:gd name="connsiteY29" fmla="*/ 1663267 h 3462334"/>
                  <a:gd name="connsiteX30" fmla="*/ 1826140 w 2147054"/>
                  <a:gd name="connsiteY30" fmla="*/ 1385187 h 3462334"/>
                  <a:gd name="connsiteX31" fmla="*/ 1874398 w 2147054"/>
                  <a:gd name="connsiteY31" fmla="*/ 1165140 h 3462334"/>
                  <a:gd name="connsiteX32" fmla="*/ 1879986 w 2147054"/>
                  <a:gd name="connsiteY32" fmla="*/ 1081411 h 3462334"/>
                  <a:gd name="connsiteX33" fmla="*/ 1816630 w 2147054"/>
                  <a:gd name="connsiteY33" fmla="*/ 913332 h 3462334"/>
                  <a:gd name="connsiteX34" fmla="*/ 958163 w 2147054"/>
                  <a:gd name="connsiteY34" fmla="*/ 0 h 3462334"/>
                  <a:gd name="connsiteX35" fmla="*/ 109261 w 2147054"/>
                  <a:gd name="connsiteY35" fmla="*/ 858457 h 3462334"/>
                  <a:gd name="connsiteX36" fmla="*/ 94804 w 2147054"/>
                  <a:gd name="connsiteY36" fmla="*/ 1146972 h 3462334"/>
                  <a:gd name="connsiteX37" fmla="*/ 9907 w 2147054"/>
                  <a:gd name="connsiteY37" fmla="*/ 1521969 h 3462334"/>
                  <a:gd name="connsiteX38" fmla="*/ 0 w 2147054"/>
                  <a:gd name="connsiteY38" fmla="*/ 2778708 h 3462334"/>
                  <a:gd name="connsiteX39" fmla="*/ 95870 w 2147054"/>
                  <a:gd name="connsiteY39" fmla="*/ 3178922 h 3462334"/>
                  <a:gd name="connsiteX0" fmla="*/ 0 w 2147054"/>
                  <a:gd name="connsiteY0" fmla="*/ 2778708 h 3462334"/>
                  <a:gd name="connsiteX1" fmla="*/ 231230 w 2147054"/>
                  <a:gd name="connsiteY1" fmla="*/ 3169743 h 3462334"/>
                  <a:gd name="connsiteX2" fmla="*/ 319367 w 2147054"/>
                  <a:gd name="connsiteY2" fmla="*/ 3160841 h 3462334"/>
                  <a:gd name="connsiteX3" fmla="*/ 323124 w 2147054"/>
                  <a:gd name="connsiteY3" fmla="*/ 3071321 h 3462334"/>
                  <a:gd name="connsiteX4" fmla="*/ 511661 w 2147054"/>
                  <a:gd name="connsiteY4" fmla="*/ 2854845 h 3462334"/>
                  <a:gd name="connsiteX5" fmla="*/ 555371 w 2147054"/>
                  <a:gd name="connsiteY5" fmla="*/ 2747193 h 3462334"/>
                  <a:gd name="connsiteX6" fmla="*/ 556550 w 2147054"/>
                  <a:gd name="connsiteY6" fmla="*/ 1594571 h 3462334"/>
                  <a:gd name="connsiteX7" fmla="*/ 542073 w 2147054"/>
                  <a:gd name="connsiteY7" fmla="*/ 1512297 h 3462334"/>
                  <a:gd name="connsiteX8" fmla="*/ 368764 w 2147054"/>
                  <a:gd name="connsiteY8" fmla="*/ 1302973 h 3462334"/>
                  <a:gd name="connsiteX9" fmla="*/ 329287 w 2147054"/>
                  <a:gd name="connsiteY9" fmla="*/ 1302809 h 3462334"/>
                  <a:gd name="connsiteX10" fmla="*/ 328934 w 2147054"/>
                  <a:gd name="connsiteY10" fmla="*/ 1269031 h 3462334"/>
                  <a:gd name="connsiteX11" fmla="*/ 356286 w 2147054"/>
                  <a:gd name="connsiteY11" fmla="*/ 1268519 h 3462334"/>
                  <a:gd name="connsiteX12" fmla="*/ 353118 w 2147054"/>
                  <a:gd name="connsiteY12" fmla="*/ 1138495 h 3462334"/>
                  <a:gd name="connsiteX13" fmla="*/ 234935 w 2147054"/>
                  <a:gd name="connsiteY13" fmla="*/ 1138830 h 3462334"/>
                  <a:gd name="connsiteX14" fmla="*/ 235339 w 2147054"/>
                  <a:gd name="connsiteY14" fmla="*/ 923254 h 3462334"/>
                  <a:gd name="connsiteX15" fmla="*/ 603374 w 2147054"/>
                  <a:gd name="connsiteY15" fmla="*/ 237848 h 3462334"/>
                  <a:gd name="connsiteX16" fmla="*/ 1676542 w 2147054"/>
                  <a:gd name="connsiteY16" fmla="*/ 1356169 h 3462334"/>
                  <a:gd name="connsiteX17" fmla="*/ 1633111 w 2147054"/>
                  <a:gd name="connsiteY17" fmla="*/ 1704376 h 3462334"/>
                  <a:gd name="connsiteX18" fmla="*/ 1635524 w 2147054"/>
                  <a:gd name="connsiteY18" fmla="*/ 2591818 h 3462334"/>
                  <a:gd name="connsiteX19" fmla="*/ 1671717 w 2147054"/>
                  <a:gd name="connsiteY19" fmla="*/ 2867480 h 3462334"/>
                  <a:gd name="connsiteX20" fmla="*/ 1672802 w 2147054"/>
                  <a:gd name="connsiteY20" fmla="*/ 3043348 h 3462334"/>
                  <a:gd name="connsiteX21" fmla="*/ 1674130 w 2147054"/>
                  <a:gd name="connsiteY21" fmla="*/ 3213267 h 3462334"/>
                  <a:gd name="connsiteX22" fmla="*/ 1804424 w 2147054"/>
                  <a:gd name="connsiteY22" fmla="*/ 3462334 h 3462334"/>
                  <a:gd name="connsiteX23" fmla="*/ 1801794 w 2147054"/>
                  <a:gd name="connsiteY23" fmla="*/ 3043348 h 3462334"/>
                  <a:gd name="connsiteX24" fmla="*/ 1814077 w 2147054"/>
                  <a:gd name="connsiteY24" fmla="*/ 2969040 h 3462334"/>
                  <a:gd name="connsiteX25" fmla="*/ 1850270 w 2147054"/>
                  <a:gd name="connsiteY25" fmla="*/ 2884406 h 3462334"/>
                  <a:gd name="connsiteX26" fmla="*/ 2115686 w 2147054"/>
                  <a:gd name="connsiteY26" fmla="*/ 2642597 h 3462334"/>
                  <a:gd name="connsiteX27" fmla="*/ 2144641 w 2147054"/>
                  <a:gd name="connsiteY27" fmla="*/ 2550708 h 3462334"/>
                  <a:gd name="connsiteX28" fmla="*/ 2147054 w 2147054"/>
                  <a:gd name="connsiteY28" fmla="*/ 1750319 h 3462334"/>
                  <a:gd name="connsiteX29" fmla="*/ 2106035 w 2147054"/>
                  <a:gd name="connsiteY29" fmla="*/ 1663267 h 3462334"/>
                  <a:gd name="connsiteX30" fmla="*/ 1826140 w 2147054"/>
                  <a:gd name="connsiteY30" fmla="*/ 1385187 h 3462334"/>
                  <a:gd name="connsiteX31" fmla="*/ 1874398 w 2147054"/>
                  <a:gd name="connsiteY31" fmla="*/ 1165140 h 3462334"/>
                  <a:gd name="connsiteX32" fmla="*/ 1879986 w 2147054"/>
                  <a:gd name="connsiteY32" fmla="*/ 1081411 h 3462334"/>
                  <a:gd name="connsiteX33" fmla="*/ 1816630 w 2147054"/>
                  <a:gd name="connsiteY33" fmla="*/ 913332 h 3462334"/>
                  <a:gd name="connsiteX34" fmla="*/ 958163 w 2147054"/>
                  <a:gd name="connsiteY34" fmla="*/ 0 h 3462334"/>
                  <a:gd name="connsiteX35" fmla="*/ 109261 w 2147054"/>
                  <a:gd name="connsiteY35" fmla="*/ 858457 h 3462334"/>
                  <a:gd name="connsiteX36" fmla="*/ 94804 w 2147054"/>
                  <a:gd name="connsiteY36" fmla="*/ 1146972 h 3462334"/>
                  <a:gd name="connsiteX37" fmla="*/ 9907 w 2147054"/>
                  <a:gd name="connsiteY37" fmla="*/ 1521969 h 3462334"/>
                  <a:gd name="connsiteX38" fmla="*/ 0 w 2147054"/>
                  <a:gd name="connsiteY38" fmla="*/ 2778708 h 3462334"/>
                  <a:gd name="connsiteX0" fmla="*/ 0 w 2147054"/>
                  <a:gd name="connsiteY0" fmla="*/ 2778708 h 3462334"/>
                  <a:gd name="connsiteX1" fmla="*/ 231230 w 2147054"/>
                  <a:gd name="connsiteY1" fmla="*/ 3169743 h 3462334"/>
                  <a:gd name="connsiteX2" fmla="*/ 323124 w 2147054"/>
                  <a:gd name="connsiteY2" fmla="*/ 3071321 h 3462334"/>
                  <a:gd name="connsiteX3" fmla="*/ 511661 w 2147054"/>
                  <a:gd name="connsiteY3" fmla="*/ 2854845 h 3462334"/>
                  <a:gd name="connsiteX4" fmla="*/ 555371 w 2147054"/>
                  <a:gd name="connsiteY4" fmla="*/ 2747193 h 3462334"/>
                  <a:gd name="connsiteX5" fmla="*/ 556550 w 2147054"/>
                  <a:gd name="connsiteY5" fmla="*/ 1594571 h 3462334"/>
                  <a:gd name="connsiteX6" fmla="*/ 542073 w 2147054"/>
                  <a:gd name="connsiteY6" fmla="*/ 1512297 h 3462334"/>
                  <a:gd name="connsiteX7" fmla="*/ 368764 w 2147054"/>
                  <a:gd name="connsiteY7" fmla="*/ 1302973 h 3462334"/>
                  <a:gd name="connsiteX8" fmla="*/ 329287 w 2147054"/>
                  <a:gd name="connsiteY8" fmla="*/ 1302809 h 3462334"/>
                  <a:gd name="connsiteX9" fmla="*/ 328934 w 2147054"/>
                  <a:gd name="connsiteY9" fmla="*/ 1269031 h 3462334"/>
                  <a:gd name="connsiteX10" fmla="*/ 356286 w 2147054"/>
                  <a:gd name="connsiteY10" fmla="*/ 1268519 h 3462334"/>
                  <a:gd name="connsiteX11" fmla="*/ 353118 w 2147054"/>
                  <a:gd name="connsiteY11" fmla="*/ 1138495 h 3462334"/>
                  <a:gd name="connsiteX12" fmla="*/ 234935 w 2147054"/>
                  <a:gd name="connsiteY12" fmla="*/ 1138830 h 3462334"/>
                  <a:gd name="connsiteX13" fmla="*/ 235339 w 2147054"/>
                  <a:gd name="connsiteY13" fmla="*/ 923254 h 3462334"/>
                  <a:gd name="connsiteX14" fmla="*/ 603374 w 2147054"/>
                  <a:gd name="connsiteY14" fmla="*/ 237848 h 3462334"/>
                  <a:gd name="connsiteX15" fmla="*/ 1676542 w 2147054"/>
                  <a:gd name="connsiteY15" fmla="*/ 1356169 h 3462334"/>
                  <a:gd name="connsiteX16" fmla="*/ 1633111 w 2147054"/>
                  <a:gd name="connsiteY16" fmla="*/ 1704376 h 3462334"/>
                  <a:gd name="connsiteX17" fmla="*/ 1635524 w 2147054"/>
                  <a:gd name="connsiteY17" fmla="*/ 2591818 h 3462334"/>
                  <a:gd name="connsiteX18" fmla="*/ 1671717 w 2147054"/>
                  <a:gd name="connsiteY18" fmla="*/ 2867480 h 3462334"/>
                  <a:gd name="connsiteX19" fmla="*/ 1672802 w 2147054"/>
                  <a:gd name="connsiteY19" fmla="*/ 3043348 h 3462334"/>
                  <a:gd name="connsiteX20" fmla="*/ 1674130 w 2147054"/>
                  <a:gd name="connsiteY20" fmla="*/ 3213267 h 3462334"/>
                  <a:gd name="connsiteX21" fmla="*/ 1804424 w 2147054"/>
                  <a:gd name="connsiteY21" fmla="*/ 3462334 h 3462334"/>
                  <a:gd name="connsiteX22" fmla="*/ 1801794 w 2147054"/>
                  <a:gd name="connsiteY22" fmla="*/ 3043348 h 3462334"/>
                  <a:gd name="connsiteX23" fmla="*/ 1814077 w 2147054"/>
                  <a:gd name="connsiteY23" fmla="*/ 2969040 h 3462334"/>
                  <a:gd name="connsiteX24" fmla="*/ 1850270 w 2147054"/>
                  <a:gd name="connsiteY24" fmla="*/ 2884406 h 3462334"/>
                  <a:gd name="connsiteX25" fmla="*/ 2115686 w 2147054"/>
                  <a:gd name="connsiteY25" fmla="*/ 2642597 h 3462334"/>
                  <a:gd name="connsiteX26" fmla="*/ 2144641 w 2147054"/>
                  <a:gd name="connsiteY26" fmla="*/ 2550708 h 3462334"/>
                  <a:gd name="connsiteX27" fmla="*/ 2147054 w 2147054"/>
                  <a:gd name="connsiteY27" fmla="*/ 1750319 h 3462334"/>
                  <a:gd name="connsiteX28" fmla="*/ 2106035 w 2147054"/>
                  <a:gd name="connsiteY28" fmla="*/ 1663267 h 3462334"/>
                  <a:gd name="connsiteX29" fmla="*/ 1826140 w 2147054"/>
                  <a:gd name="connsiteY29" fmla="*/ 1385187 h 3462334"/>
                  <a:gd name="connsiteX30" fmla="*/ 1874398 w 2147054"/>
                  <a:gd name="connsiteY30" fmla="*/ 1165140 h 3462334"/>
                  <a:gd name="connsiteX31" fmla="*/ 1879986 w 2147054"/>
                  <a:gd name="connsiteY31" fmla="*/ 1081411 h 3462334"/>
                  <a:gd name="connsiteX32" fmla="*/ 1816630 w 2147054"/>
                  <a:gd name="connsiteY32" fmla="*/ 913332 h 3462334"/>
                  <a:gd name="connsiteX33" fmla="*/ 958163 w 2147054"/>
                  <a:gd name="connsiteY33" fmla="*/ 0 h 3462334"/>
                  <a:gd name="connsiteX34" fmla="*/ 109261 w 2147054"/>
                  <a:gd name="connsiteY34" fmla="*/ 858457 h 3462334"/>
                  <a:gd name="connsiteX35" fmla="*/ 94804 w 2147054"/>
                  <a:gd name="connsiteY35" fmla="*/ 1146972 h 3462334"/>
                  <a:gd name="connsiteX36" fmla="*/ 9907 w 2147054"/>
                  <a:gd name="connsiteY36" fmla="*/ 1521969 h 3462334"/>
                  <a:gd name="connsiteX37" fmla="*/ 0 w 2147054"/>
                  <a:gd name="connsiteY37" fmla="*/ 2778708 h 3462334"/>
                  <a:gd name="connsiteX0" fmla="*/ 0 w 2147054"/>
                  <a:gd name="connsiteY0" fmla="*/ 2778708 h 3462334"/>
                  <a:gd name="connsiteX1" fmla="*/ 323124 w 2147054"/>
                  <a:gd name="connsiteY1" fmla="*/ 3071321 h 3462334"/>
                  <a:gd name="connsiteX2" fmla="*/ 511661 w 2147054"/>
                  <a:gd name="connsiteY2" fmla="*/ 2854845 h 3462334"/>
                  <a:gd name="connsiteX3" fmla="*/ 555371 w 2147054"/>
                  <a:gd name="connsiteY3" fmla="*/ 2747193 h 3462334"/>
                  <a:gd name="connsiteX4" fmla="*/ 556550 w 2147054"/>
                  <a:gd name="connsiteY4" fmla="*/ 1594571 h 3462334"/>
                  <a:gd name="connsiteX5" fmla="*/ 542073 w 2147054"/>
                  <a:gd name="connsiteY5" fmla="*/ 1512297 h 3462334"/>
                  <a:gd name="connsiteX6" fmla="*/ 368764 w 2147054"/>
                  <a:gd name="connsiteY6" fmla="*/ 1302973 h 3462334"/>
                  <a:gd name="connsiteX7" fmla="*/ 329287 w 2147054"/>
                  <a:gd name="connsiteY7" fmla="*/ 1302809 h 3462334"/>
                  <a:gd name="connsiteX8" fmla="*/ 328934 w 2147054"/>
                  <a:gd name="connsiteY8" fmla="*/ 1269031 h 3462334"/>
                  <a:gd name="connsiteX9" fmla="*/ 356286 w 2147054"/>
                  <a:gd name="connsiteY9" fmla="*/ 1268519 h 3462334"/>
                  <a:gd name="connsiteX10" fmla="*/ 353118 w 2147054"/>
                  <a:gd name="connsiteY10" fmla="*/ 1138495 h 3462334"/>
                  <a:gd name="connsiteX11" fmla="*/ 234935 w 2147054"/>
                  <a:gd name="connsiteY11" fmla="*/ 1138830 h 3462334"/>
                  <a:gd name="connsiteX12" fmla="*/ 235339 w 2147054"/>
                  <a:gd name="connsiteY12" fmla="*/ 923254 h 3462334"/>
                  <a:gd name="connsiteX13" fmla="*/ 603374 w 2147054"/>
                  <a:gd name="connsiteY13" fmla="*/ 237848 h 3462334"/>
                  <a:gd name="connsiteX14" fmla="*/ 1676542 w 2147054"/>
                  <a:gd name="connsiteY14" fmla="*/ 1356169 h 3462334"/>
                  <a:gd name="connsiteX15" fmla="*/ 1633111 w 2147054"/>
                  <a:gd name="connsiteY15" fmla="*/ 1704376 h 3462334"/>
                  <a:gd name="connsiteX16" fmla="*/ 1635524 w 2147054"/>
                  <a:gd name="connsiteY16" fmla="*/ 2591818 h 3462334"/>
                  <a:gd name="connsiteX17" fmla="*/ 1671717 w 2147054"/>
                  <a:gd name="connsiteY17" fmla="*/ 2867480 h 3462334"/>
                  <a:gd name="connsiteX18" fmla="*/ 1672802 w 2147054"/>
                  <a:gd name="connsiteY18" fmla="*/ 3043348 h 3462334"/>
                  <a:gd name="connsiteX19" fmla="*/ 1674130 w 2147054"/>
                  <a:gd name="connsiteY19" fmla="*/ 3213267 h 3462334"/>
                  <a:gd name="connsiteX20" fmla="*/ 1804424 w 2147054"/>
                  <a:gd name="connsiteY20" fmla="*/ 3462334 h 3462334"/>
                  <a:gd name="connsiteX21" fmla="*/ 1801794 w 2147054"/>
                  <a:gd name="connsiteY21" fmla="*/ 3043348 h 3462334"/>
                  <a:gd name="connsiteX22" fmla="*/ 1814077 w 2147054"/>
                  <a:gd name="connsiteY22" fmla="*/ 2969040 h 3462334"/>
                  <a:gd name="connsiteX23" fmla="*/ 1850270 w 2147054"/>
                  <a:gd name="connsiteY23" fmla="*/ 2884406 h 3462334"/>
                  <a:gd name="connsiteX24" fmla="*/ 2115686 w 2147054"/>
                  <a:gd name="connsiteY24" fmla="*/ 2642597 h 3462334"/>
                  <a:gd name="connsiteX25" fmla="*/ 2144641 w 2147054"/>
                  <a:gd name="connsiteY25" fmla="*/ 2550708 h 3462334"/>
                  <a:gd name="connsiteX26" fmla="*/ 2147054 w 2147054"/>
                  <a:gd name="connsiteY26" fmla="*/ 1750319 h 3462334"/>
                  <a:gd name="connsiteX27" fmla="*/ 2106035 w 2147054"/>
                  <a:gd name="connsiteY27" fmla="*/ 1663267 h 3462334"/>
                  <a:gd name="connsiteX28" fmla="*/ 1826140 w 2147054"/>
                  <a:gd name="connsiteY28" fmla="*/ 1385187 h 3462334"/>
                  <a:gd name="connsiteX29" fmla="*/ 1874398 w 2147054"/>
                  <a:gd name="connsiteY29" fmla="*/ 1165140 h 3462334"/>
                  <a:gd name="connsiteX30" fmla="*/ 1879986 w 2147054"/>
                  <a:gd name="connsiteY30" fmla="*/ 1081411 h 3462334"/>
                  <a:gd name="connsiteX31" fmla="*/ 1816630 w 2147054"/>
                  <a:gd name="connsiteY31" fmla="*/ 913332 h 3462334"/>
                  <a:gd name="connsiteX32" fmla="*/ 958163 w 2147054"/>
                  <a:gd name="connsiteY32" fmla="*/ 0 h 3462334"/>
                  <a:gd name="connsiteX33" fmla="*/ 109261 w 2147054"/>
                  <a:gd name="connsiteY33" fmla="*/ 858457 h 3462334"/>
                  <a:gd name="connsiteX34" fmla="*/ 94804 w 2147054"/>
                  <a:gd name="connsiteY34" fmla="*/ 1146972 h 3462334"/>
                  <a:gd name="connsiteX35" fmla="*/ 9907 w 2147054"/>
                  <a:gd name="connsiteY35" fmla="*/ 1521969 h 3462334"/>
                  <a:gd name="connsiteX36" fmla="*/ 0 w 2147054"/>
                  <a:gd name="connsiteY36" fmla="*/ 2778708 h 3462334"/>
                  <a:gd name="connsiteX0" fmla="*/ 0 w 2147054"/>
                  <a:gd name="connsiteY0" fmla="*/ 2778708 h 3462334"/>
                  <a:gd name="connsiteX1" fmla="*/ 511661 w 2147054"/>
                  <a:gd name="connsiteY1" fmla="*/ 2854845 h 3462334"/>
                  <a:gd name="connsiteX2" fmla="*/ 555371 w 2147054"/>
                  <a:gd name="connsiteY2" fmla="*/ 2747193 h 3462334"/>
                  <a:gd name="connsiteX3" fmla="*/ 556550 w 2147054"/>
                  <a:gd name="connsiteY3" fmla="*/ 1594571 h 3462334"/>
                  <a:gd name="connsiteX4" fmla="*/ 542073 w 2147054"/>
                  <a:gd name="connsiteY4" fmla="*/ 1512297 h 3462334"/>
                  <a:gd name="connsiteX5" fmla="*/ 368764 w 2147054"/>
                  <a:gd name="connsiteY5" fmla="*/ 1302973 h 3462334"/>
                  <a:gd name="connsiteX6" fmla="*/ 329287 w 2147054"/>
                  <a:gd name="connsiteY6" fmla="*/ 1302809 h 3462334"/>
                  <a:gd name="connsiteX7" fmla="*/ 328934 w 2147054"/>
                  <a:gd name="connsiteY7" fmla="*/ 1269031 h 3462334"/>
                  <a:gd name="connsiteX8" fmla="*/ 356286 w 2147054"/>
                  <a:gd name="connsiteY8" fmla="*/ 1268519 h 3462334"/>
                  <a:gd name="connsiteX9" fmla="*/ 353118 w 2147054"/>
                  <a:gd name="connsiteY9" fmla="*/ 1138495 h 3462334"/>
                  <a:gd name="connsiteX10" fmla="*/ 234935 w 2147054"/>
                  <a:gd name="connsiteY10" fmla="*/ 1138830 h 3462334"/>
                  <a:gd name="connsiteX11" fmla="*/ 235339 w 2147054"/>
                  <a:gd name="connsiteY11" fmla="*/ 923254 h 3462334"/>
                  <a:gd name="connsiteX12" fmla="*/ 603374 w 2147054"/>
                  <a:gd name="connsiteY12" fmla="*/ 237848 h 3462334"/>
                  <a:gd name="connsiteX13" fmla="*/ 1676542 w 2147054"/>
                  <a:gd name="connsiteY13" fmla="*/ 1356169 h 3462334"/>
                  <a:gd name="connsiteX14" fmla="*/ 1633111 w 2147054"/>
                  <a:gd name="connsiteY14" fmla="*/ 1704376 h 3462334"/>
                  <a:gd name="connsiteX15" fmla="*/ 1635524 w 2147054"/>
                  <a:gd name="connsiteY15" fmla="*/ 2591818 h 3462334"/>
                  <a:gd name="connsiteX16" fmla="*/ 1671717 w 2147054"/>
                  <a:gd name="connsiteY16" fmla="*/ 2867480 h 3462334"/>
                  <a:gd name="connsiteX17" fmla="*/ 1672802 w 2147054"/>
                  <a:gd name="connsiteY17" fmla="*/ 3043348 h 3462334"/>
                  <a:gd name="connsiteX18" fmla="*/ 1674130 w 2147054"/>
                  <a:gd name="connsiteY18" fmla="*/ 3213267 h 3462334"/>
                  <a:gd name="connsiteX19" fmla="*/ 1804424 w 2147054"/>
                  <a:gd name="connsiteY19" fmla="*/ 3462334 h 3462334"/>
                  <a:gd name="connsiteX20" fmla="*/ 1801794 w 2147054"/>
                  <a:gd name="connsiteY20" fmla="*/ 3043348 h 3462334"/>
                  <a:gd name="connsiteX21" fmla="*/ 1814077 w 2147054"/>
                  <a:gd name="connsiteY21" fmla="*/ 2969040 h 3462334"/>
                  <a:gd name="connsiteX22" fmla="*/ 1850270 w 2147054"/>
                  <a:gd name="connsiteY22" fmla="*/ 2884406 h 3462334"/>
                  <a:gd name="connsiteX23" fmla="*/ 2115686 w 2147054"/>
                  <a:gd name="connsiteY23" fmla="*/ 2642597 h 3462334"/>
                  <a:gd name="connsiteX24" fmla="*/ 2144641 w 2147054"/>
                  <a:gd name="connsiteY24" fmla="*/ 2550708 h 3462334"/>
                  <a:gd name="connsiteX25" fmla="*/ 2147054 w 2147054"/>
                  <a:gd name="connsiteY25" fmla="*/ 1750319 h 3462334"/>
                  <a:gd name="connsiteX26" fmla="*/ 2106035 w 2147054"/>
                  <a:gd name="connsiteY26" fmla="*/ 1663267 h 3462334"/>
                  <a:gd name="connsiteX27" fmla="*/ 1826140 w 2147054"/>
                  <a:gd name="connsiteY27" fmla="*/ 1385187 h 3462334"/>
                  <a:gd name="connsiteX28" fmla="*/ 1874398 w 2147054"/>
                  <a:gd name="connsiteY28" fmla="*/ 1165140 h 3462334"/>
                  <a:gd name="connsiteX29" fmla="*/ 1879986 w 2147054"/>
                  <a:gd name="connsiteY29" fmla="*/ 1081411 h 3462334"/>
                  <a:gd name="connsiteX30" fmla="*/ 1816630 w 2147054"/>
                  <a:gd name="connsiteY30" fmla="*/ 913332 h 3462334"/>
                  <a:gd name="connsiteX31" fmla="*/ 958163 w 2147054"/>
                  <a:gd name="connsiteY31" fmla="*/ 0 h 3462334"/>
                  <a:gd name="connsiteX32" fmla="*/ 109261 w 2147054"/>
                  <a:gd name="connsiteY32" fmla="*/ 858457 h 3462334"/>
                  <a:gd name="connsiteX33" fmla="*/ 94804 w 2147054"/>
                  <a:gd name="connsiteY33" fmla="*/ 1146972 h 3462334"/>
                  <a:gd name="connsiteX34" fmla="*/ 9907 w 2147054"/>
                  <a:gd name="connsiteY34" fmla="*/ 1521969 h 3462334"/>
                  <a:gd name="connsiteX35" fmla="*/ 0 w 2147054"/>
                  <a:gd name="connsiteY35" fmla="*/ 2778708 h 3462334"/>
                  <a:gd name="connsiteX0" fmla="*/ 0 w 2147054"/>
                  <a:gd name="connsiteY0" fmla="*/ 2778708 h 3462334"/>
                  <a:gd name="connsiteX1" fmla="*/ 555371 w 2147054"/>
                  <a:gd name="connsiteY1" fmla="*/ 2747193 h 3462334"/>
                  <a:gd name="connsiteX2" fmla="*/ 556550 w 2147054"/>
                  <a:gd name="connsiteY2" fmla="*/ 1594571 h 3462334"/>
                  <a:gd name="connsiteX3" fmla="*/ 542073 w 2147054"/>
                  <a:gd name="connsiteY3" fmla="*/ 1512297 h 3462334"/>
                  <a:gd name="connsiteX4" fmla="*/ 368764 w 2147054"/>
                  <a:gd name="connsiteY4" fmla="*/ 1302973 h 3462334"/>
                  <a:gd name="connsiteX5" fmla="*/ 329287 w 2147054"/>
                  <a:gd name="connsiteY5" fmla="*/ 1302809 h 3462334"/>
                  <a:gd name="connsiteX6" fmla="*/ 328934 w 2147054"/>
                  <a:gd name="connsiteY6" fmla="*/ 1269031 h 3462334"/>
                  <a:gd name="connsiteX7" fmla="*/ 356286 w 2147054"/>
                  <a:gd name="connsiteY7" fmla="*/ 1268519 h 3462334"/>
                  <a:gd name="connsiteX8" fmla="*/ 353118 w 2147054"/>
                  <a:gd name="connsiteY8" fmla="*/ 1138495 h 3462334"/>
                  <a:gd name="connsiteX9" fmla="*/ 234935 w 2147054"/>
                  <a:gd name="connsiteY9" fmla="*/ 1138830 h 3462334"/>
                  <a:gd name="connsiteX10" fmla="*/ 235339 w 2147054"/>
                  <a:gd name="connsiteY10" fmla="*/ 923254 h 3462334"/>
                  <a:gd name="connsiteX11" fmla="*/ 603374 w 2147054"/>
                  <a:gd name="connsiteY11" fmla="*/ 237848 h 3462334"/>
                  <a:gd name="connsiteX12" fmla="*/ 1676542 w 2147054"/>
                  <a:gd name="connsiteY12" fmla="*/ 1356169 h 3462334"/>
                  <a:gd name="connsiteX13" fmla="*/ 1633111 w 2147054"/>
                  <a:gd name="connsiteY13" fmla="*/ 1704376 h 3462334"/>
                  <a:gd name="connsiteX14" fmla="*/ 1635524 w 2147054"/>
                  <a:gd name="connsiteY14" fmla="*/ 2591818 h 3462334"/>
                  <a:gd name="connsiteX15" fmla="*/ 1671717 w 2147054"/>
                  <a:gd name="connsiteY15" fmla="*/ 2867480 h 3462334"/>
                  <a:gd name="connsiteX16" fmla="*/ 1672802 w 2147054"/>
                  <a:gd name="connsiteY16" fmla="*/ 3043348 h 3462334"/>
                  <a:gd name="connsiteX17" fmla="*/ 1674130 w 2147054"/>
                  <a:gd name="connsiteY17" fmla="*/ 3213267 h 3462334"/>
                  <a:gd name="connsiteX18" fmla="*/ 1804424 w 2147054"/>
                  <a:gd name="connsiteY18" fmla="*/ 3462334 h 3462334"/>
                  <a:gd name="connsiteX19" fmla="*/ 1801794 w 2147054"/>
                  <a:gd name="connsiteY19" fmla="*/ 3043348 h 3462334"/>
                  <a:gd name="connsiteX20" fmla="*/ 1814077 w 2147054"/>
                  <a:gd name="connsiteY20" fmla="*/ 2969040 h 3462334"/>
                  <a:gd name="connsiteX21" fmla="*/ 1850270 w 2147054"/>
                  <a:gd name="connsiteY21" fmla="*/ 2884406 h 3462334"/>
                  <a:gd name="connsiteX22" fmla="*/ 2115686 w 2147054"/>
                  <a:gd name="connsiteY22" fmla="*/ 2642597 h 3462334"/>
                  <a:gd name="connsiteX23" fmla="*/ 2144641 w 2147054"/>
                  <a:gd name="connsiteY23" fmla="*/ 2550708 h 3462334"/>
                  <a:gd name="connsiteX24" fmla="*/ 2147054 w 2147054"/>
                  <a:gd name="connsiteY24" fmla="*/ 1750319 h 3462334"/>
                  <a:gd name="connsiteX25" fmla="*/ 2106035 w 2147054"/>
                  <a:gd name="connsiteY25" fmla="*/ 1663267 h 3462334"/>
                  <a:gd name="connsiteX26" fmla="*/ 1826140 w 2147054"/>
                  <a:gd name="connsiteY26" fmla="*/ 1385187 h 3462334"/>
                  <a:gd name="connsiteX27" fmla="*/ 1874398 w 2147054"/>
                  <a:gd name="connsiteY27" fmla="*/ 1165140 h 3462334"/>
                  <a:gd name="connsiteX28" fmla="*/ 1879986 w 2147054"/>
                  <a:gd name="connsiteY28" fmla="*/ 1081411 h 3462334"/>
                  <a:gd name="connsiteX29" fmla="*/ 1816630 w 2147054"/>
                  <a:gd name="connsiteY29" fmla="*/ 913332 h 3462334"/>
                  <a:gd name="connsiteX30" fmla="*/ 958163 w 2147054"/>
                  <a:gd name="connsiteY30" fmla="*/ 0 h 3462334"/>
                  <a:gd name="connsiteX31" fmla="*/ 109261 w 2147054"/>
                  <a:gd name="connsiteY31" fmla="*/ 858457 h 3462334"/>
                  <a:gd name="connsiteX32" fmla="*/ 94804 w 2147054"/>
                  <a:gd name="connsiteY32" fmla="*/ 1146972 h 3462334"/>
                  <a:gd name="connsiteX33" fmla="*/ 9907 w 2147054"/>
                  <a:gd name="connsiteY33" fmla="*/ 1521969 h 3462334"/>
                  <a:gd name="connsiteX34" fmla="*/ 0 w 2147054"/>
                  <a:gd name="connsiteY34" fmla="*/ 2778708 h 3462334"/>
                  <a:gd name="connsiteX0" fmla="*/ 0 w 2147054"/>
                  <a:gd name="connsiteY0" fmla="*/ 2778708 h 3462334"/>
                  <a:gd name="connsiteX1" fmla="*/ 556550 w 2147054"/>
                  <a:gd name="connsiteY1" fmla="*/ 1594571 h 3462334"/>
                  <a:gd name="connsiteX2" fmla="*/ 542073 w 2147054"/>
                  <a:gd name="connsiteY2" fmla="*/ 1512297 h 3462334"/>
                  <a:gd name="connsiteX3" fmla="*/ 368764 w 2147054"/>
                  <a:gd name="connsiteY3" fmla="*/ 1302973 h 3462334"/>
                  <a:gd name="connsiteX4" fmla="*/ 329287 w 2147054"/>
                  <a:gd name="connsiteY4" fmla="*/ 1302809 h 3462334"/>
                  <a:gd name="connsiteX5" fmla="*/ 328934 w 2147054"/>
                  <a:gd name="connsiteY5" fmla="*/ 1269031 h 3462334"/>
                  <a:gd name="connsiteX6" fmla="*/ 356286 w 2147054"/>
                  <a:gd name="connsiteY6" fmla="*/ 1268519 h 3462334"/>
                  <a:gd name="connsiteX7" fmla="*/ 353118 w 2147054"/>
                  <a:gd name="connsiteY7" fmla="*/ 1138495 h 3462334"/>
                  <a:gd name="connsiteX8" fmla="*/ 234935 w 2147054"/>
                  <a:gd name="connsiteY8" fmla="*/ 1138830 h 3462334"/>
                  <a:gd name="connsiteX9" fmla="*/ 235339 w 2147054"/>
                  <a:gd name="connsiteY9" fmla="*/ 923254 h 3462334"/>
                  <a:gd name="connsiteX10" fmla="*/ 603374 w 2147054"/>
                  <a:gd name="connsiteY10" fmla="*/ 237848 h 3462334"/>
                  <a:gd name="connsiteX11" fmla="*/ 1676542 w 2147054"/>
                  <a:gd name="connsiteY11" fmla="*/ 1356169 h 3462334"/>
                  <a:gd name="connsiteX12" fmla="*/ 1633111 w 2147054"/>
                  <a:gd name="connsiteY12" fmla="*/ 1704376 h 3462334"/>
                  <a:gd name="connsiteX13" fmla="*/ 1635524 w 2147054"/>
                  <a:gd name="connsiteY13" fmla="*/ 2591818 h 3462334"/>
                  <a:gd name="connsiteX14" fmla="*/ 1671717 w 2147054"/>
                  <a:gd name="connsiteY14" fmla="*/ 2867480 h 3462334"/>
                  <a:gd name="connsiteX15" fmla="*/ 1672802 w 2147054"/>
                  <a:gd name="connsiteY15" fmla="*/ 3043348 h 3462334"/>
                  <a:gd name="connsiteX16" fmla="*/ 1674130 w 2147054"/>
                  <a:gd name="connsiteY16" fmla="*/ 3213267 h 3462334"/>
                  <a:gd name="connsiteX17" fmla="*/ 1804424 w 2147054"/>
                  <a:gd name="connsiteY17" fmla="*/ 3462334 h 3462334"/>
                  <a:gd name="connsiteX18" fmla="*/ 1801794 w 2147054"/>
                  <a:gd name="connsiteY18" fmla="*/ 3043348 h 3462334"/>
                  <a:gd name="connsiteX19" fmla="*/ 1814077 w 2147054"/>
                  <a:gd name="connsiteY19" fmla="*/ 2969040 h 3462334"/>
                  <a:gd name="connsiteX20" fmla="*/ 1850270 w 2147054"/>
                  <a:gd name="connsiteY20" fmla="*/ 2884406 h 3462334"/>
                  <a:gd name="connsiteX21" fmla="*/ 2115686 w 2147054"/>
                  <a:gd name="connsiteY21" fmla="*/ 2642597 h 3462334"/>
                  <a:gd name="connsiteX22" fmla="*/ 2144641 w 2147054"/>
                  <a:gd name="connsiteY22" fmla="*/ 2550708 h 3462334"/>
                  <a:gd name="connsiteX23" fmla="*/ 2147054 w 2147054"/>
                  <a:gd name="connsiteY23" fmla="*/ 1750319 h 3462334"/>
                  <a:gd name="connsiteX24" fmla="*/ 2106035 w 2147054"/>
                  <a:gd name="connsiteY24" fmla="*/ 1663267 h 3462334"/>
                  <a:gd name="connsiteX25" fmla="*/ 1826140 w 2147054"/>
                  <a:gd name="connsiteY25" fmla="*/ 1385187 h 3462334"/>
                  <a:gd name="connsiteX26" fmla="*/ 1874398 w 2147054"/>
                  <a:gd name="connsiteY26" fmla="*/ 1165140 h 3462334"/>
                  <a:gd name="connsiteX27" fmla="*/ 1879986 w 2147054"/>
                  <a:gd name="connsiteY27" fmla="*/ 1081411 h 3462334"/>
                  <a:gd name="connsiteX28" fmla="*/ 1816630 w 2147054"/>
                  <a:gd name="connsiteY28" fmla="*/ 913332 h 3462334"/>
                  <a:gd name="connsiteX29" fmla="*/ 958163 w 2147054"/>
                  <a:gd name="connsiteY29" fmla="*/ 0 h 3462334"/>
                  <a:gd name="connsiteX30" fmla="*/ 109261 w 2147054"/>
                  <a:gd name="connsiteY30" fmla="*/ 858457 h 3462334"/>
                  <a:gd name="connsiteX31" fmla="*/ 94804 w 2147054"/>
                  <a:gd name="connsiteY31" fmla="*/ 1146972 h 3462334"/>
                  <a:gd name="connsiteX32" fmla="*/ 9907 w 2147054"/>
                  <a:gd name="connsiteY32" fmla="*/ 1521969 h 3462334"/>
                  <a:gd name="connsiteX33" fmla="*/ 0 w 2147054"/>
                  <a:gd name="connsiteY33" fmla="*/ 2778708 h 3462334"/>
                  <a:gd name="connsiteX0" fmla="*/ 0 w 2137147"/>
                  <a:gd name="connsiteY0" fmla="*/ 1521969 h 3462334"/>
                  <a:gd name="connsiteX1" fmla="*/ 546643 w 2137147"/>
                  <a:gd name="connsiteY1" fmla="*/ 1594571 h 3462334"/>
                  <a:gd name="connsiteX2" fmla="*/ 532166 w 2137147"/>
                  <a:gd name="connsiteY2" fmla="*/ 1512297 h 3462334"/>
                  <a:gd name="connsiteX3" fmla="*/ 358857 w 2137147"/>
                  <a:gd name="connsiteY3" fmla="*/ 1302973 h 3462334"/>
                  <a:gd name="connsiteX4" fmla="*/ 319380 w 2137147"/>
                  <a:gd name="connsiteY4" fmla="*/ 1302809 h 3462334"/>
                  <a:gd name="connsiteX5" fmla="*/ 319027 w 2137147"/>
                  <a:gd name="connsiteY5" fmla="*/ 1269031 h 3462334"/>
                  <a:gd name="connsiteX6" fmla="*/ 346379 w 2137147"/>
                  <a:gd name="connsiteY6" fmla="*/ 1268519 h 3462334"/>
                  <a:gd name="connsiteX7" fmla="*/ 343211 w 2137147"/>
                  <a:gd name="connsiteY7" fmla="*/ 1138495 h 3462334"/>
                  <a:gd name="connsiteX8" fmla="*/ 225028 w 2137147"/>
                  <a:gd name="connsiteY8" fmla="*/ 1138830 h 3462334"/>
                  <a:gd name="connsiteX9" fmla="*/ 225432 w 2137147"/>
                  <a:gd name="connsiteY9" fmla="*/ 923254 h 3462334"/>
                  <a:gd name="connsiteX10" fmla="*/ 593467 w 2137147"/>
                  <a:gd name="connsiteY10" fmla="*/ 237848 h 3462334"/>
                  <a:gd name="connsiteX11" fmla="*/ 1666635 w 2137147"/>
                  <a:gd name="connsiteY11" fmla="*/ 1356169 h 3462334"/>
                  <a:gd name="connsiteX12" fmla="*/ 1623204 w 2137147"/>
                  <a:gd name="connsiteY12" fmla="*/ 1704376 h 3462334"/>
                  <a:gd name="connsiteX13" fmla="*/ 1625617 w 2137147"/>
                  <a:gd name="connsiteY13" fmla="*/ 2591818 h 3462334"/>
                  <a:gd name="connsiteX14" fmla="*/ 1661810 w 2137147"/>
                  <a:gd name="connsiteY14" fmla="*/ 2867480 h 3462334"/>
                  <a:gd name="connsiteX15" fmla="*/ 1662895 w 2137147"/>
                  <a:gd name="connsiteY15" fmla="*/ 3043348 h 3462334"/>
                  <a:gd name="connsiteX16" fmla="*/ 1664223 w 2137147"/>
                  <a:gd name="connsiteY16" fmla="*/ 3213267 h 3462334"/>
                  <a:gd name="connsiteX17" fmla="*/ 1794517 w 2137147"/>
                  <a:gd name="connsiteY17" fmla="*/ 3462334 h 3462334"/>
                  <a:gd name="connsiteX18" fmla="*/ 1791887 w 2137147"/>
                  <a:gd name="connsiteY18" fmla="*/ 3043348 h 3462334"/>
                  <a:gd name="connsiteX19" fmla="*/ 1804170 w 2137147"/>
                  <a:gd name="connsiteY19" fmla="*/ 2969040 h 3462334"/>
                  <a:gd name="connsiteX20" fmla="*/ 1840363 w 2137147"/>
                  <a:gd name="connsiteY20" fmla="*/ 2884406 h 3462334"/>
                  <a:gd name="connsiteX21" fmla="*/ 2105779 w 2137147"/>
                  <a:gd name="connsiteY21" fmla="*/ 2642597 h 3462334"/>
                  <a:gd name="connsiteX22" fmla="*/ 2134734 w 2137147"/>
                  <a:gd name="connsiteY22" fmla="*/ 2550708 h 3462334"/>
                  <a:gd name="connsiteX23" fmla="*/ 2137147 w 2137147"/>
                  <a:gd name="connsiteY23" fmla="*/ 1750319 h 3462334"/>
                  <a:gd name="connsiteX24" fmla="*/ 2096128 w 2137147"/>
                  <a:gd name="connsiteY24" fmla="*/ 1663267 h 3462334"/>
                  <a:gd name="connsiteX25" fmla="*/ 1816233 w 2137147"/>
                  <a:gd name="connsiteY25" fmla="*/ 1385187 h 3462334"/>
                  <a:gd name="connsiteX26" fmla="*/ 1864491 w 2137147"/>
                  <a:gd name="connsiteY26" fmla="*/ 1165140 h 3462334"/>
                  <a:gd name="connsiteX27" fmla="*/ 1870079 w 2137147"/>
                  <a:gd name="connsiteY27" fmla="*/ 1081411 h 3462334"/>
                  <a:gd name="connsiteX28" fmla="*/ 1806723 w 2137147"/>
                  <a:gd name="connsiteY28" fmla="*/ 913332 h 3462334"/>
                  <a:gd name="connsiteX29" fmla="*/ 948256 w 2137147"/>
                  <a:gd name="connsiteY29" fmla="*/ 0 h 3462334"/>
                  <a:gd name="connsiteX30" fmla="*/ 99354 w 2137147"/>
                  <a:gd name="connsiteY30" fmla="*/ 858457 h 3462334"/>
                  <a:gd name="connsiteX31" fmla="*/ 84897 w 2137147"/>
                  <a:gd name="connsiteY31" fmla="*/ 1146972 h 3462334"/>
                  <a:gd name="connsiteX32" fmla="*/ 0 w 2137147"/>
                  <a:gd name="connsiteY32" fmla="*/ 1521969 h 3462334"/>
                  <a:gd name="connsiteX0" fmla="*/ 0 w 2137147"/>
                  <a:gd name="connsiteY0" fmla="*/ 1521969 h 3462334"/>
                  <a:gd name="connsiteX1" fmla="*/ 546643 w 2137147"/>
                  <a:gd name="connsiteY1" fmla="*/ 1594571 h 3462334"/>
                  <a:gd name="connsiteX2" fmla="*/ 532166 w 2137147"/>
                  <a:gd name="connsiteY2" fmla="*/ 1512297 h 3462334"/>
                  <a:gd name="connsiteX3" fmla="*/ 358857 w 2137147"/>
                  <a:gd name="connsiteY3" fmla="*/ 1302973 h 3462334"/>
                  <a:gd name="connsiteX4" fmla="*/ 319380 w 2137147"/>
                  <a:gd name="connsiteY4" fmla="*/ 1302809 h 3462334"/>
                  <a:gd name="connsiteX5" fmla="*/ 319027 w 2137147"/>
                  <a:gd name="connsiteY5" fmla="*/ 1269031 h 3462334"/>
                  <a:gd name="connsiteX6" fmla="*/ 346379 w 2137147"/>
                  <a:gd name="connsiteY6" fmla="*/ 1268519 h 3462334"/>
                  <a:gd name="connsiteX7" fmla="*/ 343211 w 2137147"/>
                  <a:gd name="connsiteY7" fmla="*/ 1138495 h 3462334"/>
                  <a:gd name="connsiteX8" fmla="*/ 225028 w 2137147"/>
                  <a:gd name="connsiteY8" fmla="*/ 1138830 h 3462334"/>
                  <a:gd name="connsiteX9" fmla="*/ 225432 w 2137147"/>
                  <a:gd name="connsiteY9" fmla="*/ 923254 h 3462334"/>
                  <a:gd name="connsiteX10" fmla="*/ 593467 w 2137147"/>
                  <a:gd name="connsiteY10" fmla="*/ 237848 h 3462334"/>
                  <a:gd name="connsiteX11" fmla="*/ 1666635 w 2137147"/>
                  <a:gd name="connsiteY11" fmla="*/ 1356169 h 3462334"/>
                  <a:gd name="connsiteX12" fmla="*/ 1623204 w 2137147"/>
                  <a:gd name="connsiteY12" fmla="*/ 1704376 h 3462334"/>
                  <a:gd name="connsiteX13" fmla="*/ 1625617 w 2137147"/>
                  <a:gd name="connsiteY13" fmla="*/ 2591818 h 3462334"/>
                  <a:gd name="connsiteX14" fmla="*/ 1661810 w 2137147"/>
                  <a:gd name="connsiteY14" fmla="*/ 2867480 h 3462334"/>
                  <a:gd name="connsiteX15" fmla="*/ 1662895 w 2137147"/>
                  <a:gd name="connsiteY15" fmla="*/ 3043348 h 3462334"/>
                  <a:gd name="connsiteX16" fmla="*/ 1794517 w 2137147"/>
                  <a:gd name="connsiteY16" fmla="*/ 3462334 h 3462334"/>
                  <a:gd name="connsiteX17" fmla="*/ 1791887 w 2137147"/>
                  <a:gd name="connsiteY17" fmla="*/ 3043348 h 3462334"/>
                  <a:gd name="connsiteX18" fmla="*/ 1804170 w 2137147"/>
                  <a:gd name="connsiteY18" fmla="*/ 2969040 h 3462334"/>
                  <a:gd name="connsiteX19" fmla="*/ 1840363 w 2137147"/>
                  <a:gd name="connsiteY19" fmla="*/ 2884406 h 3462334"/>
                  <a:gd name="connsiteX20" fmla="*/ 2105779 w 2137147"/>
                  <a:gd name="connsiteY20" fmla="*/ 2642597 h 3462334"/>
                  <a:gd name="connsiteX21" fmla="*/ 2134734 w 2137147"/>
                  <a:gd name="connsiteY21" fmla="*/ 2550708 h 3462334"/>
                  <a:gd name="connsiteX22" fmla="*/ 2137147 w 2137147"/>
                  <a:gd name="connsiteY22" fmla="*/ 1750319 h 3462334"/>
                  <a:gd name="connsiteX23" fmla="*/ 2096128 w 2137147"/>
                  <a:gd name="connsiteY23" fmla="*/ 1663267 h 3462334"/>
                  <a:gd name="connsiteX24" fmla="*/ 1816233 w 2137147"/>
                  <a:gd name="connsiteY24" fmla="*/ 1385187 h 3462334"/>
                  <a:gd name="connsiteX25" fmla="*/ 1864491 w 2137147"/>
                  <a:gd name="connsiteY25" fmla="*/ 1165140 h 3462334"/>
                  <a:gd name="connsiteX26" fmla="*/ 1870079 w 2137147"/>
                  <a:gd name="connsiteY26" fmla="*/ 1081411 h 3462334"/>
                  <a:gd name="connsiteX27" fmla="*/ 1806723 w 2137147"/>
                  <a:gd name="connsiteY27" fmla="*/ 913332 h 3462334"/>
                  <a:gd name="connsiteX28" fmla="*/ 948256 w 2137147"/>
                  <a:gd name="connsiteY28" fmla="*/ 0 h 3462334"/>
                  <a:gd name="connsiteX29" fmla="*/ 99354 w 2137147"/>
                  <a:gd name="connsiteY29" fmla="*/ 858457 h 3462334"/>
                  <a:gd name="connsiteX30" fmla="*/ 84897 w 2137147"/>
                  <a:gd name="connsiteY30" fmla="*/ 1146972 h 3462334"/>
                  <a:gd name="connsiteX31" fmla="*/ 0 w 2137147"/>
                  <a:gd name="connsiteY31" fmla="*/ 1521969 h 3462334"/>
                  <a:gd name="connsiteX0" fmla="*/ 0 w 2137147"/>
                  <a:gd name="connsiteY0" fmla="*/ 1521969 h 3059583"/>
                  <a:gd name="connsiteX1" fmla="*/ 546643 w 2137147"/>
                  <a:gd name="connsiteY1" fmla="*/ 1594571 h 3059583"/>
                  <a:gd name="connsiteX2" fmla="*/ 532166 w 2137147"/>
                  <a:gd name="connsiteY2" fmla="*/ 1512297 h 3059583"/>
                  <a:gd name="connsiteX3" fmla="*/ 358857 w 2137147"/>
                  <a:gd name="connsiteY3" fmla="*/ 1302973 h 3059583"/>
                  <a:gd name="connsiteX4" fmla="*/ 319380 w 2137147"/>
                  <a:gd name="connsiteY4" fmla="*/ 1302809 h 3059583"/>
                  <a:gd name="connsiteX5" fmla="*/ 319027 w 2137147"/>
                  <a:gd name="connsiteY5" fmla="*/ 1269031 h 3059583"/>
                  <a:gd name="connsiteX6" fmla="*/ 346379 w 2137147"/>
                  <a:gd name="connsiteY6" fmla="*/ 1268519 h 3059583"/>
                  <a:gd name="connsiteX7" fmla="*/ 343211 w 2137147"/>
                  <a:gd name="connsiteY7" fmla="*/ 1138495 h 3059583"/>
                  <a:gd name="connsiteX8" fmla="*/ 225028 w 2137147"/>
                  <a:gd name="connsiteY8" fmla="*/ 1138830 h 3059583"/>
                  <a:gd name="connsiteX9" fmla="*/ 225432 w 2137147"/>
                  <a:gd name="connsiteY9" fmla="*/ 923254 h 3059583"/>
                  <a:gd name="connsiteX10" fmla="*/ 593467 w 2137147"/>
                  <a:gd name="connsiteY10" fmla="*/ 237848 h 3059583"/>
                  <a:gd name="connsiteX11" fmla="*/ 1666635 w 2137147"/>
                  <a:gd name="connsiteY11" fmla="*/ 1356169 h 3059583"/>
                  <a:gd name="connsiteX12" fmla="*/ 1623204 w 2137147"/>
                  <a:gd name="connsiteY12" fmla="*/ 1704376 h 3059583"/>
                  <a:gd name="connsiteX13" fmla="*/ 1625617 w 2137147"/>
                  <a:gd name="connsiteY13" fmla="*/ 2591818 h 3059583"/>
                  <a:gd name="connsiteX14" fmla="*/ 1661810 w 2137147"/>
                  <a:gd name="connsiteY14" fmla="*/ 2867480 h 3059583"/>
                  <a:gd name="connsiteX15" fmla="*/ 1662895 w 2137147"/>
                  <a:gd name="connsiteY15" fmla="*/ 3043348 h 3059583"/>
                  <a:gd name="connsiteX16" fmla="*/ 1791887 w 2137147"/>
                  <a:gd name="connsiteY16" fmla="*/ 3043348 h 3059583"/>
                  <a:gd name="connsiteX17" fmla="*/ 1804170 w 2137147"/>
                  <a:gd name="connsiteY17" fmla="*/ 2969040 h 3059583"/>
                  <a:gd name="connsiteX18" fmla="*/ 1840363 w 2137147"/>
                  <a:gd name="connsiteY18" fmla="*/ 2884406 h 3059583"/>
                  <a:gd name="connsiteX19" fmla="*/ 2105779 w 2137147"/>
                  <a:gd name="connsiteY19" fmla="*/ 2642597 h 3059583"/>
                  <a:gd name="connsiteX20" fmla="*/ 2134734 w 2137147"/>
                  <a:gd name="connsiteY20" fmla="*/ 2550708 h 3059583"/>
                  <a:gd name="connsiteX21" fmla="*/ 2137147 w 2137147"/>
                  <a:gd name="connsiteY21" fmla="*/ 1750319 h 3059583"/>
                  <a:gd name="connsiteX22" fmla="*/ 2096128 w 2137147"/>
                  <a:gd name="connsiteY22" fmla="*/ 1663267 h 3059583"/>
                  <a:gd name="connsiteX23" fmla="*/ 1816233 w 2137147"/>
                  <a:gd name="connsiteY23" fmla="*/ 1385187 h 3059583"/>
                  <a:gd name="connsiteX24" fmla="*/ 1864491 w 2137147"/>
                  <a:gd name="connsiteY24" fmla="*/ 1165140 h 3059583"/>
                  <a:gd name="connsiteX25" fmla="*/ 1870079 w 2137147"/>
                  <a:gd name="connsiteY25" fmla="*/ 1081411 h 3059583"/>
                  <a:gd name="connsiteX26" fmla="*/ 1806723 w 2137147"/>
                  <a:gd name="connsiteY26" fmla="*/ 913332 h 3059583"/>
                  <a:gd name="connsiteX27" fmla="*/ 948256 w 2137147"/>
                  <a:gd name="connsiteY27" fmla="*/ 0 h 3059583"/>
                  <a:gd name="connsiteX28" fmla="*/ 99354 w 2137147"/>
                  <a:gd name="connsiteY28" fmla="*/ 858457 h 3059583"/>
                  <a:gd name="connsiteX29" fmla="*/ 84897 w 2137147"/>
                  <a:gd name="connsiteY29" fmla="*/ 1146972 h 3059583"/>
                  <a:gd name="connsiteX30" fmla="*/ 0 w 2137147"/>
                  <a:gd name="connsiteY30" fmla="*/ 1521969 h 3059583"/>
                  <a:gd name="connsiteX0" fmla="*/ 0 w 2137147"/>
                  <a:gd name="connsiteY0" fmla="*/ 1521969 h 3059583"/>
                  <a:gd name="connsiteX1" fmla="*/ 532166 w 2137147"/>
                  <a:gd name="connsiteY1" fmla="*/ 1512297 h 3059583"/>
                  <a:gd name="connsiteX2" fmla="*/ 358857 w 2137147"/>
                  <a:gd name="connsiteY2" fmla="*/ 1302973 h 3059583"/>
                  <a:gd name="connsiteX3" fmla="*/ 319380 w 2137147"/>
                  <a:gd name="connsiteY3" fmla="*/ 1302809 h 3059583"/>
                  <a:gd name="connsiteX4" fmla="*/ 319027 w 2137147"/>
                  <a:gd name="connsiteY4" fmla="*/ 1269031 h 3059583"/>
                  <a:gd name="connsiteX5" fmla="*/ 346379 w 2137147"/>
                  <a:gd name="connsiteY5" fmla="*/ 1268519 h 3059583"/>
                  <a:gd name="connsiteX6" fmla="*/ 343211 w 2137147"/>
                  <a:gd name="connsiteY6" fmla="*/ 1138495 h 3059583"/>
                  <a:gd name="connsiteX7" fmla="*/ 225028 w 2137147"/>
                  <a:gd name="connsiteY7" fmla="*/ 1138830 h 3059583"/>
                  <a:gd name="connsiteX8" fmla="*/ 225432 w 2137147"/>
                  <a:gd name="connsiteY8" fmla="*/ 923254 h 3059583"/>
                  <a:gd name="connsiteX9" fmla="*/ 593467 w 2137147"/>
                  <a:gd name="connsiteY9" fmla="*/ 237848 h 3059583"/>
                  <a:gd name="connsiteX10" fmla="*/ 1666635 w 2137147"/>
                  <a:gd name="connsiteY10" fmla="*/ 1356169 h 3059583"/>
                  <a:gd name="connsiteX11" fmla="*/ 1623204 w 2137147"/>
                  <a:gd name="connsiteY11" fmla="*/ 1704376 h 3059583"/>
                  <a:gd name="connsiteX12" fmla="*/ 1625617 w 2137147"/>
                  <a:gd name="connsiteY12" fmla="*/ 2591818 h 3059583"/>
                  <a:gd name="connsiteX13" fmla="*/ 1661810 w 2137147"/>
                  <a:gd name="connsiteY13" fmla="*/ 2867480 h 3059583"/>
                  <a:gd name="connsiteX14" fmla="*/ 1662895 w 2137147"/>
                  <a:gd name="connsiteY14" fmla="*/ 3043348 h 3059583"/>
                  <a:gd name="connsiteX15" fmla="*/ 1791887 w 2137147"/>
                  <a:gd name="connsiteY15" fmla="*/ 3043348 h 3059583"/>
                  <a:gd name="connsiteX16" fmla="*/ 1804170 w 2137147"/>
                  <a:gd name="connsiteY16" fmla="*/ 2969040 h 3059583"/>
                  <a:gd name="connsiteX17" fmla="*/ 1840363 w 2137147"/>
                  <a:gd name="connsiteY17" fmla="*/ 2884406 h 3059583"/>
                  <a:gd name="connsiteX18" fmla="*/ 2105779 w 2137147"/>
                  <a:gd name="connsiteY18" fmla="*/ 2642597 h 3059583"/>
                  <a:gd name="connsiteX19" fmla="*/ 2134734 w 2137147"/>
                  <a:gd name="connsiteY19" fmla="*/ 2550708 h 3059583"/>
                  <a:gd name="connsiteX20" fmla="*/ 2137147 w 2137147"/>
                  <a:gd name="connsiteY20" fmla="*/ 1750319 h 3059583"/>
                  <a:gd name="connsiteX21" fmla="*/ 2096128 w 2137147"/>
                  <a:gd name="connsiteY21" fmla="*/ 1663267 h 3059583"/>
                  <a:gd name="connsiteX22" fmla="*/ 1816233 w 2137147"/>
                  <a:gd name="connsiteY22" fmla="*/ 1385187 h 3059583"/>
                  <a:gd name="connsiteX23" fmla="*/ 1864491 w 2137147"/>
                  <a:gd name="connsiteY23" fmla="*/ 1165140 h 3059583"/>
                  <a:gd name="connsiteX24" fmla="*/ 1870079 w 2137147"/>
                  <a:gd name="connsiteY24" fmla="*/ 1081411 h 3059583"/>
                  <a:gd name="connsiteX25" fmla="*/ 1806723 w 2137147"/>
                  <a:gd name="connsiteY25" fmla="*/ 913332 h 3059583"/>
                  <a:gd name="connsiteX26" fmla="*/ 948256 w 2137147"/>
                  <a:gd name="connsiteY26" fmla="*/ 0 h 3059583"/>
                  <a:gd name="connsiteX27" fmla="*/ 99354 w 2137147"/>
                  <a:gd name="connsiteY27" fmla="*/ 858457 h 3059583"/>
                  <a:gd name="connsiteX28" fmla="*/ 84897 w 2137147"/>
                  <a:gd name="connsiteY28" fmla="*/ 1146972 h 3059583"/>
                  <a:gd name="connsiteX29" fmla="*/ 0 w 2137147"/>
                  <a:gd name="connsiteY29" fmla="*/ 1521969 h 3059583"/>
                  <a:gd name="connsiteX0" fmla="*/ 0 w 2137147"/>
                  <a:gd name="connsiteY0" fmla="*/ 1521969 h 3059583"/>
                  <a:gd name="connsiteX1" fmla="*/ 358857 w 2137147"/>
                  <a:gd name="connsiteY1" fmla="*/ 1302973 h 3059583"/>
                  <a:gd name="connsiteX2" fmla="*/ 319380 w 2137147"/>
                  <a:gd name="connsiteY2" fmla="*/ 1302809 h 3059583"/>
                  <a:gd name="connsiteX3" fmla="*/ 319027 w 2137147"/>
                  <a:gd name="connsiteY3" fmla="*/ 1269031 h 3059583"/>
                  <a:gd name="connsiteX4" fmla="*/ 346379 w 2137147"/>
                  <a:gd name="connsiteY4" fmla="*/ 1268519 h 3059583"/>
                  <a:gd name="connsiteX5" fmla="*/ 343211 w 2137147"/>
                  <a:gd name="connsiteY5" fmla="*/ 1138495 h 3059583"/>
                  <a:gd name="connsiteX6" fmla="*/ 225028 w 2137147"/>
                  <a:gd name="connsiteY6" fmla="*/ 1138830 h 3059583"/>
                  <a:gd name="connsiteX7" fmla="*/ 225432 w 2137147"/>
                  <a:gd name="connsiteY7" fmla="*/ 923254 h 3059583"/>
                  <a:gd name="connsiteX8" fmla="*/ 593467 w 2137147"/>
                  <a:gd name="connsiteY8" fmla="*/ 237848 h 3059583"/>
                  <a:gd name="connsiteX9" fmla="*/ 1666635 w 2137147"/>
                  <a:gd name="connsiteY9" fmla="*/ 1356169 h 3059583"/>
                  <a:gd name="connsiteX10" fmla="*/ 1623204 w 2137147"/>
                  <a:gd name="connsiteY10" fmla="*/ 1704376 h 3059583"/>
                  <a:gd name="connsiteX11" fmla="*/ 1625617 w 2137147"/>
                  <a:gd name="connsiteY11" fmla="*/ 2591818 h 3059583"/>
                  <a:gd name="connsiteX12" fmla="*/ 1661810 w 2137147"/>
                  <a:gd name="connsiteY12" fmla="*/ 2867480 h 3059583"/>
                  <a:gd name="connsiteX13" fmla="*/ 1662895 w 2137147"/>
                  <a:gd name="connsiteY13" fmla="*/ 3043348 h 3059583"/>
                  <a:gd name="connsiteX14" fmla="*/ 1791887 w 2137147"/>
                  <a:gd name="connsiteY14" fmla="*/ 3043348 h 3059583"/>
                  <a:gd name="connsiteX15" fmla="*/ 1804170 w 2137147"/>
                  <a:gd name="connsiteY15" fmla="*/ 2969040 h 3059583"/>
                  <a:gd name="connsiteX16" fmla="*/ 1840363 w 2137147"/>
                  <a:gd name="connsiteY16" fmla="*/ 2884406 h 3059583"/>
                  <a:gd name="connsiteX17" fmla="*/ 2105779 w 2137147"/>
                  <a:gd name="connsiteY17" fmla="*/ 2642597 h 3059583"/>
                  <a:gd name="connsiteX18" fmla="*/ 2134734 w 2137147"/>
                  <a:gd name="connsiteY18" fmla="*/ 2550708 h 3059583"/>
                  <a:gd name="connsiteX19" fmla="*/ 2137147 w 2137147"/>
                  <a:gd name="connsiteY19" fmla="*/ 1750319 h 3059583"/>
                  <a:gd name="connsiteX20" fmla="*/ 2096128 w 2137147"/>
                  <a:gd name="connsiteY20" fmla="*/ 1663267 h 3059583"/>
                  <a:gd name="connsiteX21" fmla="*/ 1816233 w 2137147"/>
                  <a:gd name="connsiteY21" fmla="*/ 1385187 h 3059583"/>
                  <a:gd name="connsiteX22" fmla="*/ 1864491 w 2137147"/>
                  <a:gd name="connsiteY22" fmla="*/ 1165140 h 3059583"/>
                  <a:gd name="connsiteX23" fmla="*/ 1870079 w 2137147"/>
                  <a:gd name="connsiteY23" fmla="*/ 1081411 h 3059583"/>
                  <a:gd name="connsiteX24" fmla="*/ 1806723 w 2137147"/>
                  <a:gd name="connsiteY24" fmla="*/ 913332 h 3059583"/>
                  <a:gd name="connsiteX25" fmla="*/ 948256 w 2137147"/>
                  <a:gd name="connsiteY25" fmla="*/ 0 h 3059583"/>
                  <a:gd name="connsiteX26" fmla="*/ 99354 w 2137147"/>
                  <a:gd name="connsiteY26" fmla="*/ 858457 h 3059583"/>
                  <a:gd name="connsiteX27" fmla="*/ 84897 w 2137147"/>
                  <a:gd name="connsiteY27" fmla="*/ 1146972 h 3059583"/>
                  <a:gd name="connsiteX28" fmla="*/ 0 w 2137147"/>
                  <a:gd name="connsiteY28" fmla="*/ 1521969 h 3059583"/>
                  <a:gd name="connsiteX0" fmla="*/ 0 w 2137147"/>
                  <a:gd name="connsiteY0" fmla="*/ 1521969 h 3059583"/>
                  <a:gd name="connsiteX1" fmla="*/ 319380 w 2137147"/>
                  <a:gd name="connsiteY1" fmla="*/ 1302809 h 3059583"/>
                  <a:gd name="connsiteX2" fmla="*/ 319027 w 2137147"/>
                  <a:gd name="connsiteY2" fmla="*/ 1269031 h 3059583"/>
                  <a:gd name="connsiteX3" fmla="*/ 346379 w 2137147"/>
                  <a:gd name="connsiteY3" fmla="*/ 1268519 h 3059583"/>
                  <a:gd name="connsiteX4" fmla="*/ 343211 w 2137147"/>
                  <a:gd name="connsiteY4" fmla="*/ 1138495 h 3059583"/>
                  <a:gd name="connsiteX5" fmla="*/ 225028 w 2137147"/>
                  <a:gd name="connsiteY5" fmla="*/ 1138830 h 3059583"/>
                  <a:gd name="connsiteX6" fmla="*/ 225432 w 2137147"/>
                  <a:gd name="connsiteY6" fmla="*/ 923254 h 3059583"/>
                  <a:gd name="connsiteX7" fmla="*/ 593467 w 2137147"/>
                  <a:gd name="connsiteY7" fmla="*/ 237848 h 3059583"/>
                  <a:gd name="connsiteX8" fmla="*/ 1666635 w 2137147"/>
                  <a:gd name="connsiteY8" fmla="*/ 1356169 h 3059583"/>
                  <a:gd name="connsiteX9" fmla="*/ 1623204 w 2137147"/>
                  <a:gd name="connsiteY9" fmla="*/ 1704376 h 3059583"/>
                  <a:gd name="connsiteX10" fmla="*/ 1625617 w 2137147"/>
                  <a:gd name="connsiteY10" fmla="*/ 2591818 h 3059583"/>
                  <a:gd name="connsiteX11" fmla="*/ 1661810 w 2137147"/>
                  <a:gd name="connsiteY11" fmla="*/ 2867480 h 3059583"/>
                  <a:gd name="connsiteX12" fmla="*/ 1662895 w 2137147"/>
                  <a:gd name="connsiteY12" fmla="*/ 3043348 h 3059583"/>
                  <a:gd name="connsiteX13" fmla="*/ 1791887 w 2137147"/>
                  <a:gd name="connsiteY13" fmla="*/ 3043348 h 3059583"/>
                  <a:gd name="connsiteX14" fmla="*/ 1804170 w 2137147"/>
                  <a:gd name="connsiteY14" fmla="*/ 2969040 h 3059583"/>
                  <a:gd name="connsiteX15" fmla="*/ 1840363 w 2137147"/>
                  <a:gd name="connsiteY15" fmla="*/ 2884406 h 3059583"/>
                  <a:gd name="connsiteX16" fmla="*/ 2105779 w 2137147"/>
                  <a:gd name="connsiteY16" fmla="*/ 2642597 h 3059583"/>
                  <a:gd name="connsiteX17" fmla="*/ 2134734 w 2137147"/>
                  <a:gd name="connsiteY17" fmla="*/ 2550708 h 3059583"/>
                  <a:gd name="connsiteX18" fmla="*/ 2137147 w 2137147"/>
                  <a:gd name="connsiteY18" fmla="*/ 1750319 h 3059583"/>
                  <a:gd name="connsiteX19" fmla="*/ 2096128 w 2137147"/>
                  <a:gd name="connsiteY19" fmla="*/ 1663267 h 3059583"/>
                  <a:gd name="connsiteX20" fmla="*/ 1816233 w 2137147"/>
                  <a:gd name="connsiteY20" fmla="*/ 1385187 h 3059583"/>
                  <a:gd name="connsiteX21" fmla="*/ 1864491 w 2137147"/>
                  <a:gd name="connsiteY21" fmla="*/ 1165140 h 3059583"/>
                  <a:gd name="connsiteX22" fmla="*/ 1870079 w 2137147"/>
                  <a:gd name="connsiteY22" fmla="*/ 1081411 h 3059583"/>
                  <a:gd name="connsiteX23" fmla="*/ 1806723 w 2137147"/>
                  <a:gd name="connsiteY23" fmla="*/ 913332 h 3059583"/>
                  <a:gd name="connsiteX24" fmla="*/ 948256 w 2137147"/>
                  <a:gd name="connsiteY24" fmla="*/ 0 h 3059583"/>
                  <a:gd name="connsiteX25" fmla="*/ 99354 w 2137147"/>
                  <a:gd name="connsiteY25" fmla="*/ 858457 h 3059583"/>
                  <a:gd name="connsiteX26" fmla="*/ 84897 w 2137147"/>
                  <a:gd name="connsiteY26" fmla="*/ 1146972 h 3059583"/>
                  <a:gd name="connsiteX27" fmla="*/ 0 w 2137147"/>
                  <a:gd name="connsiteY27" fmla="*/ 1521969 h 3059583"/>
                  <a:gd name="connsiteX0" fmla="*/ 0 w 2137147"/>
                  <a:gd name="connsiteY0" fmla="*/ 1521969 h 3059583"/>
                  <a:gd name="connsiteX1" fmla="*/ 319027 w 2137147"/>
                  <a:gd name="connsiteY1" fmla="*/ 1269031 h 3059583"/>
                  <a:gd name="connsiteX2" fmla="*/ 346379 w 2137147"/>
                  <a:gd name="connsiteY2" fmla="*/ 1268519 h 3059583"/>
                  <a:gd name="connsiteX3" fmla="*/ 343211 w 2137147"/>
                  <a:gd name="connsiteY3" fmla="*/ 1138495 h 3059583"/>
                  <a:gd name="connsiteX4" fmla="*/ 225028 w 2137147"/>
                  <a:gd name="connsiteY4" fmla="*/ 1138830 h 3059583"/>
                  <a:gd name="connsiteX5" fmla="*/ 225432 w 2137147"/>
                  <a:gd name="connsiteY5" fmla="*/ 923254 h 3059583"/>
                  <a:gd name="connsiteX6" fmla="*/ 593467 w 2137147"/>
                  <a:gd name="connsiteY6" fmla="*/ 237848 h 3059583"/>
                  <a:gd name="connsiteX7" fmla="*/ 1666635 w 2137147"/>
                  <a:gd name="connsiteY7" fmla="*/ 1356169 h 3059583"/>
                  <a:gd name="connsiteX8" fmla="*/ 1623204 w 2137147"/>
                  <a:gd name="connsiteY8" fmla="*/ 1704376 h 3059583"/>
                  <a:gd name="connsiteX9" fmla="*/ 1625617 w 2137147"/>
                  <a:gd name="connsiteY9" fmla="*/ 2591818 h 3059583"/>
                  <a:gd name="connsiteX10" fmla="*/ 1661810 w 2137147"/>
                  <a:gd name="connsiteY10" fmla="*/ 2867480 h 3059583"/>
                  <a:gd name="connsiteX11" fmla="*/ 1662895 w 2137147"/>
                  <a:gd name="connsiteY11" fmla="*/ 3043348 h 3059583"/>
                  <a:gd name="connsiteX12" fmla="*/ 1791887 w 2137147"/>
                  <a:gd name="connsiteY12" fmla="*/ 3043348 h 3059583"/>
                  <a:gd name="connsiteX13" fmla="*/ 1804170 w 2137147"/>
                  <a:gd name="connsiteY13" fmla="*/ 2969040 h 3059583"/>
                  <a:gd name="connsiteX14" fmla="*/ 1840363 w 2137147"/>
                  <a:gd name="connsiteY14" fmla="*/ 2884406 h 3059583"/>
                  <a:gd name="connsiteX15" fmla="*/ 2105779 w 2137147"/>
                  <a:gd name="connsiteY15" fmla="*/ 2642597 h 3059583"/>
                  <a:gd name="connsiteX16" fmla="*/ 2134734 w 2137147"/>
                  <a:gd name="connsiteY16" fmla="*/ 2550708 h 3059583"/>
                  <a:gd name="connsiteX17" fmla="*/ 2137147 w 2137147"/>
                  <a:gd name="connsiteY17" fmla="*/ 1750319 h 3059583"/>
                  <a:gd name="connsiteX18" fmla="*/ 2096128 w 2137147"/>
                  <a:gd name="connsiteY18" fmla="*/ 1663267 h 3059583"/>
                  <a:gd name="connsiteX19" fmla="*/ 1816233 w 2137147"/>
                  <a:gd name="connsiteY19" fmla="*/ 1385187 h 3059583"/>
                  <a:gd name="connsiteX20" fmla="*/ 1864491 w 2137147"/>
                  <a:gd name="connsiteY20" fmla="*/ 1165140 h 3059583"/>
                  <a:gd name="connsiteX21" fmla="*/ 1870079 w 2137147"/>
                  <a:gd name="connsiteY21" fmla="*/ 1081411 h 3059583"/>
                  <a:gd name="connsiteX22" fmla="*/ 1806723 w 2137147"/>
                  <a:gd name="connsiteY22" fmla="*/ 913332 h 3059583"/>
                  <a:gd name="connsiteX23" fmla="*/ 948256 w 2137147"/>
                  <a:gd name="connsiteY23" fmla="*/ 0 h 3059583"/>
                  <a:gd name="connsiteX24" fmla="*/ 99354 w 2137147"/>
                  <a:gd name="connsiteY24" fmla="*/ 858457 h 3059583"/>
                  <a:gd name="connsiteX25" fmla="*/ 84897 w 2137147"/>
                  <a:gd name="connsiteY25" fmla="*/ 1146972 h 3059583"/>
                  <a:gd name="connsiteX26" fmla="*/ 0 w 2137147"/>
                  <a:gd name="connsiteY26" fmla="*/ 1521969 h 3059583"/>
                  <a:gd name="connsiteX0" fmla="*/ 0 w 2137147"/>
                  <a:gd name="connsiteY0" fmla="*/ 1521969 h 3059583"/>
                  <a:gd name="connsiteX1" fmla="*/ 319027 w 2137147"/>
                  <a:gd name="connsiteY1" fmla="*/ 1269031 h 3059583"/>
                  <a:gd name="connsiteX2" fmla="*/ 343211 w 2137147"/>
                  <a:gd name="connsiteY2" fmla="*/ 1138495 h 3059583"/>
                  <a:gd name="connsiteX3" fmla="*/ 225028 w 2137147"/>
                  <a:gd name="connsiteY3" fmla="*/ 1138830 h 3059583"/>
                  <a:gd name="connsiteX4" fmla="*/ 225432 w 2137147"/>
                  <a:gd name="connsiteY4" fmla="*/ 923254 h 3059583"/>
                  <a:gd name="connsiteX5" fmla="*/ 593467 w 2137147"/>
                  <a:gd name="connsiteY5" fmla="*/ 237848 h 3059583"/>
                  <a:gd name="connsiteX6" fmla="*/ 1666635 w 2137147"/>
                  <a:gd name="connsiteY6" fmla="*/ 1356169 h 3059583"/>
                  <a:gd name="connsiteX7" fmla="*/ 1623204 w 2137147"/>
                  <a:gd name="connsiteY7" fmla="*/ 1704376 h 3059583"/>
                  <a:gd name="connsiteX8" fmla="*/ 1625617 w 2137147"/>
                  <a:gd name="connsiteY8" fmla="*/ 2591818 h 3059583"/>
                  <a:gd name="connsiteX9" fmla="*/ 1661810 w 2137147"/>
                  <a:gd name="connsiteY9" fmla="*/ 2867480 h 3059583"/>
                  <a:gd name="connsiteX10" fmla="*/ 1662895 w 2137147"/>
                  <a:gd name="connsiteY10" fmla="*/ 3043348 h 3059583"/>
                  <a:gd name="connsiteX11" fmla="*/ 1791887 w 2137147"/>
                  <a:gd name="connsiteY11" fmla="*/ 3043348 h 3059583"/>
                  <a:gd name="connsiteX12" fmla="*/ 1804170 w 2137147"/>
                  <a:gd name="connsiteY12" fmla="*/ 2969040 h 3059583"/>
                  <a:gd name="connsiteX13" fmla="*/ 1840363 w 2137147"/>
                  <a:gd name="connsiteY13" fmla="*/ 2884406 h 3059583"/>
                  <a:gd name="connsiteX14" fmla="*/ 2105779 w 2137147"/>
                  <a:gd name="connsiteY14" fmla="*/ 2642597 h 3059583"/>
                  <a:gd name="connsiteX15" fmla="*/ 2134734 w 2137147"/>
                  <a:gd name="connsiteY15" fmla="*/ 2550708 h 3059583"/>
                  <a:gd name="connsiteX16" fmla="*/ 2137147 w 2137147"/>
                  <a:gd name="connsiteY16" fmla="*/ 1750319 h 3059583"/>
                  <a:gd name="connsiteX17" fmla="*/ 2096128 w 2137147"/>
                  <a:gd name="connsiteY17" fmla="*/ 1663267 h 3059583"/>
                  <a:gd name="connsiteX18" fmla="*/ 1816233 w 2137147"/>
                  <a:gd name="connsiteY18" fmla="*/ 1385187 h 3059583"/>
                  <a:gd name="connsiteX19" fmla="*/ 1864491 w 2137147"/>
                  <a:gd name="connsiteY19" fmla="*/ 1165140 h 3059583"/>
                  <a:gd name="connsiteX20" fmla="*/ 1870079 w 2137147"/>
                  <a:gd name="connsiteY20" fmla="*/ 1081411 h 3059583"/>
                  <a:gd name="connsiteX21" fmla="*/ 1806723 w 2137147"/>
                  <a:gd name="connsiteY21" fmla="*/ 913332 h 3059583"/>
                  <a:gd name="connsiteX22" fmla="*/ 948256 w 2137147"/>
                  <a:gd name="connsiteY22" fmla="*/ 0 h 3059583"/>
                  <a:gd name="connsiteX23" fmla="*/ 99354 w 2137147"/>
                  <a:gd name="connsiteY23" fmla="*/ 858457 h 3059583"/>
                  <a:gd name="connsiteX24" fmla="*/ 84897 w 2137147"/>
                  <a:gd name="connsiteY24" fmla="*/ 1146972 h 3059583"/>
                  <a:gd name="connsiteX25" fmla="*/ 0 w 2137147"/>
                  <a:gd name="connsiteY25" fmla="*/ 1521969 h 3059583"/>
                  <a:gd name="connsiteX0" fmla="*/ 0 w 2137147"/>
                  <a:gd name="connsiteY0" fmla="*/ 1521969 h 3059583"/>
                  <a:gd name="connsiteX1" fmla="*/ 343211 w 2137147"/>
                  <a:gd name="connsiteY1" fmla="*/ 1138495 h 3059583"/>
                  <a:gd name="connsiteX2" fmla="*/ 225028 w 2137147"/>
                  <a:gd name="connsiteY2" fmla="*/ 1138830 h 3059583"/>
                  <a:gd name="connsiteX3" fmla="*/ 225432 w 2137147"/>
                  <a:gd name="connsiteY3" fmla="*/ 923254 h 3059583"/>
                  <a:gd name="connsiteX4" fmla="*/ 593467 w 2137147"/>
                  <a:gd name="connsiteY4" fmla="*/ 237848 h 3059583"/>
                  <a:gd name="connsiteX5" fmla="*/ 1666635 w 2137147"/>
                  <a:gd name="connsiteY5" fmla="*/ 1356169 h 3059583"/>
                  <a:gd name="connsiteX6" fmla="*/ 1623204 w 2137147"/>
                  <a:gd name="connsiteY6" fmla="*/ 1704376 h 3059583"/>
                  <a:gd name="connsiteX7" fmla="*/ 1625617 w 2137147"/>
                  <a:gd name="connsiteY7" fmla="*/ 2591818 h 3059583"/>
                  <a:gd name="connsiteX8" fmla="*/ 1661810 w 2137147"/>
                  <a:gd name="connsiteY8" fmla="*/ 2867480 h 3059583"/>
                  <a:gd name="connsiteX9" fmla="*/ 1662895 w 2137147"/>
                  <a:gd name="connsiteY9" fmla="*/ 3043348 h 3059583"/>
                  <a:gd name="connsiteX10" fmla="*/ 1791887 w 2137147"/>
                  <a:gd name="connsiteY10" fmla="*/ 3043348 h 3059583"/>
                  <a:gd name="connsiteX11" fmla="*/ 1804170 w 2137147"/>
                  <a:gd name="connsiteY11" fmla="*/ 2969040 h 3059583"/>
                  <a:gd name="connsiteX12" fmla="*/ 1840363 w 2137147"/>
                  <a:gd name="connsiteY12" fmla="*/ 2884406 h 3059583"/>
                  <a:gd name="connsiteX13" fmla="*/ 2105779 w 2137147"/>
                  <a:gd name="connsiteY13" fmla="*/ 2642597 h 3059583"/>
                  <a:gd name="connsiteX14" fmla="*/ 2134734 w 2137147"/>
                  <a:gd name="connsiteY14" fmla="*/ 2550708 h 3059583"/>
                  <a:gd name="connsiteX15" fmla="*/ 2137147 w 2137147"/>
                  <a:gd name="connsiteY15" fmla="*/ 1750319 h 3059583"/>
                  <a:gd name="connsiteX16" fmla="*/ 2096128 w 2137147"/>
                  <a:gd name="connsiteY16" fmla="*/ 1663267 h 3059583"/>
                  <a:gd name="connsiteX17" fmla="*/ 1816233 w 2137147"/>
                  <a:gd name="connsiteY17" fmla="*/ 1385187 h 3059583"/>
                  <a:gd name="connsiteX18" fmla="*/ 1864491 w 2137147"/>
                  <a:gd name="connsiteY18" fmla="*/ 1165140 h 3059583"/>
                  <a:gd name="connsiteX19" fmla="*/ 1870079 w 2137147"/>
                  <a:gd name="connsiteY19" fmla="*/ 1081411 h 3059583"/>
                  <a:gd name="connsiteX20" fmla="*/ 1806723 w 2137147"/>
                  <a:gd name="connsiteY20" fmla="*/ 913332 h 3059583"/>
                  <a:gd name="connsiteX21" fmla="*/ 948256 w 2137147"/>
                  <a:gd name="connsiteY21" fmla="*/ 0 h 3059583"/>
                  <a:gd name="connsiteX22" fmla="*/ 99354 w 2137147"/>
                  <a:gd name="connsiteY22" fmla="*/ 858457 h 3059583"/>
                  <a:gd name="connsiteX23" fmla="*/ 84897 w 2137147"/>
                  <a:gd name="connsiteY23" fmla="*/ 1146972 h 3059583"/>
                  <a:gd name="connsiteX24" fmla="*/ 0 w 2137147"/>
                  <a:gd name="connsiteY24" fmla="*/ 1521969 h 3059583"/>
                  <a:gd name="connsiteX0" fmla="*/ 0 w 2137147"/>
                  <a:gd name="connsiteY0" fmla="*/ 1521969 h 3059583"/>
                  <a:gd name="connsiteX1" fmla="*/ 225028 w 2137147"/>
                  <a:gd name="connsiteY1" fmla="*/ 1138830 h 3059583"/>
                  <a:gd name="connsiteX2" fmla="*/ 225432 w 2137147"/>
                  <a:gd name="connsiteY2" fmla="*/ 923254 h 3059583"/>
                  <a:gd name="connsiteX3" fmla="*/ 593467 w 2137147"/>
                  <a:gd name="connsiteY3" fmla="*/ 237848 h 3059583"/>
                  <a:gd name="connsiteX4" fmla="*/ 1666635 w 2137147"/>
                  <a:gd name="connsiteY4" fmla="*/ 1356169 h 3059583"/>
                  <a:gd name="connsiteX5" fmla="*/ 1623204 w 2137147"/>
                  <a:gd name="connsiteY5" fmla="*/ 1704376 h 3059583"/>
                  <a:gd name="connsiteX6" fmla="*/ 1625617 w 2137147"/>
                  <a:gd name="connsiteY6" fmla="*/ 2591818 h 3059583"/>
                  <a:gd name="connsiteX7" fmla="*/ 1661810 w 2137147"/>
                  <a:gd name="connsiteY7" fmla="*/ 2867480 h 3059583"/>
                  <a:gd name="connsiteX8" fmla="*/ 1662895 w 2137147"/>
                  <a:gd name="connsiteY8" fmla="*/ 3043348 h 3059583"/>
                  <a:gd name="connsiteX9" fmla="*/ 1791887 w 2137147"/>
                  <a:gd name="connsiteY9" fmla="*/ 3043348 h 3059583"/>
                  <a:gd name="connsiteX10" fmla="*/ 1804170 w 2137147"/>
                  <a:gd name="connsiteY10" fmla="*/ 2969040 h 3059583"/>
                  <a:gd name="connsiteX11" fmla="*/ 1840363 w 2137147"/>
                  <a:gd name="connsiteY11" fmla="*/ 2884406 h 3059583"/>
                  <a:gd name="connsiteX12" fmla="*/ 2105779 w 2137147"/>
                  <a:gd name="connsiteY12" fmla="*/ 2642597 h 3059583"/>
                  <a:gd name="connsiteX13" fmla="*/ 2134734 w 2137147"/>
                  <a:gd name="connsiteY13" fmla="*/ 2550708 h 3059583"/>
                  <a:gd name="connsiteX14" fmla="*/ 2137147 w 2137147"/>
                  <a:gd name="connsiteY14" fmla="*/ 1750319 h 3059583"/>
                  <a:gd name="connsiteX15" fmla="*/ 2096128 w 2137147"/>
                  <a:gd name="connsiteY15" fmla="*/ 1663267 h 3059583"/>
                  <a:gd name="connsiteX16" fmla="*/ 1816233 w 2137147"/>
                  <a:gd name="connsiteY16" fmla="*/ 1385187 h 3059583"/>
                  <a:gd name="connsiteX17" fmla="*/ 1864491 w 2137147"/>
                  <a:gd name="connsiteY17" fmla="*/ 1165140 h 3059583"/>
                  <a:gd name="connsiteX18" fmla="*/ 1870079 w 2137147"/>
                  <a:gd name="connsiteY18" fmla="*/ 1081411 h 3059583"/>
                  <a:gd name="connsiteX19" fmla="*/ 1806723 w 2137147"/>
                  <a:gd name="connsiteY19" fmla="*/ 913332 h 3059583"/>
                  <a:gd name="connsiteX20" fmla="*/ 948256 w 2137147"/>
                  <a:gd name="connsiteY20" fmla="*/ 0 h 3059583"/>
                  <a:gd name="connsiteX21" fmla="*/ 99354 w 2137147"/>
                  <a:gd name="connsiteY21" fmla="*/ 858457 h 3059583"/>
                  <a:gd name="connsiteX22" fmla="*/ 84897 w 2137147"/>
                  <a:gd name="connsiteY22" fmla="*/ 1146972 h 3059583"/>
                  <a:gd name="connsiteX23" fmla="*/ 0 w 2137147"/>
                  <a:gd name="connsiteY23" fmla="*/ 1521969 h 3059583"/>
                  <a:gd name="connsiteX0" fmla="*/ 0 w 2137147"/>
                  <a:gd name="connsiteY0" fmla="*/ 1521969 h 3059583"/>
                  <a:gd name="connsiteX1" fmla="*/ 225432 w 2137147"/>
                  <a:gd name="connsiteY1" fmla="*/ 923254 h 3059583"/>
                  <a:gd name="connsiteX2" fmla="*/ 593467 w 2137147"/>
                  <a:gd name="connsiteY2" fmla="*/ 237848 h 3059583"/>
                  <a:gd name="connsiteX3" fmla="*/ 1666635 w 2137147"/>
                  <a:gd name="connsiteY3" fmla="*/ 1356169 h 3059583"/>
                  <a:gd name="connsiteX4" fmla="*/ 1623204 w 2137147"/>
                  <a:gd name="connsiteY4" fmla="*/ 1704376 h 3059583"/>
                  <a:gd name="connsiteX5" fmla="*/ 1625617 w 2137147"/>
                  <a:gd name="connsiteY5" fmla="*/ 2591818 h 3059583"/>
                  <a:gd name="connsiteX6" fmla="*/ 1661810 w 2137147"/>
                  <a:gd name="connsiteY6" fmla="*/ 2867480 h 3059583"/>
                  <a:gd name="connsiteX7" fmla="*/ 1662895 w 2137147"/>
                  <a:gd name="connsiteY7" fmla="*/ 3043348 h 3059583"/>
                  <a:gd name="connsiteX8" fmla="*/ 1791887 w 2137147"/>
                  <a:gd name="connsiteY8" fmla="*/ 3043348 h 3059583"/>
                  <a:gd name="connsiteX9" fmla="*/ 1804170 w 2137147"/>
                  <a:gd name="connsiteY9" fmla="*/ 2969040 h 3059583"/>
                  <a:gd name="connsiteX10" fmla="*/ 1840363 w 2137147"/>
                  <a:gd name="connsiteY10" fmla="*/ 2884406 h 3059583"/>
                  <a:gd name="connsiteX11" fmla="*/ 2105779 w 2137147"/>
                  <a:gd name="connsiteY11" fmla="*/ 2642597 h 3059583"/>
                  <a:gd name="connsiteX12" fmla="*/ 2134734 w 2137147"/>
                  <a:gd name="connsiteY12" fmla="*/ 2550708 h 3059583"/>
                  <a:gd name="connsiteX13" fmla="*/ 2137147 w 2137147"/>
                  <a:gd name="connsiteY13" fmla="*/ 1750319 h 3059583"/>
                  <a:gd name="connsiteX14" fmla="*/ 2096128 w 2137147"/>
                  <a:gd name="connsiteY14" fmla="*/ 1663267 h 3059583"/>
                  <a:gd name="connsiteX15" fmla="*/ 1816233 w 2137147"/>
                  <a:gd name="connsiteY15" fmla="*/ 1385187 h 3059583"/>
                  <a:gd name="connsiteX16" fmla="*/ 1864491 w 2137147"/>
                  <a:gd name="connsiteY16" fmla="*/ 1165140 h 3059583"/>
                  <a:gd name="connsiteX17" fmla="*/ 1870079 w 2137147"/>
                  <a:gd name="connsiteY17" fmla="*/ 1081411 h 3059583"/>
                  <a:gd name="connsiteX18" fmla="*/ 1806723 w 2137147"/>
                  <a:gd name="connsiteY18" fmla="*/ 913332 h 3059583"/>
                  <a:gd name="connsiteX19" fmla="*/ 948256 w 2137147"/>
                  <a:gd name="connsiteY19" fmla="*/ 0 h 3059583"/>
                  <a:gd name="connsiteX20" fmla="*/ 99354 w 2137147"/>
                  <a:gd name="connsiteY20" fmla="*/ 858457 h 3059583"/>
                  <a:gd name="connsiteX21" fmla="*/ 84897 w 2137147"/>
                  <a:gd name="connsiteY21" fmla="*/ 1146972 h 3059583"/>
                  <a:gd name="connsiteX22" fmla="*/ 0 w 2137147"/>
                  <a:gd name="connsiteY22" fmla="*/ 1521969 h 3059583"/>
                  <a:gd name="connsiteX0" fmla="*/ 0 w 2137147"/>
                  <a:gd name="connsiteY0" fmla="*/ 1521969 h 3059583"/>
                  <a:gd name="connsiteX1" fmla="*/ 593467 w 2137147"/>
                  <a:gd name="connsiteY1" fmla="*/ 237848 h 3059583"/>
                  <a:gd name="connsiteX2" fmla="*/ 1666635 w 2137147"/>
                  <a:gd name="connsiteY2" fmla="*/ 1356169 h 3059583"/>
                  <a:gd name="connsiteX3" fmla="*/ 1623204 w 2137147"/>
                  <a:gd name="connsiteY3" fmla="*/ 1704376 h 3059583"/>
                  <a:gd name="connsiteX4" fmla="*/ 1625617 w 2137147"/>
                  <a:gd name="connsiteY4" fmla="*/ 2591818 h 3059583"/>
                  <a:gd name="connsiteX5" fmla="*/ 1661810 w 2137147"/>
                  <a:gd name="connsiteY5" fmla="*/ 2867480 h 3059583"/>
                  <a:gd name="connsiteX6" fmla="*/ 1662895 w 2137147"/>
                  <a:gd name="connsiteY6" fmla="*/ 3043348 h 3059583"/>
                  <a:gd name="connsiteX7" fmla="*/ 1791887 w 2137147"/>
                  <a:gd name="connsiteY7" fmla="*/ 3043348 h 3059583"/>
                  <a:gd name="connsiteX8" fmla="*/ 1804170 w 2137147"/>
                  <a:gd name="connsiteY8" fmla="*/ 2969040 h 3059583"/>
                  <a:gd name="connsiteX9" fmla="*/ 1840363 w 2137147"/>
                  <a:gd name="connsiteY9" fmla="*/ 2884406 h 3059583"/>
                  <a:gd name="connsiteX10" fmla="*/ 2105779 w 2137147"/>
                  <a:gd name="connsiteY10" fmla="*/ 2642597 h 3059583"/>
                  <a:gd name="connsiteX11" fmla="*/ 2134734 w 2137147"/>
                  <a:gd name="connsiteY11" fmla="*/ 2550708 h 3059583"/>
                  <a:gd name="connsiteX12" fmla="*/ 2137147 w 2137147"/>
                  <a:gd name="connsiteY12" fmla="*/ 1750319 h 3059583"/>
                  <a:gd name="connsiteX13" fmla="*/ 2096128 w 2137147"/>
                  <a:gd name="connsiteY13" fmla="*/ 1663267 h 3059583"/>
                  <a:gd name="connsiteX14" fmla="*/ 1816233 w 2137147"/>
                  <a:gd name="connsiteY14" fmla="*/ 1385187 h 3059583"/>
                  <a:gd name="connsiteX15" fmla="*/ 1864491 w 2137147"/>
                  <a:gd name="connsiteY15" fmla="*/ 1165140 h 3059583"/>
                  <a:gd name="connsiteX16" fmla="*/ 1870079 w 2137147"/>
                  <a:gd name="connsiteY16" fmla="*/ 1081411 h 3059583"/>
                  <a:gd name="connsiteX17" fmla="*/ 1806723 w 2137147"/>
                  <a:gd name="connsiteY17" fmla="*/ 913332 h 3059583"/>
                  <a:gd name="connsiteX18" fmla="*/ 948256 w 2137147"/>
                  <a:gd name="connsiteY18" fmla="*/ 0 h 3059583"/>
                  <a:gd name="connsiteX19" fmla="*/ 99354 w 2137147"/>
                  <a:gd name="connsiteY19" fmla="*/ 858457 h 3059583"/>
                  <a:gd name="connsiteX20" fmla="*/ 84897 w 2137147"/>
                  <a:gd name="connsiteY20" fmla="*/ 1146972 h 3059583"/>
                  <a:gd name="connsiteX21" fmla="*/ 0 w 2137147"/>
                  <a:gd name="connsiteY21" fmla="*/ 1521969 h 3059583"/>
                  <a:gd name="connsiteX0" fmla="*/ 0 w 2137147"/>
                  <a:gd name="connsiteY0" fmla="*/ 1521969 h 3059583"/>
                  <a:gd name="connsiteX1" fmla="*/ 593467 w 2137147"/>
                  <a:gd name="connsiteY1" fmla="*/ 237848 h 3059583"/>
                  <a:gd name="connsiteX2" fmla="*/ 1666635 w 2137147"/>
                  <a:gd name="connsiteY2" fmla="*/ 1356169 h 3059583"/>
                  <a:gd name="connsiteX3" fmla="*/ 1623204 w 2137147"/>
                  <a:gd name="connsiteY3" fmla="*/ 1704376 h 3059583"/>
                  <a:gd name="connsiteX4" fmla="*/ 1625617 w 2137147"/>
                  <a:gd name="connsiteY4" fmla="*/ 2591818 h 3059583"/>
                  <a:gd name="connsiteX5" fmla="*/ 1661810 w 2137147"/>
                  <a:gd name="connsiteY5" fmla="*/ 2867480 h 3059583"/>
                  <a:gd name="connsiteX6" fmla="*/ 1662895 w 2137147"/>
                  <a:gd name="connsiteY6" fmla="*/ 3043348 h 3059583"/>
                  <a:gd name="connsiteX7" fmla="*/ 1791887 w 2137147"/>
                  <a:gd name="connsiteY7" fmla="*/ 3043348 h 3059583"/>
                  <a:gd name="connsiteX8" fmla="*/ 1804170 w 2137147"/>
                  <a:gd name="connsiteY8" fmla="*/ 2969040 h 3059583"/>
                  <a:gd name="connsiteX9" fmla="*/ 1840363 w 2137147"/>
                  <a:gd name="connsiteY9" fmla="*/ 2884406 h 3059583"/>
                  <a:gd name="connsiteX10" fmla="*/ 2105779 w 2137147"/>
                  <a:gd name="connsiteY10" fmla="*/ 2642597 h 3059583"/>
                  <a:gd name="connsiteX11" fmla="*/ 2134734 w 2137147"/>
                  <a:gd name="connsiteY11" fmla="*/ 2550708 h 3059583"/>
                  <a:gd name="connsiteX12" fmla="*/ 2137147 w 2137147"/>
                  <a:gd name="connsiteY12" fmla="*/ 1750319 h 3059583"/>
                  <a:gd name="connsiteX13" fmla="*/ 2096128 w 2137147"/>
                  <a:gd name="connsiteY13" fmla="*/ 1663267 h 3059583"/>
                  <a:gd name="connsiteX14" fmla="*/ 1816233 w 2137147"/>
                  <a:gd name="connsiteY14" fmla="*/ 1385187 h 3059583"/>
                  <a:gd name="connsiteX15" fmla="*/ 1864491 w 2137147"/>
                  <a:gd name="connsiteY15" fmla="*/ 1165140 h 3059583"/>
                  <a:gd name="connsiteX16" fmla="*/ 1870079 w 2137147"/>
                  <a:gd name="connsiteY16" fmla="*/ 1081411 h 3059583"/>
                  <a:gd name="connsiteX17" fmla="*/ 1806723 w 2137147"/>
                  <a:gd name="connsiteY17" fmla="*/ 913332 h 3059583"/>
                  <a:gd name="connsiteX18" fmla="*/ 948256 w 2137147"/>
                  <a:gd name="connsiteY18" fmla="*/ 0 h 3059583"/>
                  <a:gd name="connsiteX19" fmla="*/ 99354 w 2137147"/>
                  <a:gd name="connsiteY19" fmla="*/ 858457 h 3059583"/>
                  <a:gd name="connsiteX20" fmla="*/ 0 w 2137147"/>
                  <a:gd name="connsiteY20" fmla="*/ 1521969 h 3059583"/>
                  <a:gd name="connsiteX0" fmla="*/ 0 w 2037793"/>
                  <a:gd name="connsiteY0" fmla="*/ 858457 h 3059583"/>
                  <a:gd name="connsiteX1" fmla="*/ 494113 w 2037793"/>
                  <a:gd name="connsiteY1" fmla="*/ 237848 h 3059583"/>
                  <a:gd name="connsiteX2" fmla="*/ 1567281 w 2037793"/>
                  <a:gd name="connsiteY2" fmla="*/ 1356169 h 3059583"/>
                  <a:gd name="connsiteX3" fmla="*/ 1523850 w 2037793"/>
                  <a:gd name="connsiteY3" fmla="*/ 1704376 h 3059583"/>
                  <a:gd name="connsiteX4" fmla="*/ 1526263 w 2037793"/>
                  <a:gd name="connsiteY4" fmla="*/ 2591818 h 3059583"/>
                  <a:gd name="connsiteX5" fmla="*/ 1562456 w 2037793"/>
                  <a:gd name="connsiteY5" fmla="*/ 2867480 h 3059583"/>
                  <a:gd name="connsiteX6" fmla="*/ 1563541 w 2037793"/>
                  <a:gd name="connsiteY6" fmla="*/ 3043348 h 3059583"/>
                  <a:gd name="connsiteX7" fmla="*/ 1692533 w 2037793"/>
                  <a:gd name="connsiteY7" fmla="*/ 3043348 h 3059583"/>
                  <a:gd name="connsiteX8" fmla="*/ 1704816 w 2037793"/>
                  <a:gd name="connsiteY8" fmla="*/ 2969040 h 3059583"/>
                  <a:gd name="connsiteX9" fmla="*/ 1741009 w 2037793"/>
                  <a:gd name="connsiteY9" fmla="*/ 2884406 h 3059583"/>
                  <a:gd name="connsiteX10" fmla="*/ 2006425 w 2037793"/>
                  <a:gd name="connsiteY10" fmla="*/ 2642597 h 3059583"/>
                  <a:gd name="connsiteX11" fmla="*/ 2035380 w 2037793"/>
                  <a:gd name="connsiteY11" fmla="*/ 2550708 h 3059583"/>
                  <a:gd name="connsiteX12" fmla="*/ 2037793 w 2037793"/>
                  <a:gd name="connsiteY12" fmla="*/ 1750319 h 3059583"/>
                  <a:gd name="connsiteX13" fmla="*/ 1996774 w 2037793"/>
                  <a:gd name="connsiteY13" fmla="*/ 1663267 h 3059583"/>
                  <a:gd name="connsiteX14" fmla="*/ 1716879 w 2037793"/>
                  <a:gd name="connsiteY14" fmla="*/ 1385187 h 3059583"/>
                  <a:gd name="connsiteX15" fmla="*/ 1765137 w 2037793"/>
                  <a:gd name="connsiteY15" fmla="*/ 1165140 h 3059583"/>
                  <a:gd name="connsiteX16" fmla="*/ 1770725 w 2037793"/>
                  <a:gd name="connsiteY16" fmla="*/ 1081411 h 3059583"/>
                  <a:gd name="connsiteX17" fmla="*/ 1707369 w 2037793"/>
                  <a:gd name="connsiteY17" fmla="*/ 913332 h 3059583"/>
                  <a:gd name="connsiteX18" fmla="*/ 848902 w 2037793"/>
                  <a:gd name="connsiteY18" fmla="*/ 0 h 3059583"/>
                  <a:gd name="connsiteX19" fmla="*/ 0 w 2037793"/>
                  <a:gd name="connsiteY19" fmla="*/ 858457 h 3059583"/>
                  <a:gd name="connsiteX0" fmla="*/ 384133 w 1573024"/>
                  <a:gd name="connsiteY0" fmla="*/ 42140 h 3101723"/>
                  <a:gd name="connsiteX1" fmla="*/ 29344 w 1573024"/>
                  <a:gd name="connsiteY1" fmla="*/ 279988 h 3101723"/>
                  <a:gd name="connsiteX2" fmla="*/ 1102512 w 1573024"/>
                  <a:gd name="connsiteY2" fmla="*/ 1398309 h 3101723"/>
                  <a:gd name="connsiteX3" fmla="*/ 1059081 w 1573024"/>
                  <a:gd name="connsiteY3" fmla="*/ 1746516 h 3101723"/>
                  <a:gd name="connsiteX4" fmla="*/ 1061494 w 1573024"/>
                  <a:gd name="connsiteY4" fmla="*/ 2633958 h 3101723"/>
                  <a:gd name="connsiteX5" fmla="*/ 1097687 w 1573024"/>
                  <a:gd name="connsiteY5" fmla="*/ 2909620 h 3101723"/>
                  <a:gd name="connsiteX6" fmla="*/ 1098772 w 1573024"/>
                  <a:gd name="connsiteY6" fmla="*/ 3085488 h 3101723"/>
                  <a:gd name="connsiteX7" fmla="*/ 1227764 w 1573024"/>
                  <a:gd name="connsiteY7" fmla="*/ 3085488 h 3101723"/>
                  <a:gd name="connsiteX8" fmla="*/ 1240047 w 1573024"/>
                  <a:gd name="connsiteY8" fmla="*/ 3011180 h 3101723"/>
                  <a:gd name="connsiteX9" fmla="*/ 1276240 w 1573024"/>
                  <a:gd name="connsiteY9" fmla="*/ 2926546 h 3101723"/>
                  <a:gd name="connsiteX10" fmla="*/ 1541656 w 1573024"/>
                  <a:gd name="connsiteY10" fmla="*/ 2684737 h 3101723"/>
                  <a:gd name="connsiteX11" fmla="*/ 1570611 w 1573024"/>
                  <a:gd name="connsiteY11" fmla="*/ 2592848 h 3101723"/>
                  <a:gd name="connsiteX12" fmla="*/ 1573024 w 1573024"/>
                  <a:gd name="connsiteY12" fmla="*/ 1792459 h 3101723"/>
                  <a:gd name="connsiteX13" fmla="*/ 1532005 w 1573024"/>
                  <a:gd name="connsiteY13" fmla="*/ 1705407 h 3101723"/>
                  <a:gd name="connsiteX14" fmla="*/ 1252110 w 1573024"/>
                  <a:gd name="connsiteY14" fmla="*/ 1427327 h 3101723"/>
                  <a:gd name="connsiteX15" fmla="*/ 1300368 w 1573024"/>
                  <a:gd name="connsiteY15" fmla="*/ 1207280 h 3101723"/>
                  <a:gd name="connsiteX16" fmla="*/ 1305956 w 1573024"/>
                  <a:gd name="connsiteY16" fmla="*/ 1123551 h 3101723"/>
                  <a:gd name="connsiteX17" fmla="*/ 1242600 w 1573024"/>
                  <a:gd name="connsiteY17" fmla="*/ 955472 h 3101723"/>
                  <a:gd name="connsiteX18" fmla="*/ 384133 w 1573024"/>
                  <a:gd name="connsiteY18" fmla="*/ 42140 h 3101723"/>
                  <a:gd name="connsiteX0" fmla="*/ 1213256 w 1543680"/>
                  <a:gd name="connsiteY0" fmla="*/ 681666 h 2827917"/>
                  <a:gd name="connsiteX1" fmla="*/ 0 w 1543680"/>
                  <a:gd name="connsiteY1" fmla="*/ 6182 h 2827917"/>
                  <a:gd name="connsiteX2" fmla="*/ 1073168 w 1543680"/>
                  <a:gd name="connsiteY2" fmla="*/ 1124503 h 2827917"/>
                  <a:gd name="connsiteX3" fmla="*/ 1029737 w 1543680"/>
                  <a:gd name="connsiteY3" fmla="*/ 1472710 h 2827917"/>
                  <a:gd name="connsiteX4" fmla="*/ 1032150 w 1543680"/>
                  <a:gd name="connsiteY4" fmla="*/ 2360152 h 2827917"/>
                  <a:gd name="connsiteX5" fmla="*/ 1068343 w 1543680"/>
                  <a:gd name="connsiteY5" fmla="*/ 2635814 h 2827917"/>
                  <a:gd name="connsiteX6" fmla="*/ 1069428 w 1543680"/>
                  <a:gd name="connsiteY6" fmla="*/ 2811682 h 2827917"/>
                  <a:gd name="connsiteX7" fmla="*/ 1198420 w 1543680"/>
                  <a:gd name="connsiteY7" fmla="*/ 2811682 h 2827917"/>
                  <a:gd name="connsiteX8" fmla="*/ 1210703 w 1543680"/>
                  <a:gd name="connsiteY8" fmla="*/ 2737374 h 2827917"/>
                  <a:gd name="connsiteX9" fmla="*/ 1246896 w 1543680"/>
                  <a:gd name="connsiteY9" fmla="*/ 2652740 h 2827917"/>
                  <a:gd name="connsiteX10" fmla="*/ 1512312 w 1543680"/>
                  <a:gd name="connsiteY10" fmla="*/ 2410931 h 2827917"/>
                  <a:gd name="connsiteX11" fmla="*/ 1541267 w 1543680"/>
                  <a:gd name="connsiteY11" fmla="*/ 2319042 h 2827917"/>
                  <a:gd name="connsiteX12" fmla="*/ 1543680 w 1543680"/>
                  <a:gd name="connsiteY12" fmla="*/ 1518653 h 2827917"/>
                  <a:gd name="connsiteX13" fmla="*/ 1502661 w 1543680"/>
                  <a:gd name="connsiteY13" fmla="*/ 1431601 h 2827917"/>
                  <a:gd name="connsiteX14" fmla="*/ 1222766 w 1543680"/>
                  <a:gd name="connsiteY14" fmla="*/ 1153521 h 2827917"/>
                  <a:gd name="connsiteX15" fmla="*/ 1271024 w 1543680"/>
                  <a:gd name="connsiteY15" fmla="*/ 933474 h 2827917"/>
                  <a:gd name="connsiteX16" fmla="*/ 1276612 w 1543680"/>
                  <a:gd name="connsiteY16" fmla="*/ 849745 h 2827917"/>
                  <a:gd name="connsiteX17" fmla="*/ 1213256 w 1543680"/>
                  <a:gd name="connsiteY17" fmla="*/ 681666 h 2827917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246875 w 513943"/>
                  <a:gd name="connsiteY15" fmla="*/ 168079 h 2146251"/>
                  <a:gd name="connsiteX16" fmla="*/ 183519 w 513943"/>
                  <a:gd name="connsiteY16" fmla="*/ 0 h 2146251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246875 w 513943"/>
                  <a:gd name="connsiteY15" fmla="*/ 168079 h 2146251"/>
                  <a:gd name="connsiteX16" fmla="*/ 193385 w 513943"/>
                  <a:gd name="connsiteY16" fmla="*/ 27369 h 2146251"/>
                  <a:gd name="connsiteX17" fmla="*/ 183519 w 513943"/>
                  <a:gd name="connsiteY17" fmla="*/ 0 h 2146251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193385 w 513943"/>
                  <a:gd name="connsiteY15" fmla="*/ 27369 h 2146251"/>
                  <a:gd name="connsiteX16" fmla="*/ 183519 w 513943"/>
                  <a:gd name="connsiteY16" fmla="*/ 0 h 2146251"/>
                  <a:gd name="connsiteX0" fmla="*/ 193385 w 513943"/>
                  <a:gd name="connsiteY0" fmla="*/ 0 h 2118882"/>
                  <a:gd name="connsiteX1" fmla="*/ 43431 w 513943"/>
                  <a:gd name="connsiteY1" fmla="*/ 415468 h 2118882"/>
                  <a:gd name="connsiteX2" fmla="*/ 0 w 513943"/>
                  <a:gd name="connsiteY2" fmla="*/ 763675 h 2118882"/>
                  <a:gd name="connsiteX3" fmla="*/ 2413 w 513943"/>
                  <a:gd name="connsiteY3" fmla="*/ 1651117 h 2118882"/>
                  <a:gd name="connsiteX4" fmla="*/ 38606 w 513943"/>
                  <a:gd name="connsiteY4" fmla="*/ 1926779 h 2118882"/>
                  <a:gd name="connsiteX5" fmla="*/ 39691 w 513943"/>
                  <a:gd name="connsiteY5" fmla="*/ 2102647 h 2118882"/>
                  <a:gd name="connsiteX6" fmla="*/ 168683 w 513943"/>
                  <a:gd name="connsiteY6" fmla="*/ 2102647 h 2118882"/>
                  <a:gd name="connsiteX7" fmla="*/ 180966 w 513943"/>
                  <a:gd name="connsiteY7" fmla="*/ 2028339 h 2118882"/>
                  <a:gd name="connsiteX8" fmla="*/ 217159 w 513943"/>
                  <a:gd name="connsiteY8" fmla="*/ 1943705 h 2118882"/>
                  <a:gd name="connsiteX9" fmla="*/ 482575 w 513943"/>
                  <a:gd name="connsiteY9" fmla="*/ 1701896 h 2118882"/>
                  <a:gd name="connsiteX10" fmla="*/ 511530 w 513943"/>
                  <a:gd name="connsiteY10" fmla="*/ 1610007 h 2118882"/>
                  <a:gd name="connsiteX11" fmla="*/ 513943 w 513943"/>
                  <a:gd name="connsiteY11" fmla="*/ 809618 h 2118882"/>
                  <a:gd name="connsiteX12" fmla="*/ 472924 w 513943"/>
                  <a:gd name="connsiteY12" fmla="*/ 722566 h 2118882"/>
                  <a:gd name="connsiteX13" fmla="*/ 193029 w 513943"/>
                  <a:gd name="connsiteY13" fmla="*/ 444486 h 2118882"/>
                  <a:gd name="connsiteX14" fmla="*/ 241287 w 513943"/>
                  <a:gd name="connsiteY14" fmla="*/ 224439 h 2118882"/>
                  <a:gd name="connsiteX15" fmla="*/ 193385 w 513943"/>
                  <a:gd name="connsiteY15" fmla="*/ 0 h 2118882"/>
                  <a:gd name="connsiteX0" fmla="*/ 241287 w 513943"/>
                  <a:gd name="connsiteY0" fmla="*/ 160 h 1894603"/>
                  <a:gd name="connsiteX1" fmla="*/ 43431 w 513943"/>
                  <a:gd name="connsiteY1" fmla="*/ 191189 h 1894603"/>
                  <a:gd name="connsiteX2" fmla="*/ 0 w 513943"/>
                  <a:gd name="connsiteY2" fmla="*/ 539396 h 1894603"/>
                  <a:gd name="connsiteX3" fmla="*/ 2413 w 513943"/>
                  <a:gd name="connsiteY3" fmla="*/ 1426838 h 1894603"/>
                  <a:gd name="connsiteX4" fmla="*/ 38606 w 513943"/>
                  <a:gd name="connsiteY4" fmla="*/ 1702500 h 1894603"/>
                  <a:gd name="connsiteX5" fmla="*/ 39691 w 513943"/>
                  <a:gd name="connsiteY5" fmla="*/ 1878368 h 1894603"/>
                  <a:gd name="connsiteX6" fmla="*/ 168683 w 513943"/>
                  <a:gd name="connsiteY6" fmla="*/ 1878368 h 1894603"/>
                  <a:gd name="connsiteX7" fmla="*/ 180966 w 513943"/>
                  <a:gd name="connsiteY7" fmla="*/ 1804060 h 1894603"/>
                  <a:gd name="connsiteX8" fmla="*/ 217159 w 513943"/>
                  <a:gd name="connsiteY8" fmla="*/ 1719426 h 1894603"/>
                  <a:gd name="connsiteX9" fmla="*/ 482575 w 513943"/>
                  <a:gd name="connsiteY9" fmla="*/ 1477617 h 1894603"/>
                  <a:gd name="connsiteX10" fmla="*/ 511530 w 513943"/>
                  <a:gd name="connsiteY10" fmla="*/ 1385728 h 1894603"/>
                  <a:gd name="connsiteX11" fmla="*/ 513943 w 513943"/>
                  <a:gd name="connsiteY11" fmla="*/ 585339 h 1894603"/>
                  <a:gd name="connsiteX12" fmla="*/ 472924 w 513943"/>
                  <a:gd name="connsiteY12" fmla="*/ 498287 h 1894603"/>
                  <a:gd name="connsiteX13" fmla="*/ 193029 w 513943"/>
                  <a:gd name="connsiteY13" fmla="*/ 220207 h 1894603"/>
                  <a:gd name="connsiteX14" fmla="*/ 241287 w 513943"/>
                  <a:gd name="connsiteY14" fmla="*/ 160 h 1894603"/>
                  <a:gd name="connsiteX0" fmla="*/ 241287 w 513943"/>
                  <a:gd name="connsiteY0" fmla="*/ 160 h 1884895"/>
                  <a:gd name="connsiteX1" fmla="*/ 43431 w 513943"/>
                  <a:gd name="connsiteY1" fmla="*/ 191189 h 1884895"/>
                  <a:gd name="connsiteX2" fmla="*/ 0 w 513943"/>
                  <a:gd name="connsiteY2" fmla="*/ 539396 h 1884895"/>
                  <a:gd name="connsiteX3" fmla="*/ 2413 w 513943"/>
                  <a:gd name="connsiteY3" fmla="*/ 1426838 h 1884895"/>
                  <a:gd name="connsiteX4" fmla="*/ 38606 w 513943"/>
                  <a:gd name="connsiteY4" fmla="*/ 1702500 h 1884895"/>
                  <a:gd name="connsiteX5" fmla="*/ 39691 w 513943"/>
                  <a:gd name="connsiteY5" fmla="*/ 1878368 h 1884895"/>
                  <a:gd name="connsiteX6" fmla="*/ 168683 w 513943"/>
                  <a:gd name="connsiteY6" fmla="*/ 1878368 h 1884895"/>
                  <a:gd name="connsiteX7" fmla="*/ 180966 w 513943"/>
                  <a:gd name="connsiteY7" fmla="*/ 1804060 h 1884895"/>
                  <a:gd name="connsiteX8" fmla="*/ 217159 w 513943"/>
                  <a:gd name="connsiteY8" fmla="*/ 1719426 h 1884895"/>
                  <a:gd name="connsiteX9" fmla="*/ 482575 w 513943"/>
                  <a:gd name="connsiteY9" fmla="*/ 1477617 h 1884895"/>
                  <a:gd name="connsiteX10" fmla="*/ 511530 w 513943"/>
                  <a:gd name="connsiteY10" fmla="*/ 1385728 h 1884895"/>
                  <a:gd name="connsiteX11" fmla="*/ 513943 w 513943"/>
                  <a:gd name="connsiteY11" fmla="*/ 585339 h 1884895"/>
                  <a:gd name="connsiteX12" fmla="*/ 472924 w 513943"/>
                  <a:gd name="connsiteY12" fmla="*/ 498287 h 1884895"/>
                  <a:gd name="connsiteX13" fmla="*/ 193029 w 513943"/>
                  <a:gd name="connsiteY13" fmla="*/ 220207 h 1884895"/>
                  <a:gd name="connsiteX14" fmla="*/ 241287 w 513943"/>
                  <a:gd name="connsiteY14" fmla="*/ 160 h 1884895"/>
                  <a:gd name="connsiteX0" fmla="*/ 241287 w 513943"/>
                  <a:gd name="connsiteY0" fmla="*/ 160 h 1879730"/>
                  <a:gd name="connsiteX1" fmla="*/ 43431 w 513943"/>
                  <a:gd name="connsiteY1" fmla="*/ 191189 h 1879730"/>
                  <a:gd name="connsiteX2" fmla="*/ 0 w 513943"/>
                  <a:gd name="connsiteY2" fmla="*/ 539396 h 1879730"/>
                  <a:gd name="connsiteX3" fmla="*/ 2413 w 513943"/>
                  <a:gd name="connsiteY3" fmla="*/ 1426838 h 1879730"/>
                  <a:gd name="connsiteX4" fmla="*/ 38606 w 513943"/>
                  <a:gd name="connsiteY4" fmla="*/ 1702500 h 1879730"/>
                  <a:gd name="connsiteX5" fmla="*/ 42107 w 513943"/>
                  <a:gd name="connsiteY5" fmla="*/ 1810662 h 1879730"/>
                  <a:gd name="connsiteX6" fmla="*/ 168683 w 513943"/>
                  <a:gd name="connsiteY6" fmla="*/ 1878368 h 1879730"/>
                  <a:gd name="connsiteX7" fmla="*/ 180966 w 513943"/>
                  <a:gd name="connsiteY7" fmla="*/ 1804060 h 1879730"/>
                  <a:gd name="connsiteX8" fmla="*/ 217159 w 513943"/>
                  <a:gd name="connsiteY8" fmla="*/ 1719426 h 1879730"/>
                  <a:gd name="connsiteX9" fmla="*/ 482575 w 513943"/>
                  <a:gd name="connsiteY9" fmla="*/ 1477617 h 1879730"/>
                  <a:gd name="connsiteX10" fmla="*/ 511530 w 513943"/>
                  <a:gd name="connsiteY10" fmla="*/ 1385728 h 1879730"/>
                  <a:gd name="connsiteX11" fmla="*/ 513943 w 513943"/>
                  <a:gd name="connsiteY11" fmla="*/ 585339 h 1879730"/>
                  <a:gd name="connsiteX12" fmla="*/ 472924 w 513943"/>
                  <a:gd name="connsiteY12" fmla="*/ 498287 h 1879730"/>
                  <a:gd name="connsiteX13" fmla="*/ 193029 w 513943"/>
                  <a:gd name="connsiteY13" fmla="*/ 220207 h 1879730"/>
                  <a:gd name="connsiteX14" fmla="*/ 241287 w 513943"/>
                  <a:gd name="connsiteY14" fmla="*/ 160 h 1879730"/>
                  <a:gd name="connsiteX0" fmla="*/ 241287 w 513943"/>
                  <a:gd name="connsiteY0" fmla="*/ 160 h 1820034"/>
                  <a:gd name="connsiteX1" fmla="*/ 43431 w 513943"/>
                  <a:gd name="connsiteY1" fmla="*/ 191189 h 1820034"/>
                  <a:gd name="connsiteX2" fmla="*/ 0 w 513943"/>
                  <a:gd name="connsiteY2" fmla="*/ 539396 h 1820034"/>
                  <a:gd name="connsiteX3" fmla="*/ 2413 w 513943"/>
                  <a:gd name="connsiteY3" fmla="*/ 1426838 h 1820034"/>
                  <a:gd name="connsiteX4" fmla="*/ 38606 w 513943"/>
                  <a:gd name="connsiteY4" fmla="*/ 1702500 h 1820034"/>
                  <a:gd name="connsiteX5" fmla="*/ 42107 w 513943"/>
                  <a:gd name="connsiteY5" fmla="*/ 1810662 h 1820034"/>
                  <a:gd name="connsiteX6" fmla="*/ 180966 w 513943"/>
                  <a:gd name="connsiteY6" fmla="*/ 1804060 h 1820034"/>
                  <a:gd name="connsiteX7" fmla="*/ 217159 w 513943"/>
                  <a:gd name="connsiteY7" fmla="*/ 1719426 h 1820034"/>
                  <a:gd name="connsiteX8" fmla="*/ 482575 w 513943"/>
                  <a:gd name="connsiteY8" fmla="*/ 1477617 h 1820034"/>
                  <a:gd name="connsiteX9" fmla="*/ 511530 w 513943"/>
                  <a:gd name="connsiteY9" fmla="*/ 1385728 h 1820034"/>
                  <a:gd name="connsiteX10" fmla="*/ 513943 w 513943"/>
                  <a:gd name="connsiteY10" fmla="*/ 585339 h 1820034"/>
                  <a:gd name="connsiteX11" fmla="*/ 472924 w 513943"/>
                  <a:gd name="connsiteY11" fmla="*/ 498287 h 1820034"/>
                  <a:gd name="connsiteX12" fmla="*/ 193029 w 513943"/>
                  <a:gd name="connsiteY12" fmla="*/ 220207 h 1820034"/>
                  <a:gd name="connsiteX13" fmla="*/ 241287 w 513943"/>
                  <a:gd name="connsiteY13" fmla="*/ 160 h 1820034"/>
                  <a:gd name="connsiteX0" fmla="*/ 241287 w 513943"/>
                  <a:gd name="connsiteY0" fmla="*/ 160 h 1813613"/>
                  <a:gd name="connsiteX1" fmla="*/ 43431 w 513943"/>
                  <a:gd name="connsiteY1" fmla="*/ 191189 h 1813613"/>
                  <a:gd name="connsiteX2" fmla="*/ 0 w 513943"/>
                  <a:gd name="connsiteY2" fmla="*/ 539396 h 1813613"/>
                  <a:gd name="connsiteX3" fmla="*/ 2413 w 513943"/>
                  <a:gd name="connsiteY3" fmla="*/ 1426838 h 1813613"/>
                  <a:gd name="connsiteX4" fmla="*/ 38606 w 513943"/>
                  <a:gd name="connsiteY4" fmla="*/ 1702500 h 1813613"/>
                  <a:gd name="connsiteX5" fmla="*/ 42107 w 513943"/>
                  <a:gd name="connsiteY5" fmla="*/ 1798571 h 1813613"/>
                  <a:gd name="connsiteX6" fmla="*/ 180966 w 513943"/>
                  <a:gd name="connsiteY6" fmla="*/ 1804060 h 1813613"/>
                  <a:gd name="connsiteX7" fmla="*/ 217159 w 513943"/>
                  <a:gd name="connsiteY7" fmla="*/ 1719426 h 1813613"/>
                  <a:gd name="connsiteX8" fmla="*/ 482575 w 513943"/>
                  <a:gd name="connsiteY8" fmla="*/ 1477617 h 1813613"/>
                  <a:gd name="connsiteX9" fmla="*/ 511530 w 513943"/>
                  <a:gd name="connsiteY9" fmla="*/ 1385728 h 1813613"/>
                  <a:gd name="connsiteX10" fmla="*/ 513943 w 513943"/>
                  <a:gd name="connsiteY10" fmla="*/ 585339 h 1813613"/>
                  <a:gd name="connsiteX11" fmla="*/ 472924 w 513943"/>
                  <a:gd name="connsiteY11" fmla="*/ 498287 h 1813613"/>
                  <a:gd name="connsiteX12" fmla="*/ 193029 w 513943"/>
                  <a:gd name="connsiteY12" fmla="*/ 220207 h 1813613"/>
                  <a:gd name="connsiteX13" fmla="*/ 241287 w 513943"/>
                  <a:gd name="connsiteY13" fmla="*/ 160 h 1813613"/>
                  <a:gd name="connsiteX0" fmla="*/ 241287 w 513943"/>
                  <a:gd name="connsiteY0" fmla="*/ 160 h 1810045"/>
                  <a:gd name="connsiteX1" fmla="*/ 43431 w 513943"/>
                  <a:gd name="connsiteY1" fmla="*/ 191189 h 1810045"/>
                  <a:gd name="connsiteX2" fmla="*/ 0 w 513943"/>
                  <a:gd name="connsiteY2" fmla="*/ 539396 h 1810045"/>
                  <a:gd name="connsiteX3" fmla="*/ 2413 w 513943"/>
                  <a:gd name="connsiteY3" fmla="*/ 1426838 h 1810045"/>
                  <a:gd name="connsiteX4" fmla="*/ 38606 w 513943"/>
                  <a:gd name="connsiteY4" fmla="*/ 1702500 h 1810045"/>
                  <a:gd name="connsiteX5" fmla="*/ 42107 w 513943"/>
                  <a:gd name="connsiteY5" fmla="*/ 1798571 h 1810045"/>
                  <a:gd name="connsiteX6" fmla="*/ 180966 w 513943"/>
                  <a:gd name="connsiteY6" fmla="*/ 1804060 h 1810045"/>
                  <a:gd name="connsiteX7" fmla="*/ 217159 w 513943"/>
                  <a:gd name="connsiteY7" fmla="*/ 1719426 h 1810045"/>
                  <a:gd name="connsiteX8" fmla="*/ 482575 w 513943"/>
                  <a:gd name="connsiteY8" fmla="*/ 1477617 h 1810045"/>
                  <a:gd name="connsiteX9" fmla="*/ 511530 w 513943"/>
                  <a:gd name="connsiteY9" fmla="*/ 1385728 h 1810045"/>
                  <a:gd name="connsiteX10" fmla="*/ 513943 w 513943"/>
                  <a:gd name="connsiteY10" fmla="*/ 585339 h 1810045"/>
                  <a:gd name="connsiteX11" fmla="*/ 472924 w 513943"/>
                  <a:gd name="connsiteY11" fmla="*/ 498287 h 1810045"/>
                  <a:gd name="connsiteX12" fmla="*/ 193029 w 513943"/>
                  <a:gd name="connsiteY12" fmla="*/ 220207 h 1810045"/>
                  <a:gd name="connsiteX13" fmla="*/ 241287 w 513943"/>
                  <a:gd name="connsiteY13" fmla="*/ 160 h 1810045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42107 w 513943"/>
                  <a:gd name="connsiteY5" fmla="*/ 1798571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37276 w 513943"/>
                  <a:gd name="connsiteY5" fmla="*/ 1796154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39692 w 513943"/>
                  <a:gd name="connsiteY5" fmla="*/ 1803409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09882 w 513943"/>
                  <a:gd name="connsiteY0" fmla="*/ 20253 h 1664558"/>
                  <a:gd name="connsiteX1" fmla="*/ 43431 w 513943"/>
                  <a:gd name="connsiteY1" fmla="*/ 51687 h 1664558"/>
                  <a:gd name="connsiteX2" fmla="*/ 0 w 513943"/>
                  <a:gd name="connsiteY2" fmla="*/ 399894 h 1664558"/>
                  <a:gd name="connsiteX3" fmla="*/ 2413 w 513943"/>
                  <a:gd name="connsiteY3" fmla="*/ 1287336 h 1664558"/>
                  <a:gd name="connsiteX4" fmla="*/ 38606 w 513943"/>
                  <a:gd name="connsiteY4" fmla="*/ 1562998 h 1664558"/>
                  <a:gd name="connsiteX5" fmla="*/ 39692 w 513943"/>
                  <a:gd name="connsiteY5" fmla="*/ 1663907 h 1664558"/>
                  <a:gd name="connsiteX6" fmla="*/ 180966 w 513943"/>
                  <a:gd name="connsiteY6" fmla="*/ 1664558 h 1664558"/>
                  <a:gd name="connsiteX7" fmla="*/ 217159 w 513943"/>
                  <a:gd name="connsiteY7" fmla="*/ 1579924 h 1664558"/>
                  <a:gd name="connsiteX8" fmla="*/ 482575 w 513943"/>
                  <a:gd name="connsiteY8" fmla="*/ 1338115 h 1664558"/>
                  <a:gd name="connsiteX9" fmla="*/ 511530 w 513943"/>
                  <a:gd name="connsiteY9" fmla="*/ 1246226 h 1664558"/>
                  <a:gd name="connsiteX10" fmla="*/ 513943 w 513943"/>
                  <a:gd name="connsiteY10" fmla="*/ 445837 h 1664558"/>
                  <a:gd name="connsiteX11" fmla="*/ 472924 w 513943"/>
                  <a:gd name="connsiteY11" fmla="*/ 358785 h 1664558"/>
                  <a:gd name="connsiteX12" fmla="*/ 193029 w 513943"/>
                  <a:gd name="connsiteY12" fmla="*/ 80705 h 1664558"/>
                  <a:gd name="connsiteX13" fmla="*/ 209882 w 513943"/>
                  <a:gd name="connsiteY13" fmla="*/ 20253 h 1664558"/>
                  <a:gd name="connsiteX0" fmla="*/ 209882 w 513943"/>
                  <a:gd name="connsiteY0" fmla="*/ 15688 h 1659993"/>
                  <a:gd name="connsiteX1" fmla="*/ 43431 w 513943"/>
                  <a:gd name="connsiteY1" fmla="*/ 47122 h 1659993"/>
                  <a:gd name="connsiteX2" fmla="*/ 0 w 513943"/>
                  <a:gd name="connsiteY2" fmla="*/ 395329 h 1659993"/>
                  <a:gd name="connsiteX3" fmla="*/ 2413 w 513943"/>
                  <a:gd name="connsiteY3" fmla="*/ 1282771 h 1659993"/>
                  <a:gd name="connsiteX4" fmla="*/ 38606 w 513943"/>
                  <a:gd name="connsiteY4" fmla="*/ 1558433 h 1659993"/>
                  <a:gd name="connsiteX5" fmla="*/ 39692 w 513943"/>
                  <a:gd name="connsiteY5" fmla="*/ 1659342 h 1659993"/>
                  <a:gd name="connsiteX6" fmla="*/ 180966 w 513943"/>
                  <a:gd name="connsiteY6" fmla="*/ 1659993 h 1659993"/>
                  <a:gd name="connsiteX7" fmla="*/ 217159 w 513943"/>
                  <a:gd name="connsiteY7" fmla="*/ 1575359 h 1659993"/>
                  <a:gd name="connsiteX8" fmla="*/ 482575 w 513943"/>
                  <a:gd name="connsiteY8" fmla="*/ 1333550 h 1659993"/>
                  <a:gd name="connsiteX9" fmla="*/ 511530 w 513943"/>
                  <a:gd name="connsiteY9" fmla="*/ 1241661 h 1659993"/>
                  <a:gd name="connsiteX10" fmla="*/ 513943 w 513943"/>
                  <a:gd name="connsiteY10" fmla="*/ 441272 h 1659993"/>
                  <a:gd name="connsiteX11" fmla="*/ 472924 w 513943"/>
                  <a:gd name="connsiteY11" fmla="*/ 354220 h 1659993"/>
                  <a:gd name="connsiteX12" fmla="*/ 193029 w 513943"/>
                  <a:gd name="connsiteY12" fmla="*/ 76140 h 1659993"/>
                  <a:gd name="connsiteX13" fmla="*/ 209882 w 513943"/>
                  <a:gd name="connsiteY13" fmla="*/ 15688 h 1659993"/>
                  <a:gd name="connsiteX0" fmla="*/ 209882 w 513943"/>
                  <a:gd name="connsiteY0" fmla="*/ 25425 h 1669730"/>
                  <a:gd name="connsiteX1" fmla="*/ 45846 w 513943"/>
                  <a:gd name="connsiteY1" fmla="*/ 42351 h 1669730"/>
                  <a:gd name="connsiteX2" fmla="*/ 0 w 513943"/>
                  <a:gd name="connsiteY2" fmla="*/ 405066 h 1669730"/>
                  <a:gd name="connsiteX3" fmla="*/ 2413 w 513943"/>
                  <a:gd name="connsiteY3" fmla="*/ 1292508 h 1669730"/>
                  <a:gd name="connsiteX4" fmla="*/ 38606 w 513943"/>
                  <a:gd name="connsiteY4" fmla="*/ 1568170 h 1669730"/>
                  <a:gd name="connsiteX5" fmla="*/ 39692 w 513943"/>
                  <a:gd name="connsiteY5" fmla="*/ 1669079 h 1669730"/>
                  <a:gd name="connsiteX6" fmla="*/ 180966 w 513943"/>
                  <a:gd name="connsiteY6" fmla="*/ 1669730 h 1669730"/>
                  <a:gd name="connsiteX7" fmla="*/ 217159 w 513943"/>
                  <a:gd name="connsiteY7" fmla="*/ 1585096 h 1669730"/>
                  <a:gd name="connsiteX8" fmla="*/ 482575 w 513943"/>
                  <a:gd name="connsiteY8" fmla="*/ 1343287 h 1669730"/>
                  <a:gd name="connsiteX9" fmla="*/ 511530 w 513943"/>
                  <a:gd name="connsiteY9" fmla="*/ 1251398 h 1669730"/>
                  <a:gd name="connsiteX10" fmla="*/ 513943 w 513943"/>
                  <a:gd name="connsiteY10" fmla="*/ 451009 h 1669730"/>
                  <a:gd name="connsiteX11" fmla="*/ 472924 w 513943"/>
                  <a:gd name="connsiteY11" fmla="*/ 363957 h 1669730"/>
                  <a:gd name="connsiteX12" fmla="*/ 193029 w 513943"/>
                  <a:gd name="connsiteY12" fmla="*/ 85877 h 1669730"/>
                  <a:gd name="connsiteX13" fmla="*/ 209882 w 513943"/>
                  <a:gd name="connsiteY13" fmla="*/ 25425 h 1669730"/>
                  <a:gd name="connsiteX0" fmla="*/ 209882 w 513943"/>
                  <a:gd name="connsiteY0" fmla="*/ 0 h 1644305"/>
                  <a:gd name="connsiteX1" fmla="*/ 45846 w 513943"/>
                  <a:gd name="connsiteY1" fmla="*/ 16926 h 1644305"/>
                  <a:gd name="connsiteX2" fmla="*/ 0 w 513943"/>
                  <a:gd name="connsiteY2" fmla="*/ 379641 h 1644305"/>
                  <a:gd name="connsiteX3" fmla="*/ 2413 w 513943"/>
                  <a:gd name="connsiteY3" fmla="*/ 1267083 h 1644305"/>
                  <a:gd name="connsiteX4" fmla="*/ 38606 w 513943"/>
                  <a:gd name="connsiteY4" fmla="*/ 1542745 h 1644305"/>
                  <a:gd name="connsiteX5" fmla="*/ 39692 w 513943"/>
                  <a:gd name="connsiteY5" fmla="*/ 1643654 h 1644305"/>
                  <a:gd name="connsiteX6" fmla="*/ 180966 w 513943"/>
                  <a:gd name="connsiteY6" fmla="*/ 1644305 h 1644305"/>
                  <a:gd name="connsiteX7" fmla="*/ 217159 w 513943"/>
                  <a:gd name="connsiteY7" fmla="*/ 1559671 h 1644305"/>
                  <a:gd name="connsiteX8" fmla="*/ 482575 w 513943"/>
                  <a:gd name="connsiteY8" fmla="*/ 1317862 h 1644305"/>
                  <a:gd name="connsiteX9" fmla="*/ 511530 w 513943"/>
                  <a:gd name="connsiteY9" fmla="*/ 1225973 h 1644305"/>
                  <a:gd name="connsiteX10" fmla="*/ 513943 w 513943"/>
                  <a:gd name="connsiteY10" fmla="*/ 425584 h 1644305"/>
                  <a:gd name="connsiteX11" fmla="*/ 472924 w 513943"/>
                  <a:gd name="connsiteY11" fmla="*/ 338532 h 1644305"/>
                  <a:gd name="connsiteX12" fmla="*/ 193029 w 513943"/>
                  <a:gd name="connsiteY12" fmla="*/ 60452 h 1644305"/>
                  <a:gd name="connsiteX13" fmla="*/ 209882 w 513943"/>
                  <a:gd name="connsiteY13" fmla="*/ 0 h 1644305"/>
                  <a:gd name="connsiteX0" fmla="*/ 209882 w 513943"/>
                  <a:gd name="connsiteY0" fmla="*/ 0 h 1644305"/>
                  <a:gd name="connsiteX1" fmla="*/ 45846 w 513943"/>
                  <a:gd name="connsiteY1" fmla="*/ 7254 h 1644305"/>
                  <a:gd name="connsiteX2" fmla="*/ 0 w 513943"/>
                  <a:gd name="connsiteY2" fmla="*/ 379641 h 1644305"/>
                  <a:gd name="connsiteX3" fmla="*/ 2413 w 513943"/>
                  <a:gd name="connsiteY3" fmla="*/ 1267083 h 1644305"/>
                  <a:gd name="connsiteX4" fmla="*/ 38606 w 513943"/>
                  <a:gd name="connsiteY4" fmla="*/ 1542745 h 1644305"/>
                  <a:gd name="connsiteX5" fmla="*/ 39692 w 513943"/>
                  <a:gd name="connsiteY5" fmla="*/ 1643654 h 1644305"/>
                  <a:gd name="connsiteX6" fmla="*/ 180966 w 513943"/>
                  <a:gd name="connsiteY6" fmla="*/ 1644305 h 1644305"/>
                  <a:gd name="connsiteX7" fmla="*/ 217159 w 513943"/>
                  <a:gd name="connsiteY7" fmla="*/ 1559671 h 1644305"/>
                  <a:gd name="connsiteX8" fmla="*/ 482575 w 513943"/>
                  <a:gd name="connsiteY8" fmla="*/ 1317862 h 1644305"/>
                  <a:gd name="connsiteX9" fmla="*/ 511530 w 513943"/>
                  <a:gd name="connsiteY9" fmla="*/ 1225973 h 1644305"/>
                  <a:gd name="connsiteX10" fmla="*/ 513943 w 513943"/>
                  <a:gd name="connsiteY10" fmla="*/ 425584 h 1644305"/>
                  <a:gd name="connsiteX11" fmla="*/ 472924 w 513943"/>
                  <a:gd name="connsiteY11" fmla="*/ 338532 h 1644305"/>
                  <a:gd name="connsiteX12" fmla="*/ 193029 w 513943"/>
                  <a:gd name="connsiteY12" fmla="*/ 60452 h 1644305"/>
                  <a:gd name="connsiteX13" fmla="*/ 209882 w 513943"/>
                  <a:gd name="connsiteY13" fmla="*/ 0 h 1644305"/>
                  <a:gd name="connsiteX0" fmla="*/ 205050 w 513943"/>
                  <a:gd name="connsiteY0" fmla="*/ 0 h 1639468"/>
                  <a:gd name="connsiteX1" fmla="*/ 45846 w 513943"/>
                  <a:gd name="connsiteY1" fmla="*/ 2417 h 1639468"/>
                  <a:gd name="connsiteX2" fmla="*/ 0 w 513943"/>
                  <a:gd name="connsiteY2" fmla="*/ 374804 h 1639468"/>
                  <a:gd name="connsiteX3" fmla="*/ 2413 w 513943"/>
                  <a:gd name="connsiteY3" fmla="*/ 1262246 h 1639468"/>
                  <a:gd name="connsiteX4" fmla="*/ 38606 w 513943"/>
                  <a:gd name="connsiteY4" fmla="*/ 1537908 h 1639468"/>
                  <a:gd name="connsiteX5" fmla="*/ 39692 w 513943"/>
                  <a:gd name="connsiteY5" fmla="*/ 1638817 h 1639468"/>
                  <a:gd name="connsiteX6" fmla="*/ 180966 w 513943"/>
                  <a:gd name="connsiteY6" fmla="*/ 1639468 h 1639468"/>
                  <a:gd name="connsiteX7" fmla="*/ 217159 w 513943"/>
                  <a:gd name="connsiteY7" fmla="*/ 1554834 h 1639468"/>
                  <a:gd name="connsiteX8" fmla="*/ 482575 w 513943"/>
                  <a:gd name="connsiteY8" fmla="*/ 1313025 h 1639468"/>
                  <a:gd name="connsiteX9" fmla="*/ 511530 w 513943"/>
                  <a:gd name="connsiteY9" fmla="*/ 1221136 h 1639468"/>
                  <a:gd name="connsiteX10" fmla="*/ 513943 w 513943"/>
                  <a:gd name="connsiteY10" fmla="*/ 420747 h 1639468"/>
                  <a:gd name="connsiteX11" fmla="*/ 472924 w 513943"/>
                  <a:gd name="connsiteY11" fmla="*/ 333695 h 1639468"/>
                  <a:gd name="connsiteX12" fmla="*/ 193029 w 513943"/>
                  <a:gd name="connsiteY12" fmla="*/ 55615 h 1639468"/>
                  <a:gd name="connsiteX13" fmla="*/ 205050 w 513943"/>
                  <a:gd name="connsiteY13" fmla="*/ 0 h 1639468"/>
                  <a:gd name="connsiteX0" fmla="*/ 205050 w 513943"/>
                  <a:gd name="connsiteY0" fmla="*/ 19 h 1639487"/>
                  <a:gd name="connsiteX1" fmla="*/ 45846 w 513943"/>
                  <a:gd name="connsiteY1" fmla="*/ 2436 h 1639487"/>
                  <a:gd name="connsiteX2" fmla="*/ 0 w 513943"/>
                  <a:gd name="connsiteY2" fmla="*/ 374823 h 1639487"/>
                  <a:gd name="connsiteX3" fmla="*/ 2413 w 513943"/>
                  <a:gd name="connsiteY3" fmla="*/ 1262265 h 1639487"/>
                  <a:gd name="connsiteX4" fmla="*/ 38606 w 513943"/>
                  <a:gd name="connsiteY4" fmla="*/ 1537927 h 1639487"/>
                  <a:gd name="connsiteX5" fmla="*/ 39692 w 513943"/>
                  <a:gd name="connsiteY5" fmla="*/ 1638836 h 1639487"/>
                  <a:gd name="connsiteX6" fmla="*/ 180966 w 513943"/>
                  <a:gd name="connsiteY6" fmla="*/ 1639487 h 1639487"/>
                  <a:gd name="connsiteX7" fmla="*/ 217159 w 513943"/>
                  <a:gd name="connsiteY7" fmla="*/ 1554853 h 1639487"/>
                  <a:gd name="connsiteX8" fmla="*/ 482575 w 513943"/>
                  <a:gd name="connsiteY8" fmla="*/ 1313044 h 1639487"/>
                  <a:gd name="connsiteX9" fmla="*/ 511530 w 513943"/>
                  <a:gd name="connsiteY9" fmla="*/ 1221155 h 1639487"/>
                  <a:gd name="connsiteX10" fmla="*/ 513943 w 513943"/>
                  <a:gd name="connsiteY10" fmla="*/ 420766 h 1639487"/>
                  <a:gd name="connsiteX11" fmla="*/ 472924 w 513943"/>
                  <a:gd name="connsiteY11" fmla="*/ 333714 h 1639487"/>
                  <a:gd name="connsiteX12" fmla="*/ 193029 w 513943"/>
                  <a:gd name="connsiteY12" fmla="*/ 55634 h 1639487"/>
                  <a:gd name="connsiteX13" fmla="*/ 205050 w 513943"/>
                  <a:gd name="connsiteY13" fmla="*/ 19 h 1639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13943" h="1639487">
                    <a:moveTo>
                      <a:pt x="205050" y="19"/>
                    </a:moveTo>
                    <a:cubicBezTo>
                      <a:pt x="168039" y="20"/>
                      <a:pt x="129542" y="-386"/>
                      <a:pt x="45846" y="2436"/>
                    </a:cubicBezTo>
                    <a:lnTo>
                      <a:pt x="0" y="374823"/>
                    </a:lnTo>
                    <a:cubicBezTo>
                      <a:pt x="804" y="670637"/>
                      <a:pt x="1609" y="966451"/>
                      <a:pt x="2413" y="1262265"/>
                    </a:cubicBezTo>
                    <a:lnTo>
                      <a:pt x="38606" y="1537927"/>
                    </a:lnTo>
                    <a:cubicBezTo>
                      <a:pt x="44819" y="1613182"/>
                      <a:pt x="42171" y="1597435"/>
                      <a:pt x="39692" y="1638836"/>
                    </a:cubicBezTo>
                    <a:cubicBezTo>
                      <a:pt x="97238" y="1641255"/>
                      <a:pt x="144544" y="1635349"/>
                      <a:pt x="180966" y="1639487"/>
                    </a:cubicBezTo>
                    <a:cubicBezTo>
                      <a:pt x="193030" y="1582259"/>
                      <a:pt x="205095" y="1583064"/>
                      <a:pt x="217159" y="1554853"/>
                    </a:cubicBezTo>
                    <a:lnTo>
                      <a:pt x="482575" y="1313044"/>
                    </a:lnTo>
                    <a:cubicBezTo>
                      <a:pt x="513944" y="1267906"/>
                      <a:pt x="511529" y="1261457"/>
                      <a:pt x="511530" y="1221155"/>
                    </a:cubicBezTo>
                    <a:cubicBezTo>
                      <a:pt x="512334" y="957583"/>
                      <a:pt x="513139" y="684338"/>
                      <a:pt x="513943" y="420766"/>
                    </a:cubicBezTo>
                    <a:cubicBezTo>
                      <a:pt x="507509" y="357897"/>
                      <a:pt x="505900" y="360313"/>
                      <a:pt x="472924" y="333714"/>
                    </a:cubicBezTo>
                    <a:lnTo>
                      <a:pt x="193029" y="55634"/>
                    </a:lnTo>
                    <a:lnTo>
                      <a:pt x="205050" y="1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9" name="Text_G120">
              <a:extLst>
                <a:ext uri="{FF2B5EF4-FFF2-40B4-BE49-F238E27FC236}">
                  <a16:creationId xmlns:a16="http://schemas.microsoft.com/office/drawing/2014/main" id="{ACE8E28E-E3A7-4E1F-953A-E58FFD3D74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6339" y="6766677"/>
              <a:ext cx="8556" cy="8683"/>
            </a:xfrm>
            <a:prstGeom prst="ellipse">
              <a:avLst/>
            </a:prstGeom>
            <a:solidFill>
              <a:schemeClr val="accent3">
                <a:lumMod val="85000"/>
              </a:schemeClr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0" name="G050/G006C/G017.2/G006/G006A/G006B/T103S">
              <a:extLst>
                <a:ext uri="{FF2B5EF4-FFF2-40B4-BE49-F238E27FC236}">
                  <a16:creationId xmlns:a16="http://schemas.microsoft.com/office/drawing/2014/main" id="{1D856834-EF9F-4DD7-9FDE-D766BAF9A903}"/>
                </a:ext>
              </a:extLst>
            </p:cNvPr>
            <p:cNvGrpSpPr/>
            <p:nvPr/>
          </p:nvGrpSpPr>
          <p:grpSpPr>
            <a:xfrm>
              <a:off x="11740783" y="6832172"/>
              <a:ext cx="497678" cy="551214"/>
              <a:chOff x="0" y="0"/>
              <a:chExt cx="951200" cy="1174679"/>
            </a:xfrm>
            <a:solidFill>
              <a:srgbClr val="FF9900"/>
            </a:solidFill>
          </p:grpSpPr>
          <p:sp>
            <p:nvSpPr>
              <p:cNvPr id="83" name="G006A">
                <a:extLst>
                  <a:ext uri="{FF2B5EF4-FFF2-40B4-BE49-F238E27FC236}">
                    <a16:creationId xmlns:a16="http://schemas.microsoft.com/office/drawing/2014/main" id="{9CC2DD30-1B45-424E-BE4C-0AC3C594294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8080" y="364280"/>
                <a:ext cx="342831" cy="532710"/>
              </a:xfrm>
              <a:custGeom>
                <a:avLst/>
                <a:gdLst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210207 w 861848"/>
                  <a:gd name="connsiteY9" fmla="*/ 630620 h 1508234"/>
                  <a:gd name="connsiteX10" fmla="*/ 0 w 861848"/>
                  <a:gd name="connsiteY10" fmla="*/ 1271751 h 1508234"/>
                  <a:gd name="connsiteX11" fmla="*/ 157655 w 861848"/>
                  <a:gd name="connsiteY11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210207 w 861848"/>
                  <a:gd name="connsiteY9" fmla="*/ 630620 h 1508234"/>
                  <a:gd name="connsiteX10" fmla="*/ 157655 w 861848"/>
                  <a:gd name="connsiteY10" fmla="*/ 788275 h 1508234"/>
                  <a:gd name="connsiteX11" fmla="*/ 0 w 861848"/>
                  <a:gd name="connsiteY11" fmla="*/ 1271751 h 1508234"/>
                  <a:gd name="connsiteX12" fmla="*/ 157655 w 861848"/>
                  <a:gd name="connsiteY12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10207 w 861848"/>
                  <a:gd name="connsiteY10" fmla="*/ 630620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94290 w 861848"/>
                  <a:gd name="connsiteY10" fmla="*/ 641131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36634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15613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199696 w 861848"/>
                  <a:gd name="connsiteY10" fmla="*/ 635875 h 1508234"/>
                  <a:gd name="connsiteX11" fmla="*/ 115613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63062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68317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68317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68165 w 861848"/>
                  <a:gd name="connsiteY11" fmla="*/ 620109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68165 w 861848"/>
                  <a:gd name="connsiteY11" fmla="*/ 62010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10358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21021 w 861848"/>
                  <a:gd name="connsiteY9" fmla="*/ 299545 h 1508234"/>
                  <a:gd name="connsiteX10" fmla="*/ 110358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26276 w 867103"/>
                  <a:gd name="connsiteY9" fmla="*/ 299545 h 1508234"/>
                  <a:gd name="connsiteX10" fmla="*/ 115613 w 867103"/>
                  <a:gd name="connsiteY10" fmla="*/ 436179 h 1508234"/>
                  <a:gd name="connsiteX11" fmla="*/ 178675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26276 w 867103"/>
                  <a:gd name="connsiteY9" fmla="*/ 299545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2042 w 867103"/>
                  <a:gd name="connsiteY9" fmla="*/ 278524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63063 w 867103"/>
                  <a:gd name="connsiteY9" fmla="*/ 278524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31379 w 867103"/>
                  <a:gd name="connsiteY10" fmla="*/ 441434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36635 w 867103"/>
                  <a:gd name="connsiteY10" fmla="*/ 420413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241738 w 867103"/>
                  <a:gd name="connsiteY7" fmla="*/ 89337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94442 w 867103"/>
                  <a:gd name="connsiteY7" fmla="*/ 84082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94442 w 867103"/>
                  <a:gd name="connsiteY7" fmla="*/ 84082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62911 w 867103"/>
                  <a:gd name="connsiteY7" fmla="*/ 78827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89187 w 867103"/>
                  <a:gd name="connsiteY7" fmla="*/ 63061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62 w 1034255"/>
                  <a:gd name="connsiteY0" fmla="*/ 1692256 h 1692256"/>
                  <a:gd name="connsiteX1" fmla="*/ 608586 w 1034255"/>
                  <a:gd name="connsiteY1" fmla="*/ 1440008 h 1692256"/>
                  <a:gd name="connsiteX2" fmla="*/ 592820 w 1034255"/>
                  <a:gd name="connsiteY2" fmla="*/ 1418987 h 1692256"/>
                  <a:gd name="connsiteX3" fmla="*/ 713689 w 1034255"/>
                  <a:gd name="connsiteY3" fmla="*/ 1303373 h 1692256"/>
                  <a:gd name="connsiteX4" fmla="*/ 750476 w 1034255"/>
                  <a:gd name="connsiteY4" fmla="*/ 1334904 h 1692256"/>
                  <a:gd name="connsiteX5" fmla="*/ 1034255 w 1034255"/>
                  <a:gd name="connsiteY5" fmla="*/ 1087911 h 1692256"/>
                  <a:gd name="connsiteX6" fmla="*/ 487717 w 1034255"/>
                  <a:gd name="connsiteY6" fmla="*/ 310146 h 1692256"/>
                  <a:gd name="connsiteX7" fmla="*/ 356339 w 1034255"/>
                  <a:gd name="connsiteY7" fmla="*/ 247083 h 1692256"/>
                  <a:gd name="connsiteX8" fmla="*/ 155570 w 1034255"/>
                  <a:gd name="connsiteY8" fmla="*/ 52670 h 1692256"/>
                  <a:gd name="connsiteX9" fmla="*/ 28 w 1034255"/>
                  <a:gd name="connsiteY9" fmla="*/ 18345 h 1692256"/>
                  <a:gd name="connsiteX10" fmla="*/ 167152 w 1034255"/>
                  <a:gd name="connsiteY10" fmla="*/ 304891 h 1692256"/>
                  <a:gd name="connsiteX11" fmla="*/ 214449 w 1034255"/>
                  <a:gd name="connsiteY11" fmla="*/ 457291 h 1692256"/>
                  <a:gd name="connsiteX12" fmla="*/ 303787 w 1034255"/>
                  <a:gd name="connsiteY12" fmla="*/ 604435 h 1692256"/>
                  <a:gd name="connsiteX13" fmla="*/ 361592 w 1034255"/>
                  <a:gd name="connsiteY13" fmla="*/ 814641 h 1692256"/>
                  <a:gd name="connsiteX14" fmla="*/ 293276 w 1034255"/>
                  <a:gd name="connsiteY14" fmla="*/ 1087911 h 1692256"/>
                  <a:gd name="connsiteX15" fmla="*/ 172407 w 1034255"/>
                  <a:gd name="connsiteY15" fmla="*/ 1455773 h 1692256"/>
                  <a:gd name="connsiteX16" fmla="*/ 330062 w 1034255"/>
                  <a:gd name="connsiteY16" fmla="*/ 1692256 h 1692256"/>
                  <a:gd name="connsiteX0" fmla="*/ 330055 w 1034248"/>
                  <a:gd name="connsiteY0" fmla="*/ 1692256 h 1692256"/>
                  <a:gd name="connsiteX1" fmla="*/ 608579 w 1034248"/>
                  <a:gd name="connsiteY1" fmla="*/ 1440008 h 1692256"/>
                  <a:gd name="connsiteX2" fmla="*/ 592813 w 1034248"/>
                  <a:gd name="connsiteY2" fmla="*/ 1418987 h 1692256"/>
                  <a:gd name="connsiteX3" fmla="*/ 713682 w 1034248"/>
                  <a:gd name="connsiteY3" fmla="*/ 1303373 h 1692256"/>
                  <a:gd name="connsiteX4" fmla="*/ 750469 w 1034248"/>
                  <a:gd name="connsiteY4" fmla="*/ 1334904 h 1692256"/>
                  <a:gd name="connsiteX5" fmla="*/ 1034248 w 1034248"/>
                  <a:gd name="connsiteY5" fmla="*/ 1087911 h 1692256"/>
                  <a:gd name="connsiteX6" fmla="*/ 487710 w 1034248"/>
                  <a:gd name="connsiteY6" fmla="*/ 310146 h 1692256"/>
                  <a:gd name="connsiteX7" fmla="*/ 356332 w 1034248"/>
                  <a:gd name="connsiteY7" fmla="*/ 247083 h 1692256"/>
                  <a:gd name="connsiteX8" fmla="*/ 194403 w 1034248"/>
                  <a:gd name="connsiteY8" fmla="*/ 52670 h 1692256"/>
                  <a:gd name="connsiteX9" fmla="*/ 21 w 1034248"/>
                  <a:gd name="connsiteY9" fmla="*/ 18345 h 1692256"/>
                  <a:gd name="connsiteX10" fmla="*/ 167145 w 1034248"/>
                  <a:gd name="connsiteY10" fmla="*/ 304891 h 1692256"/>
                  <a:gd name="connsiteX11" fmla="*/ 214442 w 1034248"/>
                  <a:gd name="connsiteY11" fmla="*/ 457291 h 1692256"/>
                  <a:gd name="connsiteX12" fmla="*/ 303780 w 1034248"/>
                  <a:gd name="connsiteY12" fmla="*/ 604435 h 1692256"/>
                  <a:gd name="connsiteX13" fmla="*/ 361585 w 1034248"/>
                  <a:gd name="connsiteY13" fmla="*/ 814641 h 1692256"/>
                  <a:gd name="connsiteX14" fmla="*/ 293269 w 1034248"/>
                  <a:gd name="connsiteY14" fmla="*/ 1087911 h 1692256"/>
                  <a:gd name="connsiteX15" fmla="*/ 172400 w 1034248"/>
                  <a:gd name="connsiteY15" fmla="*/ 1455773 h 1692256"/>
                  <a:gd name="connsiteX16" fmla="*/ 330055 w 1034248"/>
                  <a:gd name="connsiteY16" fmla="*/ 1692256 h 1692256"/>
                  <a:gd name="connsiteX0" fmla="*/ 330055 w 1034248"/>
                  <a:gd name="connsiteY0" fmla="*/ 1692256 h 1692256"/>
                  <a:gd name="connsiteX1" fmla="*/ 608579 w 1034248"/>
                  <a:gd name="connsiteY1" fmla="*/ 1440008 h 1692256"/>
                  <a:gd name="connsiteX2" fmla="*/ 592813 w 1034248"/>
                  <a:gd name="connsiteY2" fmla="*/ 1418987 h 1692256"/>
                  <a:gd name="connsiteX3" fmla="*/ 713682 w 1034248"/>
                  <a:gd name="connsiteY3" fmla="*/ 1303373 h 1692256"/>
                  <a:gd name="connsiteX4" fmla="*/ 750469 w 1034248"/>
                  <a:gd name="connsiteY4" fmla="*/ 1334904 h 1692256"/>
                  <a:gd name="connsiteX5" fmla="*/ 1034248 w 1034248"/>
                  <a:gd name="connsiteY5" fmla="*/ 1087911 h 1692256"/>
                  <a:gd name="connsiteX6" fmla="*/ 487710 w 1034248"/>
                  <a:gd name="connsiteY6" fmla="*/ 310146 h 1692256"/>
                  <a:gd name="connsiteX7" fmla="*/ 356332 w 1034248"/>
                  <a:gd name="connsiteY7" fmla="*/ 247083 h 1692256"/>
                  <a:gd name="connsiteX8" fmla="*/ 194403 w 1034248"/>
                  <a:gd name="connsiteY8" fmla="*/ 52670 h 1692256"/>
                  <a:gd name="connsiteX9" fmla="*/ 21 w 1034248"/>
                  <a:gd name="connsiteY9" fmla="*/ 18345 h 1692256"/>
                  <a:gd name="connsiteX10" fmla="*/ 167145 w 1034248"/>
                  <a:gd name="connsiteY10" fmla="*/ 304891 h 1692256"/>
                  <a:gd name="connsiteX11" fmla="*/ 214442 w 1034248"/>
                  <a:gd name="connsiteY11" fmla="*/ 457291 h 1692256"/>
                  <a:gd name="connsiteX12" fmla="*/ 303780 w 1034248"/>
                  <a:gd name="connsiteY12" fmla="*/ 604435 h 1692256"/>
                  <a:gd name="connsiteX13" fmla="*/ 361585 w 1034248"/>
                  <a:gd name="connsiteY13" fmla="*/ 814641 h 1692256"/>
                  <a:gd name="connsiteX14" fmla="*/ 293269 w 1034248"/>
                  <a:gd name="connsiteY14" fmla="*/ 1087911 h 1692256"/>
                  <a:gd name="connsiteX15" fmla="*/ 172400 w 1034248"/>
                  <a:gd name="connsiteY15" fmla="*/ 1455773 h 1692256"/>
                  <a:gd name="connsiteX16" fmla="*/ 330055 w 1034248"/>
                  <a:gd name="connsiteY16" fmla="*/ 1692256 h 1692256"/>
                  <a:gd name="connsiteX0" fmla="*/ 330044 w 1034237"/>
                  <a:gd name="connsiteY0" fmla="*/ 1755876 h 1755876"/>
                  <a:gd name="connsiteX1" fmla="*/ 608568 w 1034237"/>
                  <a:gd name="connsiteY1" fmla="*/ 1503628 h 1755876"/>
                  <a:gd name="connsiteX2" fmla="*/ 592802 w 1034237"/>
                  <a:gd name="connsiteY2" fmla="*/ 1482607 h 1755876"/>
                  <a:gd name="connsiteX3" fmla="*/ 713671 w 1034237"/>
                  <a:gd name="connsiteY3" fmla="*/ 1366993 h 1755876"/>
                  <a:gd name="connsiteX4" fmla="*/ 750458 w 1034237"/>
                  <a:gd name="connsiteY4" fmla="*/ 1398524 h 1755876"/>
                  <a:gd name="connsiteX5" fmla="*/ 1034237 w 1034237"/>
                  <a:gd name="connsiteY5" fmla="*/ 1151531 h 1755876"/>
                  <a:gd name="connsiteX6" fmla="*/ 487699 w 1034237"/>
                  <a:gd name="connsiteY6" fmla="*/ 373766 h 1755876"/>
                  <a:gd name="connsiteX7" fmla="*/ 356321 w 1034237"/>
                  <a:gd name="connsiteY7" fmla="*/ 310703 h 1755876"/>
                  <a:gd name="connsiteX8" fmla="*/ 194392 w 1034237"/>
                  <a:gd name="connsiteY8" fmla="*/ 116290 h 1755876"/>
                  <a:gd name="connsiteX9" fmla="*/ 10 w 1034237"/>
                  <a:gd name="connsiteY9" fmla="*/ 81965 h 1755876"/>
                  <a:gd name="connsiteX10" fmla="*/ 167134 w 1034237"/>
                  <a:gd name="connsiteY10" fmla="*/ 368511 h 1755876"/>
                  <a:gd name="connsiteX11" fmla="*/ 214431 w 1034237"/>
                  <a:gd name="connsiteY11" fmla="*/ 520911 h 1755876"/>
                  <a:gd name="connsiteX12" fmla="*/ 303769 w 1034237"/>
                  <a:gd name="connsiteY12" fmla="*/ 668055 h 1755876"/>
                  <a:gd name="connsiteX13" fmla="*/ 361574 w 1034237"/>
                  <a:gd name="connsiteY13" fmla="*/ 878261 h 1755876"/>
                  <a:gd name="connsiteX14" fmla="*/ 293258 w 1034237"/>
                  <a:gd name="connsiteY14" fmla="*/ 1151531 h 1755876"/>
                  <a:gd name="connsiteX15" fmla="*/ 172389 w 1034237"/>
                  <a:gd name="connsiteY15" fmla="*/ 1519393 h 1755876"/>
                  <a:gd name="connsiteX16" fmla="*/ 330044 w 1034237"/>
                  <a:gd name="connsiteY16" fmla="*/ 1755876 h 1755876"/>
                  <a:gd name="connsiteX0" fmla="*/ 330044 w 1034237"/>
                  <a:gd name="connsiteY0" fmla="*/ 1755876 h 1755876"/>
                  <a:gd name="connsiteX1" fmla="*/ 608568 w 1034237"/>
                  <a:gd name="connsiteY1" fmla="*/ 1503628 h 1755876"/>
                  <a:gd name="connsiteX2" fmla="*/ 592802 w 1034237"/>
                  <a:gd name="connsiteY2" fmla="*/ 1482607 h 1755876"/>
                  <a:gd name="connsiteX3" fmla="*/ 713671 w 1034237"/>
                  <a:gd name="connsiteY3" fmla="*/ 1366993 h 1755876"/>
                  <a:gd name="connsiteX4" fmla="*/ 750458 w 1034237"/>
                  <a:gd name="connsiteY4" fmla="*/ 1398524 h 1755876"/>
                  <a:gd name="connsiteX5" fmla="*/ 1034237 w 1034237"/>
                  <a:gd name="connsiteY5" fmla="*/ 1151531 h 1755876"/>
                  <a:gd name="connsiteX6" fmla="*/ 487699 w 1034237"/>
                  <a:gd name="connsiteY6" fmla="*/ 373766 h 1755876"/>
                  <a:gd name="connsiteX7" fmla="*/ 356321 w 1034237"/>
                  <a:gd name="connsiteY7" fmla="*/ 310703 h 1755876"/>
                  <a:gd name="connsiteX8" fmla="*/ 194392 w 1034237"/>
                  <a:gd name="connsiteY8" fmla="*/ 116290 h 1755876"/>
                  <a:gd name="connsiteX9" fmla="*/ 10 w 1034237"/>
                  <a:gd name="connsiteY9" fmla="*/ 81965 h 1755876"/>
                  <a:gd name="connsiteX10" fmla="*/ 167134 w 1034237"/>
                  <a:gd name="connsiteY10" fmla="*/ 368511 h 1755876"/>
                  <a:gd name="connsiteX11" fmla="*/ 214431 w 1034237"/>
                  <a:gd name="connsiteY11" fmla="*/ 520911 h 1755876"/>
                  <a:gd name="connsiteX12" fmla="*/ 303769 w 1034237"/>
                  <a:gd name="connsiteY12" fmla="*/ 668055 h 1755876"/>
                  <a:gd name="connsiteX13" fmla="*/ 361574 w 1034237"/>
                  <a:gd name="connsiteY13" fmla="*/ 878261 h 1755876"/>
                  <a:gd name="connsiteX14" fmla="*/ 293258 w 1034237"/>
                  <a:gd name="connsiteY14" fmla="*/ 1151531 h 1755876"/>
                  <a:gd name="connsiteX15" fmla="*/ 172389 w 1034237"/>
                  <a:gd name="connsiteY15" fmla="*/ 1519393 h 1755876"/>
                  <a:gd name="connsiteX16" fmla="*/ 330044 w 1034237"/>
                  <a:gd name="connsiteY16" fmla="*/ 1755876 h 1755876"/>
                  <a:gd name="connsiteX0" fmla="*/ 331227 w 1035420"/>
                  <a:gd name="connsiteY0" fmla="*/ 1733345 h 1733345"/>
                  <a:gd name="connsiteX1" fmla="*/ 609751 w 1035420"/>
                  <a:gd name="connsiteY1" fmla="*/ 1481097 h 1733345"/>
                  <a:gd name="connsiteX2" fmla="*/ 593985 w 1035420"/>
                  <a:gd name="connsiteY2" fmla="*/ 1460076 h 1733345"/>
                  <a:gd name="connsiteX3" fmla="*/ 714854 w 1035420"/>
                  <a:gd name="connsiteY3" fmla="*/ 1344462 h 1733345"/>
                  <a:gd name="connsiteX4" fmla="*/ 751641 w 1035420"/>
                  <a:gd name="connsiteY4" fmla="*/ 1375993 h 1733345"/>
                  <a:gd name="connsiteX5" fmla="*/ 1035420 w 1035420"/>
                  <a:gd name="connsiteY5" fmla="*/ 1129000 h 1733345"/>
                  <a:gd name="connsiteX6" fmla="*/ 488882 w 1035420"/>
                  <a:gd name="connsiteY6" fmla="*/ 351235 h 1733345"/>
                  <a:gd name="connsiteX7" fmla="*/ 357504 w 1035420"/>
                  <a:gd name="connsiteY7" fmla="*/ 288172 h 1733345"/>
                  <a:gd name="connsiteX8" fmla="*/ 195575 w 1035420"/>
                  <a:gd name="connsiteY8" fmla="*/ 93759 h 1733345"/>
                  <a:gd name="connsiteX9" fmla="*/ 98474 w 1035420"/>
                  <a:gd name="connsiteY9" fmla="*/ 1716 h 1733345"/>
                  <a:gd name="connsiteX10" fmla="*/ 1193 w 1035420"/>
                  <a:gd name="connsiteY10" fmla="*/ 59434 h 1733345"/>
                  <a:gd name="connsiteX11" fmla="*/ 168317 w 1035420"/>
                  <a:gd name="connsiteY11" fmla="*/ 345980 h 1733345"/>
                  <a:gd name="connsiteX12" fmla="*/ 215614 w 1035420"/>
                  <a:gd name="connsiteY12" fmla="*/ 498380 h 1733345"/>
                  <a:gd name="connsiteX13" fmla="*/ 304952 w 1035420"/>
                  <a:gd name="connsiteY13" fmla="*/ 645524 h 1733345"/>
                  <a:gd name="connsiteX14" fmla="*/ 362757 w 1035420"/>
                  <a:gd name="connsiteY14" fmla="*/ 855730 h 1733345"/>
                  <a:gd name="connsiteX15" fmla="*/ 294441 w 1035420"/>
                  <a:gd name="connsiteY15" fmla="*/ 1129000 h 1733345"/>
                  <a:gd name="connsiteX16" fmla="*/ 173572 w 1035420"/>
                  <a:gd name="connsiteY16" fmla="*/ 1496862 h 1733345"/>
                  <a:gd name="connsiteX17" fmla="*/ 331227 w 1035420"/>
                  <a:gd name="connsiteY17" fmla="*/ 1733345 h 1733345"/>
                  <a:gd name="connsiteX0" fmla="*/ 330476 w 1034669"/>
                  <a:gd name="connsiteY0" fmla="*/ 1952638 h 1952638"/>
                  <a:gd name="connsiteX1" fmla="*/ 609000 w 1034669"/>
                  <a:gd name="connsiteY1" fmla="*/ 1700390 h 1952638"/>
                  <a:gd name="connsiteX2" fmla="*/ 593234 w 1034669"/>
                  <a:gd name="connsiteY2" fmla="*/ 1679369 h 1952638"/>
                  <a:gd name="connsiteX3" fmla="*/ 714103 w 1034669"/>
                  <a:gd name="connsiteY3" fmla="*/ 1563755 h 1952638"/>
                  <a:gd name="connsiteX4" fmla="*/ 750890 w 1034669"/>
                  <a:gd name="connsiteY4" fmla="*/ 1595286 h 1952638"/>
                  <a:gd name="connsiteX5" fmla="*/ 1034669 w 1034669"/>
                  <a:gd name="connsiteY5" fmla="*/ 1348293 h 1952638"/>
                  <a:gd name="connsiteX6" fmla="*/ 488131 w 1034669"/>
                  <a:gd name="connsiteY6" fmla="*/ 570528 h 1952638"/>
                  <a:gd name="connsiteX7" fmla="*/ 356753 w 1034669"/>
                  <a:gd name="connsiteY7" fmla="*/ 507465 h 1952638"/>
                  <a:gd name="connsiteX8" fmla="*/ 194824 w 1034669"/>
                  <a:gd name="connsiteY8" fmla="*/ 313052 h 1952638"/>
                  <a:gd name="connsiteX9" fmla="*/ 243373 w 1034669"/>
                  <a:gd name="connsiteY9" fmla="*/ 106 h 1952638"/>
                  <a:gd name="connsiteX10" fmla="*/ 442 w 1034669"/>
                  <a:gd name="connsiteY10" fmla="*/ 278727 h 1952638"/>
                  <a:gd name="connsiteX11" fmla="*/ 167566 w 1034669"/>
                  <a:gd name="connsiteY11" fmla="*/ 565273 h 1952638"/>
                  <a:gd name="connsiteX12" fmla="*/ 214863 w 1034669"/>
                  <a:gd name="connsiteY12" fmla="*/ 717673 h 1952638"/>
                  <a:gd name="connsiteX13" fmla="*/ 304201 w 1034669"/>
                  <a:gd name="connsiteY13" fmla="*/ 864817 h 1952638"/>
                  <a:gd name="connsiteX14" fmla="*/ 362006 w 1034669"/>
                  <a:gd name="connsiteY14" fmla="*/ 1075023 h 1952638"/>
                  <a:gd name="connsiteX15" fmla="*/ 293690 w 1034669"/>
                  <a:gd name="connsiteY15" fmla="*/ 1348293 h 1952638"/>
                  <a:gd name="connsiteX16" fmla="*/ 172821 w 1034669"/>
                  <a:gd name="connsiteY16" fmla="*/ 1716155 h 1952638"/>
                  <a:gd name="connsiteX17" fmla="*/ 330476 w 1034669"/>
                  <a:gd name="connsiteY17" fmla="*/ 1952638 h 1952638"/>
                  <a:gd name="connsiteX0" fmla="*/ 330344 w 1034537"/>
                  <a:gd name="connsiteY0" fmla="*/ 2219505 h 2219505"/>
                  <a:gd name="connsiteX1" fmla="*/ 608868 w 1034537"/>
                  <a:gd name="connsiteY1" fmla="*/ 1967257 h 2219505"/>
                  <a:gd name="connsiteX2" fmla="*/ 593102 w 1034537"/>
                  <a:gd name="connsiteY2" fmla="*/ 1946236 h 2219505"/>
                  <a:gd name="connsiteX3" fmla="*/ 713971 w 1034537"/>
                  <a:gd name="connsiteY3" fmla="*/ 1830622 h 2219505"/>
                  <a:gd name="connsiteX4" fmla="*/ 750758 w 1034537"/>
                  <a:gd name="connsiteY4" fmla="*/ 1862153 h 2219505"/>
                  <a:gd name="connsiteX5" fmla="*/ 1034537 w 1034537"/>
                  <a:gd name="connsiteY5" fmla="*/ 1615160 h 2219505"/>
                  <a:gd name="connsiteX6" fmla="*/ 487999 w 1034537"/>
                  <a:gd name="connsiteY6" fmla="*/ 837395 h 2219505"/>
                  <a:gd name="connsiteX7" fmla="*/ 356621 w 1034537"/>
                  <a:gd name="connsiteY7" fmla="*/ 774332 h 2219505"/>
                  <a:gd name="connsiteX8" fmla="*/ 194692 w 1034537"/>
                  <a:gd name="connsiteY8" fmla="*/ 579919 h 2219505"/>
                  <a:gd name="connsiteX9" fmla="*/ 340341 w 1034537"/>
                  <a:gd name="connsiteY9" fmla="*/ 49 h 2219505"/>
                  <a:gd name="connsiteX10" fmla="*/ 310 w 1034537"/>
                  <a:gd name="connsiteY10" fmla="*/ 545594 h 2219505"/>
                  <a:gd name="connsiteX11" fmla="*/ 167434 w 1034537"/>
                  <a:gd name="connsiteY11" fmla="*/ 832140 h 2219505"/>
                  <a:gd name="connsiteX12" fmla="*/ 214731 w 1034537"/>
                  <a:gd name="connsiteY12" fmla="*/ 984540 h 2219505"/>
                  <a:gd name="connsiteX13" fmla="*/ 304069 w 1034537"/>
                  <a:gd name="connsiteY13" fmla="*/ 1131684 h 2219505"/>
                  <a:gd name="connsiteX14" fmla="*/ 361874 w 1034537"/>
                  <a:gd name="connsiteY14" fmla="*/ 1341890 h 2219505"/>
                  <a:gd name="connsiteX15" fmla="*/ 293558 w 1034537"/>
                  <a:gd name="connsiteY15" fmla="*/ 1615160 h 2219505"/>
                  <a:gd name="connsiteX16" fmla="*/ 172689 w 1034537"/>
                  <a:gd name="connsiteY16" fmla="*/ 1983022 h 2219505"/>
                  <a:gd name="connsiteX17" fmla="*/ 330344 w 1034537"/>
                  <a:gd name="connsiteY17" fmla="*/ 2219505 h 2219505"/>
                  <a:gd name="connsiteX0" fmla="*/ 330034 w 1034227"/>
                  <a:gd name="connsiteY0" fmla="*/ 2219511 h 2219511"/>
                  <a:gd name="connsiteX1" fmla="*/ 608558 w 1034227"/>
                  <a:gd name="connsiteY1" fmla="*/ 1967263 h 2219511"/>
                  <a:gd name="connsiteX2" fmla="*/ 592792 w 1034227"/>
                  <a:gd name="connsiteY2" fmla="*/ 1946242 h 2219511"/>
                  <a:gd name="connsiteX3" fmla="*/ 713661 w 1034227"/>
                  <a:gd name="connsiteY3" fmla="*/ 1830628 h 2219511"/>
                  <a:gd name="connsiteX4" fmla="*/ 750448 w 1034227"/>
                  <a:gd name="connsiteY4" fmla="*/ 1862159 h 2219511"/>
                  <a:gd name="connsiteX5" fmla="*/ 1034227 w 1034227"/>
                  <a:gd name="connsiteY5" fmla="*/ 1615166 h 2219511"/>
                  <a:gd name="connsiteX6" fmla="*/ 487689 w 1034227"/>
                  <a:gd name="connsiteY6" fmla="*/ 837401 h 2219511"/>
                  <a:gd name="connsiteX7" fmla="*/ 356311 w 1034227"/>
                  <a:gd name="connsiteY7" fmla="*/ 774338 h 2219511"/>
                  <a:gd name="connsiteX8" fmla="*/ 194382 w 1034227"/>
                  <a:gd name="connsiteY8" fmla="*/ 579925 h 2219511"/>
                  <a:gd name="connsiteX9" fmla="*/ 340031 w 1034227"/>
                  <a:gd name="connsiteY9" fmla="*/ 55 h 2219511"/>
                  <a:gd name="connsiteX10" fmla="*/ 0 w 1034227"/>
                  <a:gd name="connsiteY10" fmla="*/ 545600 h 2219511"/>
                  <a:gd name="connsiteX11" fmla="*/ 58439 w 1034227"/>
                  <a:gd name="connsiteY11" fmla="*/ 671968 h 2219511"/>
                  <a:gd name="connsiteX12" fmla="*/ 167124 w 1034227"/>
                  <a:gd name="connsiteY12" fmla="*/ 832146 h 2219511"/>
                  <a:gd name="connsiteX13" fmla="*/ 214421 w 1034227"/>
                  <a:gd name="connsiteY13" fmla="*/ 984546 h 2219511"/>
                  <a:gd name="connsiteX14" fmla="*/ 303759 w 1034227"/>
                  <a:gd name="connsiteY14" fmla="*/ 1131690 h 2219511"/>
                  <a:gd name="connsiteX15" fmla="*/ 361564 w 1034227"/>
                  <a:gd name="connsiteY15" fmla="*/ 1341896 h 2219511"/>
                  <a:gd name="connsiteX16" fmla="*/ 293248 w 1034227"/>
                  <a:gd name="connsiteY16" fmla="*/ 1615166 h 2219511"/>
                  <a:gd name="connsiteX17" fmla="*/ 172379 w 1034227"/>
                  <a:gd name="connsiteY17" fmla="*/ 1983028 h 2219511"/>
                  <a:gd name="connsiteX18" fmla="*/ 330034 w 1034227"/>
                  <a:gd name="connsiteY18" fmla="*/ 2219511 h 2219511"/>
                  <a:gd name="connsiteX0" fmla="*/ 330034 w 1034227"/>
                  <a:gd name="connsiteY0" fmla="*/ 2219511 h 2219511"/>
                  <a:gd name="connsiteX1" fmla="*/ 608558 w 1034227"/>
                  <a:gd name="connsiteY1" fmla="*/ 1967263 h 2219511"/>
                  <a:gd name="connsiteX2" fmla="*/ 592792 w 1034227"/>
                  <a:gd name="connsiteY2" fmla="*/ 1946242 h 2219511"/>
                  <a:gd name="connsiteX3" fmla="*/ 713661 w 1034227"/>
                  <a:gd name="connsiteY3" fmla="*/ 1830628 h 2219511"/>
                  <a:gd name="connsiteX4" fmla="*/ 750448 w 1034227"/>
                  <a:gd name="connsiteY4" fmla="*/ 1862159 h 2219511"/>
                  <a:gd name="connsiteX5" fmla="*/ 1034227 w 1034227"/>
                  <a:gd name="connsiteY5" fmla="*/ 1615166 h 2219511"/>
                  <a:gd name="connsiteX6" fmla="*/ 487689 w 1034227"/>
                  <a:gd name="connsiteY6" fmla="*/ 837401 h 2219511"/>
                  <a:gd name="connsiteX7" fmla="*/ 356311 w 1034227"/>
                  <a:gd name="connsiteY7" fmla="*/ 774338 h 2219511"/>
                  <a:gd name="connsiteX8" fmla="*/ 194382 w 1034227"/>
                  <a:gd name="connsiteY8" fmla="*/ 579925 h 2219511"/>
                  <a:gd name="connsiteX9" fmla="*/ 340031 w 1034227"/>
                  <a:gd name="connsiteY9" fmla="*/ 55 h 2219511"/>
                  <a:gd name="connsiteX10" fmla="*/ 0 w 1034227"/>
                  <a:gd name="connsiteY10" fmla="*/ 545600 h 2219511"/>
                  <a:gd name="connsiteX11" fmla="*/ 179 w 1034227"/>
                  <a:gd name="connsiteY11" fmla="*/ 699581 h 2219511"/>
                  <a:gd name="connsiteX12" fmla="*/ 167124 w 1034227"/>
                  <a:gd name="connsiteY12" fmla="*/ 832146 h 2219511"/>
                  <a:gd name="connsiteX13" fmla="*/ 214421 w 1034227"/>
                  <a:gd name="connsiteY13" fmla="*/ 984546 h 2219511"/>
                  <a:gd name="connsiteX14" fmla="*/ 303759 w 1034227"/>
                  <a:gd name="connsiteY14" fmla="*/ 1131690 h 2219511"/>
                  <a:gd name="connsiteX15" fmla="*/ 361564 w 1034227"/>
                  <a:gd name="connsiteY15" fmla="*/ 1341896 h 2219511"/>
                  <a:gd name="connsiteX16" fmla="*/ 293248 w 1034227"/>
                  <a:gd name="connsiteY16" fmla="*/ 1615166 h 2219511"/>
                  <a:gd name="connsiteX17" fmla="*/ 172379 w 1034227"/>
                  <a:gd name="connsiteY17" fmla="*/ 1983028 h 2219511"/>
                  <a:gd name="connsiteX18" fmla="*/ 330034 w 1034227"/>
                  <a:gd name="connsiteY18" fmla="*/ 2219511 h 2219511"/>
                  <a:gd name="connsiteX0" fmla="*/ 339744 w 1043937"/>
                  <a:gd name="connsiteY0" fmla="*/ 2219566 h 2219566"/>
                  <a:gd name="connsiteX1" fmla="*/ 618268 w 1043937"/>
                  <a:gd name="connsiteY1" fmla="*/ 1967318 h 2219566"/>
                  <a:gd name="connsiteX2" fmla="*/ 602502 w 1043937"/>
                  <a:gd name="connsiteY2" fmla="*/ 1946297 h 2219566"/>
                  <a:gd name="connsiteX3" fmla="*/ 723371 w 1043937"/>
                  <a:gd name="connsiteY3" fmla="*/ 1830683 h 2219566"/>
                  <a:gd name="connsiteX4" fmla="*/ 760158 w 1043937"/>
                  <a:gd name="connsiteY4" fmla="*/ 1862214 h 2219566"/>
                  <a:gd name="connsiteX5" fmla="*/ 1043937 w 1043937"/>
                  <a:gd name="connsiteY5" fmla="*/ 1615221 h 2219566"/>
                  <a:gd name="connsiteX6" fmla="*/ 497399 w 1043937"/>
                  <a:gd name="connsiteY6" fmla="*/ 837456 h 2219566"/>
                  <a:gd name="connsiteX7" fmla="*/ 366021 w 1043937"/>
                  <a:gd name="connsiteY7" fmla="*/ 774393 h 2219566"/>
                  <a:gd name="connsiteX8" fmla="*/ 204092 w 1043937"/>
                  <a:gd name="connsiteY8" fmla="*/ 579980 h 2219566"/>
                  <a:gd name="connsiteX9" fmla="*/ 349741 w 1043937"/>
                  <a:gd name="connsiteY9" fmla="*/ 110 h 2219566"/>
                  <a:gd name="connsiteX10" fmla="*/ 0 w 1043937"/>
                  <a:gd name="connsiteY10" fmla="*/ 324752 h 2219566"/>
                  <a:gd name="connsiteX11" fmla="*/ 9889 w 1043937"/>
                  <a:gd name="connsiteY11" fmla="*/ 699636 h 2219566"/>
                  <a:gd name="connsiteX12" fmla="*/ 176834 w 1043937"/>
                  <a:gd name="connsiteY12" fmla="*/ 832201 h 2219566"/>
                  <a:gd name="connsiteX13" fmla="*/ 224131 w 1043937"/>
                  <a:gd name="connsiteY13" fmla="*/ 984601 h 2219566"/>
                  <a:gd name="connsiteX14" fmla="*/ 313469 w 1043937"/>
                  <a:gd name="connsiteY14" fmla="*/ 1131745 h 2219566"/>
                  <a:gd name="connsiteX15" fmla="*/ 371274 w 1043937"/>
                  <a:gd name="connsiteY15" fmla="*/ 1341951 h 2219566"/>
                  <a:gd name="connsiteX16" fmla="*/ 302958 w 1043937"/>
                  <a:gd name="connsiteY16" fmla="*/ 1615221 h 2219566"/>
                  <a:gd name="connsiteX17" fmla="*/ 182089 w 1043937"/>
                  <a:gd name="connsiteY17" fmla="*/ 1983083 h 2219566"/>
                  <a:gd name="connsiteX18" fmla="*/ 339744 w 1043937"/>
                  <a:gd name="connsiteY18" fmla="*/ 2219566 h 2219566"/>
                  <a:gd name="connsiteX0" fmla="*/ 339744 w 1043937"/>
                  <a:gd name="connsiteY0" fmla="*/ 2265568 h 2265568"/>
                  <a:gd name="connsiteX1" fmla="*/ 618268 w 1043937"/>
                  <a:gd name="connsiteY1" fmla="*/ 2013320 h 2265568"/>
                  <a:gd name="connsiteX2" fmla="*/ 602502 w 1043937"/>
                  <a:gd name="connsiteY2" fmla="*/ 1992299 h 2265568"/>
                  <a:gd name="connsiteX3" fmla="*/ 723371 w 1043937"/>
                  <a:gd name="connsiteY3" fmla="*/ 1876685 h 2265568"/>
                  <a:gd name="connsiteX4" fmla="*/ 760158 w 1043937"/>
                  <a:gd name="connsiteY4" fmla="*/ 1908216 h 2265568"/>
                  <a:gd name="connsiteX5" fmla="*/ 1043937 w 1043937"/>
                  <a:gd name="connsiteY5" fmla="*/ 1661223 h 2265568"/>
                  <a:gd name="connsiteX6" fmla="*/ 497399 w 1043937"/>
                  <a:gd name="connsiteY6" fmla="*/ 883458 h 2265568"/>
                  <a:gd name="connsiteX7" fmla="*/ 366021 w 1043937"/>
                  <a:gd name="connsiteY7" fmla="*/ 820395 h 2265568"/>
                  <a:gd name="connsiteX8" fmla="*/ 204092 w 1043937"/>
                  <a:gd name="connsiteY8" fmla="*/ 625982 h 2265568"/>
                  <a:gd name="connsiteX9" fmla="*/ 301191 w 1043937"/>
                  <a:gd name="connsiteY9" fmla="*/ 91 h 2265568"/>
                  <a:gd name="connsiteX10" fmla="*/ 0 w 1043937"/>
                  <a:gd name="connsiteY10" fmla="*/ 370754 h 2265568"/>
                  <a:gd name="connsiteX11" fmla="*/ 9889 w 1043937"/>
                  <a:gd name="connsiteY11" fmla="*/ 745638 h 2265568"/>
                  <a:gd name="connsiteX12" fmla="*/ 176834 w 1043937"/>
                  <a:gd name="connsiteY12" fmla="*/ 878203 h 2265568"/>
                  <a:gd name="connsiteX13" fmla="*/ 224131 w 1043937"/>
                  <a:gd name="connsiteY13" fmla="*/ 1030603 h 2265568"/>
                  <a:gd name="connsiteX14" fmla="*/ 313469 w 1043937"/>
                  <a:gd name="connsiteY14" fmla="*/ 1177747 h 2265568"/>
                  <a:gd name="connsiteX15" fmla="*/ 371274 w 1043937"/>
                  <a:gd name="connsiteY15" fmla="*/ 1387953 h 2265568"/>
                  <a:gd name="connsiteX16" fmla="*/ 302958 w 1043937"/>
                  <a:gd name="connsiteY16" fmla="*/ 1661223 h 2265568"/>
                  <a:gd name="connsiteX17" fmla="*/ 182089 w 1043937"/>
                  <a:gd name="connsiteY17" fmla="*/ 2029085 h 2265568"/>
                  <a:gd name="connsiteX18" fmla="*/ 339744 w 1043937"/>
                  <a:gd name="connsiteY18" fmla="*/ 2265568 h 2265568"/>
                  <a:gd name="connsiteX0" fmla="*/ 339744 w 1043937"/>
                  <a:gd name="connsiteY0" fmla="*/ 2270078 h 2270078"/>
                  <a:gd name="connsiteX1" fmla="*/ 618268 w 1043937"/>
                  <a:gd name="connsiteY1" fmla="*/ 2017830 h 2270078"/>
                  <a:gd name="connsiteX2" fmla="*/ 602502 w 1043937"/>
                  <a:gd name="connsiteY2" fmla="*/ 1996809 h 2270078"/>
                  <a:gd name="connsiteX3" fmla="*/ 723371 w 1043937"/>
                  <a:gd name="connsiteY3" fmla="*/ 1881195 h 2270078"/>
                  <a:gd name="connsiteX4" fmla="*/ 760158 w 1043937"/>
                  <a:gd name="connsiteY4" fmla="*/ 1912726 h 2270078"/>
                  <a:gd name="connsiteX5" fmla="*/ 1043937 w 1043937"/>
                  <a:gd name="connsiteY5" fmla="*/ 1665733 h 2270078"/>
                  <a:gd name="connsiteX6" fmla="*/ 497399 w 1043937"/>
                  <a:gd name="connsiteY6" fmla="*/ 887968 h 2270078"/>
                  <a:gd name="connsiteX7" fmla="*/ 366021 w 1043937"/>
                  <a:gd name="connsiteY7" fmla="*/ 824905 h 2270078"/>
                  <a:gd name="connsiteX8" fmla="*/ 204092 w 1043937"/>
                  <a:gd name="connsiteY8" fmla="*/ 630492 h 2270078"/>
                  <a:gd name="connsiteX9" fmla="*/ 262351 w 1043937"/>
                  <a:gd name="connsiteY9" fmla="*/ 197892 h 2270078"/>
                  <a:gd name="connsiteX10" fmla="*/ 301191 w 1043937"/>
                  <a:gd name="connsiteY10" fmla="*/ 4601 h 2270078"/>
                  <a:gd name="connsiteX11" fmla="*/ 0 w 1043937"/>
                  <a:gd name="connsiteY11" fmla="*/ 375264 h 2270078"/>
                  <a:gd name="connsiteX12" fmla="*/ 9889 w 1043937"/>
                  <a:gd name="connsiteY12" fmla="*/ 750148 h 2270078"/>
                  <a:gd name="connsiteX13" fmla="*/ 176834 w 1043937"/>
                  <a:gd name="connsiteY13" fmla="*/ 882713 h 2270078"/>
                  <a:gd name="connsiteX14" fmla="*/ 224131 w 1043937"/>
                  <a:gd name="connsiteY14" fmla="*/ 1035113 h 2270078"/>
                  <a:gd name="connsiteX15" fmla="*/ 313469 w 1043937"/>
                  <a:gd name="connsiteY15" fmla="*/ 1182257 h 2270078"/>
                  <a:gd name="connsiteX16" fmla="*/ 371274 w 1043937"/>
                  <a:gd name="connsiteY16" fmla="*/ 1392463 h 2270078"/>
                  <a:gd name="connsiteX17" fmla="*/ 302958 w 1043937"/>
                  <a:gd name="connsiteY17" fmla="*/ 1665733 h 2270078"/>
                  <a:gd name="connsiteX18" fmla="*/ 182089 w 1043937"/>
                  <a:gd name="connsiteY18" fmla="*/ 2033595 h 2270078"/>
                  <a:gd name="connsiteX19" fmla="*/ 339744 w 1043937"/>
                  <a:gd name="connsiteY19" fmla="*/ 2270078 h 2270078"/>
                  <a:gd name="connsiteX0" fmla="*/ 339744 w 1043937"/>
                  <a:gd name="connsiteY0" fmla="*/ 2338900 h 2338900"/>
                  <a:gd name="connsiteX1" fmla="*/ 618268 w 1043937"/>
                  <a:gd name="connsiteY1" fmla="*/ 2086652 h 2338900"/>
                  <a:gd name="connsiteX2" fmla="*/ 602502 w 1043937"/>
                  <a:gd name="connsiteY2" fmla="*/ 2065631 h 2338900"/>
                  <a:gd name="connsiteX3" fmla="*/ 723371 w 1043937"/>
                  <a:gd name="connsiteY3" fmla="*/ 1950017 h 2338900"/>
                  <a:gd name="connsiteX4" fmla="*/ 760158 w 1043937"/>
                  <a:gd name="connsiteY4" fmla="*/ 1981548 h 2338900"/>
                  <a:gd name="connsiteX5" fmla="*/ 1043937 w 1043937"/>
                  <a:gd name="connsiteY5" fmla="*/ 1734555 h 2338900"/>
                  <a:gd name="connsiteX6" fmla="*/ 497399 w 1043937"/>
                  <a:gd name="connsiteY6" fmla="*/ 956790 h 2338900"/>
                  <a:gd name="connsiteX7" fmla="*/ 366021 w 1043937"/>
                  <a:gd name="connsiteY7" fmla="*/ 893727 h 2338900"/>
                  <a:gd name="connsiteX8" fmla="*/ 204092 w 1043937"/>
                  <a:gd name="connsiteY8" fmla="*/ 699314 h 2338900"/>
                  <a:gd name="connsiteX9" fmla="*/ 602201 w 1043937"/>
                  <a:gd name="connsiteY9" fmla="*/ 45811 h 2338900"/>
                  <a:gd name="connsiteX10" fmla="*/ 301191 w 1043937"/>
                  <a:gd name="connsiteY10" fmla="*/ 73423 h 2338900"/>
                  <a:gd name="connsiteX11" fmla="*/ 0 w 1043937"/>
                  <a:gd name="connsiteY11" fmla="*/ 444086 h 2338900"/>
                  <a:gd name="connsiteX12" fmla="*/ 9889 w 1043937"/>
                  <a:gd name="connsiteY12" fmla="*/ 818970 h 2338900"/>
                  <a:gd name="connsiteX13" fmla="*/ 176834 w 1043937"/>
                  <a:gd name="connsiteY13" fmla="*/ 951535 h 2338900"/>
                  <a:gd name="connsiteX14" fmla="*/ 224131 w 1043937"/>
                  <a:gd name="connsiteY14" fmla="*/ 1103935 h 2338900"/>
                  <a:gd name="connsiteX15" fmla="*/ 313469 w 1043937"/>
                  <a:gd name="connsiteY15" fmla="*/ 1251079 h 2338900"/>
                  <a:gd name="connsiteX16" fmla="*/ 371274 w 1043937"/>
                  <a:gd name="connsiteY16" fmla="*/ 1461285 h 2338900"/>
                  <a:gd name="connsiteX17" fmla="*/ 302958 w 1043937"/>
                  <a:gd name="connsiteY17" fmla="*/ 1734555 h 2338900"/>
                  <a:gd name="connsiteX18" fmla="*/ 182089 w 1043937"/>
                  <a:gd name="connsiteY18" fmla="*/ 2102417 h 2338900"/>
                  <a:gd name="connsiteX19" fmla="*/ 339744 w 1043937"/>
                  <a:gd name="connsiteY19" fmla="*/ 2338900 h 2338900"/>
                  <a:gd name="connsiteX0" fmla="*/ 339744 w 1043937"/>
                  <a:gd name="connsiteY0" fmla="*/ 2280376 h 2280376"/>
                  <a:gd name="connsiteX1" fmla="*/ 618268 w 1043937"/>
                  <a:gd name="connsiteY1" fmla="*/ 2028128 h 2280376"/>
                  <a:gd name="connsiteX2" fmla="*/ 602502 w 1043937"/>
                  <a:gd name="connsiteY2" fmla="*/ 2007107 h 2280376"/>
                  <a:gd name="connsiteX3" fmla="*/ 723371 w 1043937"/>
                  <a:gd name="connsiteY3" fmla="*/ 1891493 h 2280376"/>
                  <a:gd name="connsiteX4" fmla="*/ 760158 w 1043937"/>
                  <a:gd name="connsiteY4" fmla="*/ 1923024 h 2280376"/>
                  <a:gd name="connsiteX5" fmla="*/ 1043937 w 1043937"/>
                  <a:gd name="connsiteY5" fmla="*/ 1676031 h 2280376"/>
                  <a:gd name="connsiteX6" fmla="*/ 497399 w 1043937"/>
                  <a:gd name="connsiteY6" fmla="*/ 898266 h 2280376"/>
                  <a:gd name="connsiteX7" fmla="*/ 366021 w 1043937"/>
                  <a:gd name="connsiteY7" fmla="*/ 835203 h 2280376"/>
                  <a:gd name="connsiteX8" fmla="*/ 204092 w 1043937"/>
                  <a:gd name="connsiteY8" fmla="*/ 640790 h 2280376"/>
                  <a:gd name="connsiteX9" fmla="*/ 534231 w 1043937"/>
                  <a:gd name="connsiteY9" fmla="*/ 97738 h 2280376"/>
                  <a:gd name="connsiteX10" fmla="*/ 301191 w 1043937"/>
                  <a:gd name="connsiteY10" fmla="*/ 14899 h 2280376"/>
                  <a:gd name="connsiteX11" fmla="*/ 0 w 1043937"/>
                  <a:gd name="connsiteY11" fmla="*/ 385562 h 2280376"/>
                  <a:gd name="connsiteX12" fmla="*/ 9889 w 1043937"/>
                  <a:gd name="connsiteY12" fmla="*/ 760446 h 2280376"/>
                  <a:gd name="connsiteX13" fmla="*/ 176834 w 1043937"/>
                  <a:gd name="connsiteY13" fmla="*/ 893011 h 2280376"/>
                  <a:gd name="connsiteX14" fmla="*/ 224131 w 1043937"/>
                  <a:gd name="connsiteY14" fmla="*/ 1045411 h 2280376"/>
                  <a:gd name="connsiteX15" fmla="*/ 313469 w 1043937"/>
                  <a:gd name="connsiteY15" fmla="*/ 1192555 h 2280376"/>
                  <a:gd name="connsiteX16" fmla="*/ 371274 w 1043937"/>
                  <a:gd name="connsiteY16" fmla="*/ 1402761 h 2280376"/>
                  <a:gd name="connsiteX17" fmla="*/ 302958 w 1043937"/>
                  <a:gd name="connsiteY17" fmla="*/ 1676031 h 2280376"/>
                  <a:gd name="connsiteX18" fmla="*/ 182089 w 1043937"/>
                  <a:gd name="connsiteY18" fmla="*/ 2043893 h 2280376"/>
                  <a:gd name="connsiteX19" fmla="*/ 339744 w 1043937"/>
                  <a:gd name="connsiteY19" fmla="*/ 2280376 h 2280376"/>
                  <a:gd name="connsiteX0" fmla="*/ 339744 w 1043937"/>
                  <a:gd name="connsiteY0" fmla="*/ 2292936 h 2292936"/>
                  <a:gd name="connsiteX1" fmla="*/ 618268 w 1043937"/>
                  <a:gd name="connsiteY1" fmla="*/ 2040688 h 2292936"/>
                  <a:gd name="connsiteX2" fmla="*/ 602502 w 1043937"/>
                  <a:gd name="connsiteY2" fmla="*/ 2019667 h 2292936"/>
                  <a:gd name="connsiteX3" fmla="*/ 723371 w 1043937"/>
                  <a:gd name="connsiteY3" fmla="*/ 1904053 h 2292936"/>
                  <a:gd name="connsiteX4" fmla="*/ 760158 w 1043937"/>
                  <a:gd name="connsiteY4" fmla="*/ 1935584 h 2292936"/>
                  <a:gd name="connsiteX5" fmla="*/ 1043937 w 1043937"/>
                  <a:gd name="connsiteY5" fmla="*/ 1688591 h 2292936"/>
                  <a:gd name="connsiteX6" fmla="*/ 497399 w 1043937"/>
                  <a:gd name="connsiteY6" fmla="*/ 910826 h 2292936"/>
                  <a:gd name="connsiteX7" fmla="*/ 366021 w 1043937"/>
                  <a:gd name="connsiteY7" fmla="*/ 847763 h 2292936"/>
                  <a:gd name="connsiteX8" fmla="*/ 204092 w 1043937"/>
                  <a:gd name="connsiteY8" fmla="*/ 653350 h 2292936"/>
                  <a:gd name="connsiteX9" fmla="*/ 534231 w 1043937"/>
                  <a:gd name="connsiteY9" fmla="*/ 110298 h 2292936"/>
                  <a:gd name="connsiteX10" fmla="*/ 466261 w 1043937"/>
                  <a:gd name="connsiteY10" fmla="*/ 36664 h 2292936"/>
                  <a:gd name="connsiteX11" fmla="*/ 301191 w 1043937"/>
                  <a:gd name="connsiteY11" fmla="*/ 27459 h 2292936"/>
                  <a:gd name="connsiteX12" fmla="*/ 0 w 1043937"/>
                  <a:gd name="connsiteY12" fmla="*/ 398122 h 2292936"/>
                  <a:gd name="connsiteX13" fmla="*/ 9889 w 1043937"/>
                  <a:gd name="connsiteY13" fmla="*/ 773006 h 2292936"/>
                  <a:gd name="connsiteX14" fmla="*/ 176834 w 1043937"/>
                  <a:gd name="connsiteY14" fmla="*/ 905571 h 2292936"/>
                  <a:gd name="connsiteX15" fmla="*/ 224131 w 1043937"/>
                  <a:gd name="connsiteY15" fmla="*/ 1057971 h 2292936"/>
                  <a:gd name="connsiteX16" fmla="*/ 313469 w 1043937"/>
                  <a:gd name="connsiteY16" fmla="*/ 1205115 h 2292936"/>
                  <a:gd name="connsiteX17" fmla="*/ 371274 w 1043937"/>
                  <a:gd name="connsiteY17" fmla="*/ 1415321 h 2292936"/>
                  <a:gd name="connsiteX18" fmla="*/ 302958 w 1043937"/>
                  <a:gd name="connsiteY18" fmla="*/ 1688591 h 2292936"/>
                  <a:gd name="connsiteX19" fmla="*/ 182089 w 1043937"/>
                  <a:gd name="connsiteY19" fmla="*/ 2056453 h 2292936"/>
                  <a:gd name="connsiteX20" fmla="*/ 339744 w 1043937"/>
                  <a:gd name="connsiteY20" fmla="*/ 2292936 h 2292936"/>
                  <a:gd name="connsiteX0" fmla="*/ 339744 w 1043937"/>
                  <a:gd name="connsiteY0" fmla="*/ 2307151 h 2307151"/>
                  <a:gd name="connsiteX1" fmla="*/ 618268 w 1043937"/>
                  <a:gd name="connsiteY1" fmla="*/ 2054903 h 2307151"/>
                  <a:gd name="connsiteX2" fmla="*/ 602502 w 1043937"/>
                  <a:gd name="connsiteY2" fmla="*/ 2033882 h 2307151"/>
                  <a:gd name="connsiteX3" fmla="*/ 723371 w 1043937"/>
                  <a:gd name="connsiteY3" fmla="*/ 1918268 h 2307151"/>
                  <a:gd name="connsiteX4" fmla="*/ 760158 w 1043937"/>
                  <a:gd name="connsiteY4" fmla="*/ 1949799 h 2307151"/>
                  <a:gd name="connsiteX5" fmla="*/ 1043937 w 1043937"/>
                  <a:gd name="connsiteY5" fmla="*/ 1702806 h 2307151"/>
                  <a:gd name="connsiteX6" fmla="*/ 497399 w 1043937"/>
                  <a:gd name="connsiteY6" fmla="*/ 925041 h 2307151"/>
                  <a:gd name="connsiteX7" fmla="*/ 366021 w 1043937"/>
                  <a:gd name="connsiteY7" fmla="*/ 861978 h 2307151"/>
                  <a:gd name="connsiteX8" fmla="*/ 204092 w 1043937"/>
                  <a:gd name="connsiteY8" fmla="*/ 667565 h 2307151"/>
                  <a:gd name="connsiteX9" fmla="*/ 534231 w 1043937"/>
                  <a:gd name="connsiteY9" fmla="*/ 124513 h 2307151"/>
                  <a:gd name="connsiteX10" fmla="*/ 611911 w 1043937"/>
                  <a:gd name="connsiteY10" fmla="*/ 14062 h 2307151"/>
                  <a:gd name="connsiteX11" fmla="*/ 301191 w 1043937"/>
                  <a:gd name="connsiteY11" fmla="*/ 41674 h 2307151"/>
                  <a:gd name="connsiteX12" fmla="*/ 0 w 1043937"/>
                  <a:gd name="connsiteY12" fmla="*/ 412337 h 2307151"/>
                  <a:gd name="connsiteX13" fmla="*/ 9889 w 1043937"/>
                  <a:gd name="connsiteY13" fmla="*/ 787221 h 2307151"/>
                  <a:gd name="connsiteX14" fmla="*/ 176834 w 1043937"/>
                  <a:gd name="connsiteY14" fmla="*/ 919786 h 2307151"/>
                  <a:gd name="connsiteX15" fmla="*/ 224131 w 1043937"/>
                  <a:gd name="connsiteY15" fmla="*/ 1072186 h 2307151"/>
                  <a:gd name="connsiteX16" fmla="*/ 313469 w 1043937"/>
                  <a:gd name="connsiteY16" fmla="*/ 1219330 h 2307151"/>
                  <a:gd name="connsiteX17" fmla="*/ 371274 w 1043937"/>
                  <a:gd name="connsiteY17" fmla="*/ 1429536 h 2307151"/>
                  <a:gd name="connsiteX18" fmla="*/ 302958 w 1043937"/>
                  <a:gd name="connsiteY18" fmla="*/ 1702806 h 2307151"/>
                  <a:gd name="connsiteX19" fmla="*/ 182089 w 1043937"/>
                  <a:gd name="connsiteY19" fmla="*/ 2070668 h 2307151"/>
                  <a:gd name="connsiteX20" fmla="*/ 339744 w 1043937"/>
                  <a:gd name="connsiteY20" fmla="*/ 2307151 h 2307151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534231 w 1043937"/>
                  <a:gd name="connsiteY9" fmla="*/ 116120 h 2298758"/>
                  <a:gd name="connsiteX10" fmla="*/ 592491 w 1043937"/>
                  <a:gd name="connsiteY10" fmla="*/ 24078 h 2298758"/>
                  <a:gd name="connsiteX11" fmla="*/ 301191 w 1043937"/>
                  <a:gd name="connsiteY11" fmla="*/ 33281 h 2298758"/>
                  <a:gd name="connsiteX12" fmla="*/ 0 w 1043937"/>
                  <a:gd name="connsiteY12" fmla="*/ 403944 h 2298758"/>
                  <a:gd name="connsiteX13" fmla="*/ 9889 w 1043937"/>
                  <a:gd name="connsiteY13" fmla="*/ 778828 h 2298758"/>
                  <a:gd name="connsiteX14" fmla="*/ 176834 w 1043937"/>
                  <a:gd name="connsiteY14" fmla="*/ 911393 h 2298758"/>
                  <a:gd name="connsiteX15" fmla="*/ 224131 w 1043937"/>
                  <a:gd name="connsiteY15" fmla="*/ 1063793 h 2298758"/>
                  <a:gd name="connsiteX16" fmla="*/ 313469 w 1043937"/>
                  <a:gd name="connsiteY16" fmla="*/ 1210937 h 2298758"/>
                  <a:gd name="connsiteX17" fmla="*/ 371274 w 1043937"/>
                  <a:gd name="connsiteY17" fmla="*/ 1421143 h 2298758"/>
                  <a:gd name="connsiteX18" fmla="*/ 302958 w 1043937"/>
                  <a:gd name="connsiteY18" fmla="*/ 1694413 h 2298758"/>
                  <a:gd name="connsiteX19" fmla="*/ 182089 w 1043937"/>
                  <a:gd name="connsiteY19" fmla="*/ 2062275 h 2298758"/>
                  <a:gd name="connsiteX20" fmla="*/ 339744 w 1043937"/>
                  <a:gd name="connsiteY20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514811 w 1043937"/>
                  <a:gd name="connsiteY9" fmla="*/ 180550 h 2298758"/>
                  <a:gd name="connsiteX10" fmla="*/ 592491 w 1043937"/>
                  <a:gd name="connsiteY10" fmla="*/ 24078 h 2298758"/>
                  <a:gd name="connsiteX11" fmla="*/ 301191 w 1043937"/>
                  <a:gd name="connsiteY11" fmla="*/ 33281 h 2298758"/>
                  <a:gd name="connsiteX12" fmla="*/ 0 w 1043937"/>
                  <a:gd name="connsiteY12" fmla="*/ 403944 h 2298758"/>
                  <a:gd name="connsiteX13" fmla="*/ 9889 w 1043937"/>
                  <a:gd name="connsiteY13" fmla="*/ 778828 h 2298758"/>
                  <a:gd name="connsiteX14" fmla="*/ 176834 w 1043937"/>
                  <a:gd name="connsiteY14" fmla="*/ 911393 h 2298758"/>
                  <a:gd name="connsiteX15" fmla="*/ 224131 w 1043937"/>
                  <a:gd name="connsiteY15" fmla="*/ 1063793 h 2298758"/>
                  <a:gd name="connsiteX16" fmla="*/ 313469 w 1043937"/>
                  <a:gd name="connsiteY16" fmla="*/ 1210937 h 2298758"/>
                  <a:gd name="connsiteX17" fmla="*/ 371274 w 1043937"/>
                  <a:gd name="connsiteY17" fmla="*/ 1421143 h 2298758"/>
                  <a:gd name="connsiteX18" fmla="*/ 302958 w 1043937"/>
                  <a:gd name="connsiteY18" fmla="*/ 1694413 h 2298758"/>
                  <a:gd name="connsiteX19" fmla="*/ 182089 w 1043937"/>
                  <a:gd name="connsiteY19" fmla="*/ 2062275 h 2298758"/>
                  <a:gd name="connsiteX20" fmla="*/ 339744 w 1043937"/>
                  <a:gd name="connsiteY20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369161 w 1043937"/>
                  <a:gd name="connsiteY9" fmla="*/ 392249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320611 w 1043937"/>
                  <a:gd name="connsiteY9" fmla="*/ 383045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83045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485681 w 1043937"/>
                  <a:gd name="connsiteY10" fmla="*/ 162141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534231 w 1043937"/>
                  <a:gd name="connsiteY10" fmla="*/ 189754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29856 w 1034049"/>
                  <a:gd name="connsiteY0" fmla="*/ 2298758 h 2298758"/>
                  <a:gd name="connsiteX1" fmla="*/ 608380 w 1034049"/>
                  <a:gd name="connsiteY1" fmla="*/ 2046510 h 2298758"/>
                  <a:gd name="connsiteX2" fmla="*/ 592614 w 1034049"/>
                  <a:gd name="connsiteY2" fmla="*/ 2025489 h 2298758"/>
                  <a:gd name="connsiteX3" fmla="*/ 713483 w 1034049"/>
                  <a:gd name="connsiteY3" fmla="*/ 1909875 h 2298758"/>
                  <a:gd name="connsiteX4" fmla="*/ 750270 w 1034049"/>
                  <a:gd name="connsiteY4" fmla="*/ 1941406 h 2298758"/>
                  <a:gd name="connsiteX5" fmla="*/ 1034049 w 1034049"/>
                  <a:gd name="connsiteY5" fmla="*/ 1694413 h 2298758"/>
                  <a:gd name="connsiteX6" fmla="*/ 487511 w 1034049"/>
                  <a:gd name="connsiteY6" fmla="*/ 916648 h 2298758"/>
                  <a:gd name="connsiteX7" fmla="*/ 356133 w 1034049"/>
                  <a:gd name="connsiteY7" fmla="*/ 853585 h 2298758"/>
                  <a:gd name="connsiteX8" fmla="*/ 242754 w 1034049"/>
                  <a:gd name="connsiteY8" fmla="*/ 659172 h 2298758"/>
                  <a:gd name="connsiteX9" fmla="*/ 310723 w 1034049"/>
                  <a:gd name="connsiteY9" fmla="*/ 392249 h 2298758"/>
                  <a:gd name="connsiteX10" fmla="*/ 524343 w 1034049"/>
                  <a:gd name="connsiteY10" fmla="*/ 189754 h 2298758"/>
                  <a:gd name="connsiteX11" fmla="*/ 582603 w 1034049"/>
                  <a:gd name="connsiteY11" fmla="*/ 24078 h 2298758"/>
                  <a:gd name="connsiteX12" fmla="*/ 291303 w 1034049"/>
                  <a:gd name="connsiteY12" fmla="*/ 33281 h 2298758"/>
                  <a:gd name="connsiteX13" fmla="*/ 106632 w 1034049"/>
                  <a:gd name="connsiteY13" fmla="*/ 403944 h 2298758"/>
                  <a:gd name="connsiteX14" fmla="*/ 1 w 1034049"/>
                  <a:gd name="connsiteY14" fmla="*/ 778828 h 2298758"/>
                  <a:gd name="connsiteX15" fmla="*/ 166946 w 1034049"/>
                  <a:gd name="connsiteY15" fmla="*/ 911393 h 2298758"/>
                  <a:gd name="connsiteX16" fmla="*/ 214243 w 1034049"/>
                  <a:gd name="connsiteY16" fmla="*/ 1063793 h 2298758"/>
                  <a:gd name="connsiteX17" fmla="*/ 303581 w 1034049"/>
                  <a:gd name="connsiteY17" fmla="*/ 1210937 h 2298758"/>
                  <a:gd name="connsiteX18" fmla="*/ 361386 w 1034049"/>
                  <a:gd name="connsiteY18" fmla="*/ 1421143 h 2298758"/>
                  <a:gd name="connsiteX19" fmla="*/ 293070 w 1034049"/>
                  <a:gd name="connsiteY19" fmla="*/ 1694413 h 2298758"/>
                  <a:gd name="connsiteX20" fmla="*/ 172201 w 1034049"/>
                  <a:gd name="connsiteY20" fmla="*/ 2062275 h 2298758"/>
                  <a:gd name="connsiteX21" fmla="*/ 329856 w 1034049"/>
                  <a:gd name="connsiteY21" fmla="*/ 2298758 h 2298758"/>
                  <a:gd name="connsiteX0" fmla="*/ 329856 w 1034049"/>
                  <a:gd name="connsiteY0" fmla="*/ 2283153 h 2283153"/>
                  <a:gd name="connsiteX1" fmla="*/ 608380 w 1034049"/>
                  <a:gd name="connsiteY1" fmla="*/ 2030905 h 2283153"/>
                  <a:gd name="connsiteX2" fmla="*/ 592614 w 1034049"/>
                  <a:gd name="connsiteY2" fmla="*/ 2009884 h 2283153"/>
                  <a:gd name="connsiteX3" fmla="*/ 713483 w 1034049"/>
                  <a:gd name="connsiteY3" fmla="*/ 1894270 h 2283153"/>
                  <a:gd name="connsiteX4" fmla="*/ 750270 w 1034049"/>
                  <a:gd name="connsiteY4" fmla="*/ 1925801 h 2283153"/>
                  <a:gd name="connsiteX5" fmla="*/ 1034049 w 1034049"/>
                  <a:gd name="connsiteY5" fmla="*/ 1678808 h 2283153"/>
                  <a:gd name="connsiteX6" fmla="*/ 487511 w 1034049"/>
                  <a:gd name="connsiteY6" fmla="*/ 901043 h 2283153"/>
                  <a:gd name="connsiteX7" fmla="*/ 356133 w 1034049"/>
                  <a:gd name="connsiteY7" fmla="*/ 837980 h 2283153"/>
                  <a:gd name="connsiteX8" fmla="*/ 242754 w 1034049"/>
                  <a:gd name="connsiteY8" fmla="*/ 643567 h 2283153"/>
                  <a:gd name="connsiteX9" fmla="*/ 310723 w 1034049"/>
                  <a:gd name="connsiteY9" fmla="*/ 376644 h 2283153"/>
                  <a:gd name="connsiteX10" fmla="*/ 524343 w 1034049"/>
                  <a:gd name="connsiteY10" fmla="*/ 174149 h 2283153"/>
                  <a:gd name="connsiteX11" fmla="*/ 582603 w 1034049"/>
                  <a:gd name="connsiteY11" fmla="*/ 8473 h 2283153"/>
                  <a:gd name="connsiteX12" fmla="*/ 291303 w 1034049"/>
                  <a:gd name="connsiteY12" fmla="*/ 17676 h 2283153"/>
                  <a:gd name="connsiteX13" fmla="*/ 203912 w 1034049"/>
                  <a:gd name="connsiteY13" fmla="*/ 128129 h 2283153"/>
                  <a:gd name="connsiteX14" fmla="*/ 106632 w 1034049"/>
                  <a:gd name="connsiteY14" fmla="*/ 388339 h 2283153"/>
                  <a:gd name="connsiteX15" fmla="*/ 1 w 1034049"/>
                  <a:gd name="connsiteY15" fmla="*/ 763223 h 2283153"/>
                  <a:gd name="connsiteX16" fmla="*/ 166946 w 1034049"/>
                  <a:gd name="connsiteY16" fmla="*/ 895788 h 2283153"/>
                  <a:gd name="connsiteX17" fmla="*/ 214243 w 1034049"/>
                  <a:gd name="connsiteY17" fmla="*/ 1048188 h 2283153"/>
                  <a:gd name="connsiteX18" fmla="*/ 303581 w 1034049"/>
                  <a:gd name="connsiteY18" fmla="*/ 1195332 h 2283153"/>
                  <a:gd name="connsiteX19" fmla="*/ 361386 w 1034049"/>
                  <a:gd name="connsiteY19" fmla="*/ 1405538 h 2283153"/>
                  <a:gd name="connsiteX20" fmla="*/ 293070 w 1034049"/>
                  <a:gd name="connsiteY20" fmla="*/ 1678808 h 2283153"/>
                  <a:gd name="connsiteX21" fmla="*/ 172201 w 1034049"/>
                  <a:gd name="connsiteY21" fmla="*/ 2046670 h 2283153"/>
                  <a:gd name="connsiteX22" fmla="*/ 329856 w 1034049"/>
                  <a:gd name="connsiteY22" fmla="*/ 2283153 h 2283153"/>
                  <a:gd name="connsiteX0" fmla="*/ 329856 w 1034049"/>
                  <a:gd name="connsiteY0" fmla="*/ 2283153 h 2283153"/>
                  <a:gd name="connsiteX1" fmla="*/ 608380 w 1034049"/>
                  <a:gd name="connsiteY1" fmla="*/ 2030905 h 2283153"/>
                  <a:gd name="connsiteX2" fmla="*/ 592614 w 1034049"/>
                  <a:gd name="connsiteY2" fmla="*/ 2009884 h 2283153"/>
                  <a:gd name="connsiteX3" fmla="*/ 713483 w 1034049"/>
                  <a:gd name="connsiteY3" fmla="*/ 1894270 h 2283153"/>
                  <a:gd name="connsiteX4" fmla="*/ 750270 w 1034049"/>
                  <a:gd name="connsiteY4" fmla="*/ 1925801 h 2283153"/>
                  <a:gd name="connsiteX5" fmla="*/ 1034049 w 1034049"/>
                  <a:gd name="connsiteY5" fmla="*/ 1678808 h 2283153"/>
                  <a:gd name="connsiteX6" fmla="*/ 487511 w 1034049"/>
                  <a:gd name="connsiteY6" fmla="*/ 901043 h 2283153"/>
                  <a:gd name="connsiteX7" fmla="*/ 356133 w 1034049"/>
                  <a:gd name="connsiteY7" fmla="*/ 837980 h 2283153"/>
                  <a:gd name="connsiteX8" fmla="*/ 242754 w 1034049"/>
                  <a:gd name="connsiteY8" fmla="*/ 643567 h 2283153"/>
                  <a:gd name="connsiteX9" fmla="*/ 310723 w 1034049"/>
                  <a:gd name="connsiteY9" fmla="*/ 376644 h 2283153"/>
                  <a:gd name="connsiteX10" fmla="*/ 524343 w 1034049"/>
                  <a:gd name="connsiteY10" fmla="*/ 174149 h 2283153"/>
                  <a:gd name="connsiteX11" fmla="*/ 582603 w 1034049"/>
                  <a:gd name="connsiteY11" fmla="*/ 8473 h 2283153"/>
                  <a:gd name="connsiteX12" fmla="*/ 291303 w 1034049"/>
                  <a:gd name="connsiteY12" fmla="*/ 17676 h 2283153"/>
                  <a:gd name="connsiteX13" fmla="*/ 281592 w 1034049"/>
                  <a:gd name="connsiteY13" fmla="*/ 137334 h 2283153"/>
                  <a:gd name="connsiteX14" fmla="*/ 106632 w 1034049"/>
                  <a:gd name="connsiteY14" fmla="*/ 388339 h 2283153"/>
                  <a:gd name="connsiteX15" fmla="*/ 1 w 1034049"/>
                  <a:gd name="connsiteY15" fmla="*/ 763223 h 2283153"/>
                  <a:gd name="connsiteX16" fmla="*/ 166946 w 1034049"/>
                  <a:gd name="connsiteY16" fmla="*/ 895788 h 2283153"/>
                  <a:gd name="connsiteX17" fmla="*/ 214243 w 1034049"/>
                  <a:gd name="connsiteY17" fmla="*/ 1048188 h 2283153"/>
                  <a:gd name="connsiteX18" fmla="*/ 303581 w 1034049"/>
                  <a:gd name="connsiteY18" fmla="*/ 1195332 h 2283153"/>
                  <a:gd name="connsiteX19" fmla="*/ 361386 w 1034049"/>
                  <a:gd name="connsiteY19" fmla="*/ 1405538 h 2283153"/>
                  <a:gd name="connsiteX20" fmla="*/ 293070 w 1034049"/>
                  <a:gd name="connsiteY20" fmla="*/ 1678808 h 2283153"/>
                  <a:gd name="connsiteX21" fmla="*/ 172201 w 1034049"/>
                  <a:gd name="connsiteY21" fmla="*/ 2046670 h 2283153"/>
                  <a:gd name="connsiteX22" fmla="*/ 329856 w 1034049"/>
                  <a:gd name="connsiteY22" fmla="*/ 2283153 h 2283153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81592 w 1034049"/>
                  <a:gd name="connsiteY13" fmla="*/ 168522 h 2314341"/>
                  <a:gd name="connsiteX14" fmla="*/ 106632 w 1034049"/>
                  <a:gd name="connsiteY14" fmla="*/ 419527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81592 w 1034049"/>
                  <a:gd name="connsiteY13" fmla="*/ 168522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13622 w 1034049"/>
                  <a:gd name="connsiteY13" fmla="*/ 140909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621444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3985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621444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1929 h 2311929"/>
                  <a:gd name="connsiteX1" fmla="*/ 608380 w 1034049"/>
                  <a:gd name="connsiteY1" fmla="*/ 2059681 h 2311929"/>
                  <a:gd name="connsiteX2" fmla="*/ 592614 w 1034049"/>
                  <a:gd name="connsiteY2" fmla="*/ 2038660 h 2311929"/>
                  <a:gd name="connsiteX3" fmla="*/ 713483 w 1034049"/>
                  <a:gd name="connsiteY3" fmla="*/ 1923046 h 2311929"/>
                  <a:gd name="connsiteX4" fmla="*/ 750270 w 1034049"/>
                  <a:gd name="connsiteY4" fmla="*/ 1954577 h 2311929"/>
                  <a:gd name="connsiteX5" fmla="*/ 1034049 w 1034049"/>
                  <a:gd name="connsiteY5" fmla="*/ 1707584 h 2311929"/>
                  <a:gd name="connsiteX6" fmla="*/ 487511 w 1034049"/>
                  <a:gd name="connsiteY6" fmla="*/ 929819 h 2311929"/>
                  <a:gd name="connsiteX7" fmla="*/ 356133 w 1034049"/>
                  <a:gd name="connsiteY7" fmla="*/ 866756 h 2311929"/>
                  <a:gd name="connsiteX8" fmla="*/ 242754 w 1034049"/>
                  <a:gd name="connsiteY8" fmla="*/ 672343 h 2311929"/>
                  <a:gd name="connsiteX9" fmla="*/ 339853 w 1034049"/>
                  <a:gd name="connsiteY9" fmla="*/ 405420 h 2311929"/>
                  <a:gd name="connsiteX10" fmla="*/ 524343 w 1034049"/>
                  <a:gd name="connsiteY10" fmla="*/ 202925 h 2311929"/>
                  <a:gd name="connsiteX11" fmla="*/ 621444 w 1034049"/>
                  <a:gd name="connsiteY11" fmla="*/ 432 h 2311929"/>
                  <a:gd name="connsiteX12" fmla="*/ 291302 w 1034049"/>
                  <a:gd name="connsiteY12" fmla="*/ 156906 h 2311929"/>
                  <a:gd name="connsiteX13" fmla="*/ 116342 w 1034049"/>
                  <a:gd name="connsiteY13" fmla="*/ 407911 h 2311929"/>
                  <a:gd name="connsiteX14" fmla="*/ 1 w 1034049"/>
                  <a:gd name="connsiteY14" fmla="*/ 791999 h 2311929"/>
                  <a:gd name="connsiteX15" fmla="*/ 166946 w 1034049"/>
                  <a:gd name="connsiteY15" fmla="*/ 924564 h 2311929"/>
                  <a:gd name="connsiteX16" fmla="*/ 214243 w 1034049"/>
                  <a:gd name="connsiteY16" fmla="*/ 1076964 h 2311929"/>
                  <a:gd name="connsiteX17" fmla="*/ 303581 w 1034049"/>
                  <a:gd name="connsiteY17" fmla="*/ 1224108 h 2311929"/>
                  <a:gd name="connsiteX18" fmla="*/ 361386 w 1034049"/>
                  <a:gd name="connsiteY18" fmla="*/ 1434314 h 2311929"/>
                  <a:gd name="connsiteX19" fmla="*/ 293070 w 1034049"/>
                  <a:gd name="connsiteY19" fmla="*/ 1707584 h 2311929"/>
                  <a:gd name="connsiteX20" fmla="*/ 172201 w 1034049"/>
                  <a:gd name="connsiteY20" fmla="*/ 2075446 h 2311929"/>
                  <a:gd name="connsiteX21" fmla="*/ 329856 w 1034049"/>
                  <a:gd name="connsiteY21" fmla="*/ 2311929 h 2311929"/>
                  <a:gd name="connsiteX0" fmla="*/ 329856 w 1034049"/>
                  <a:gd name="connsiteY0" fmla="*/ 2168130 h 2168130"/>
                  <a:gd name="connsiteX1" fmla="*/ 608380 w 1034049"/>
                  <a:gd name="connsiteY1" fmla="*/ 1915882 h 2168130"/>
                  <a:gd name="connsiteX2" fmla="*/ 592614 w 1034049"/>
                  <a:gd name="connsiteY2" fmla="*/ 1894861 h 2168130"/>
                  <a:gd name="connsiteX3" fmla="*/ 713483 w 1034049"/>
                  <a:gd name="connsiteY3" fmla="*/ 1779247 h 2168130"/>
                  <a:gd name="connsiteX4" fmla="*/ 750270 w 1034049"/>
                  <a:gd name="connsiteY4" fmla="*/ 1810778 h 2168130"/>
                  <a:gd name="connsiteX5" fmla="*/ 1034049 w 1034049"/>
                  <a:gd name="connsiteY5" fmla="*/ 1563785 h 2168130"/>
                  <a:gd name="connsiteX6" fmla="*/ 487511 w 1034049"/>
                  <a:gd name="connsiteY6" fmla="*/ 786020 h 2168130"/>
                  <a:gd name="connsiteX7" fmla="*/ 356133 w 1034049"/>
                  <a:gd name="connsiteY7" fmla="*/ 722957 h 2168130"/>
                  <a:gd name="connsiteX8" fmla="*/ 242754 w 1034049"/>
                  <a:gd name="connsiteY8" fmla="*/ 528544 h 2168130"/>
                  <a:gd name="connsiteX9" fmla="*/ 339853 w 1034049"/>
                  <a:gd name="connsiteY9" fmla="*/ 261621 h 2168130"/>
                  <a:gd name="connsiteX10" fmla="*/ 524343 w 1034049"/>
                  <a:gd name="connsiteY10" fmla="*/ 59126 h 2168130"/>
                  <a:gd name="connsiteX11" fmla="*/ 291302 w 1034049"/>
                  <a:gd name="connsiteY11" fmla="*/ 13107 h 2168130"/>
                  <a:gd name="connsiteX12" fmla="*/ 116342 w 1034049"/>
                  <a:gd name="connsiteY12" fmla="*/ 264112 h 2168130"/>
                  <a:gd name="connsiteX13" fmla="*/ 1 w 1034049"/>
                  <a:gd name="connsiteY13" fmla="*/ 648200 h 2168130"/>
                  <a:gd name="connsiteX14" fmla="*/ 166946 w 1034049"/>
                  <a:gd name="connsiteY14" fmla="*/ 780765 h 2168130"/>
                  <a:gd name="connsiteX15" fmla="*/ 214243 w 1034049"/>
                  <a:gd name="connsiteY15" fmla="*/ 933165 h 2168130"/>
                  <a:gd name="connsiteX16" fmla="*/ 303581 w 1034049"/>
                  <a:gd name="connsiteY16" fmla="*/ 1080309 h 2168130"/>
                  <a:gd name="connsiteX17" fmla="*/ 361386 w 1034049"/>
                  <a:gd name="connsiteY17" fmla="*/ 1290515 h 2168130"/>
                  <a:gd name="connsiteX18" fmla="*/ 293070 w 1034049"/>
                  <a:gd name="connsiteY18" fmla="*/ 1563785 h 2168130"/>
                  <a:gd name="connsiteX19" fmla="*/ 172201 w 1034049"/>
                  <a:gd name="connsiteY19" fmla="*/ 1931647 h 2168130"/>
                  <a:gd name="connsiteX20" fmla="*/ 329856 w 1034049"/>
                  <a:gd name="connsiteY20" fmla="*/ 2168130 h 2168130"/>
                  <a:gd name="connsiteX0" fmla="*/ 329856 w 1034049"/>
                  <a:gd name="connsiteY0" fmla="*/ 2155024 h 2155024"/>
                  <a:gd name="connsiteX1" fmla="*/ 608380 w 1034049"/>
                  <a:gd name="connsiteY1" fmla="*/ 1902776 h 2155024"/>
                  <a:gd name="connsiteX2" fmla="*/ 592614 w 1034049"/>
                  <a:gd name="connsiteY2" fmla="*/ 1881755 h 2155024"/>
                  <a:gd name="connsiteX3" fmla="*/ 713483 w 1034049"/>
                  <a:gd name="connsiteY3" fmla="*/ 1766141 h 2155024"/>
                  <a:gd name="connsiteX4" fmla="*/ 750270 w 1034049"/>
                  <a:gd name="connsiteY4" fmla="*/ 1797672 h 2155024"/>
                  <a:gd name="connsiteX5" fmla="*/ 1034049 w 1034049"/>
                  <a:gd name="connsiteY5" fmla="*/ 1550679 h 2155024"/>
                  <a:gd name="connsiteX6" fmla="*/ 487511 w 1034049"/>
                  <a:gd name="connsiteY6" fmla="*/ 772914 h 2155024"/>
                  <a:gd name="connsiteX7" fmla="*/ 356133 w 1034049"/>
                  <a:gd name="connsiteY7" fmla="*/ 709851 h 2155024"/>
                  <a:gd name="connsiteX8" fmla="*/ 242754 w 1034049"/>
                  <a:gd name="connsiteY8" fmla="*/ 515438 h 2155024"/>
                  <a:gd name="connsiteX9" fmla="*/ 339853 w 1034049"/>
                  <a:gd name="connsiteY9" fmla="*/ 248515 h 2155024"/>
                  <a:gd name="connsiteX10" fmla="*/ 291302 w 1034049"/>
                  <a:gd name="connsiteY10" fmla="*/ 1 h 2155024"/>
                  <a:gd name="connsiteX11" fmla="*/ 116342 w 1034049"/>
                  <a:gd name="connsiteY11" fmla="*/ 251006 h 2155024"/>
                  <a:gd name="connsiteX12" fmla="*/ 1 w 1034049"/>
                  <a:gd name="connsiteY12" fmla="*/ 635094 h 2155024"/>
                  <a:gd name="connsiteX13" fmla="*/ 166946 w 1034049"/>
                  <a:gd name="connsiteY13" fmla="*/ 767659 h 2155024"/>
                  <a:gd name="connsiteX14" fmla="*/ 214243 w 1034049"/>
                  <a:gd name="connsiteY14" fmla="*/ 920059 h 2155024"/>
                  <a:gd name="connsiteX15" fmla="*/ 303581 w 1034049"/>
                  <a:gd name="connsiteY15" fmla="*/ 1067203 h 2155024"/>
                  <a:gd name="connsiteX16" fmla="*/ 361386 w 1034049"/>
                  <a:gd name="connsiteY16" fmla="*/ 1277409 h 2155024"/>
                  <a:gd name="connsiteX17" fmla="*/ 293070 w 1034049"/>
                  <a:gd name="connsiteY17" fmla="*/ 1550679 h 2155024"/>
                  <a:gd name="connsiteX18" fmla="*/ 172201 w 1034049"/>
                  <a:gd name="connsiteY18" fmla="*/ 1918541 h 2155024"/>
                  <a:gd name="connsiteX19" fmla="*/ 329856 w 1034049"/>
                  <a:gd name="connsiteY19" fmla="*/ 2155024 h 2155024"/>
                  <a:gd name="connsiteX0" fmla="*/ 329856 w 1034049"/>
                  <a:gd name="connsiteY0" fmla="*/ 1946154 h 1946154"/>
                  <a:gd name="connsiteX1" fmla="*/ 608380 w 1034049"/>
                  <a:gd name="connsiteY1" fmla="*/ 1693906 h 1946154"/>
                  <a:gd name="connsiteX2" fmla="*/ 592614 w 1034049"/>
                  <a:gd name="connsiteY2" fmla="*/ 1672885 h 1946154"/>
                  <a:gd name="connsiteX3" fmla="*/ 713483 w 1034049"/>
                  <a:gd name="connsiteY3" fmla="*/ 1557271 h 1946154"/>
                  <a:gd name="connsiteX4" fmla="*/ 750270 w 1034049"/>
                  <a:gd name="connsiteY4" fmla="*/ 1588802 h 1946154"/>
                  <a:gd name="connsiteX5" fmla="*/ 1034049 w 1034049"/>
                  <a:gd name="connsiteY5" fmla="*/ 1341809 h 1946154"/>
                  <a:gd name="connsiteX6" fmla="*/ 487511 w 1034049"/>
                  <a:gd name="connsiteY6" fmla="*/ 564044 h 1946154"/>
                  <a:gd name="connsiteX7" fmla="*/ 356133 w 1034049"/>
                  <a:gd name="connsiteY7" fmla="*/ 500981 h 1946154"/>
                  <a:gd name="connsiteX8" fmla="*/ 242754 w 1034049"/>
                  <a:gd name="connsiteY8" fmla="*/ 306568 h 1946154"/>
                  <a:gd name="connsiteX9" fmla="*/ 339853 w 1034049"/>
                  <a:gd name="connsiteY9" fmla="*/ 39645 h 1946154"/>
                  <a:gd name="connsiteX10" fmla="*/ 116342 w 1034049"/>
                  <a:gd name="connsiteY10" fmla="*/ 42136 h 1946154"/>
                  <a:gd name="connsiteX11" fmla="*/ 1 w 1034049"/>
                  <a:gd name="connsiteY11" fmla="*/ 426224 h 1946154"/>
                  <a:gd name="connsiteX12" fmla="*/ 166946 w 1034049"/>
                  <a:gd name="connsiteY12" fmla="*/ 558789 h 1946154"/>
                  <a:gd name="connsiteX13" fmla="*/ 214243 w 1034049"/>
                  <a:gd name="connsiteY13" fmla="*/ 711189 h 1946154"/>
                  <a:gd name="connsiteX14" fmla="*/ 303581 w 1034049"/>
                  <a:gd name="connsiteY14" fmla="*/ 858333 h 1946154"/>
                  <a:gd name="connsiteX15" fmla="*/ 361386 w 1034049"/>
                  <a:gd name="connsiteY15" fmla="*/ 1068539 h 1946154"/>
                  <a:gd name="connsiteX16" fmla="*/ 293070 w 1034049"/>
                  <a:gd name="connsiteY16" fmla="*/ 1341809 h 1946154"/>
                  <a:gd name="connsiteX17" fmla="*/ 172201 w 1034049"/>
                  <a:gd name="connsiteY17" fmla="*/ 1709671 h 1946154"/>
                  <a:gd name="connsiteX18" fmla="*/ 329856 w 1034049"/>
                  <a:gd name="connsiteY18" fmla="*/ 1946154 h 1946154"/>
                  <a:gd name="connsiteX0" fmla="*/ 329856 w 1034049"/>
                  <a:gd name="connsiteY0" fmla="*/ 1905359 h 1905359"/>
                  <a:gd name="connsiteX1" fmla="*/ 608380 w 1034049"/>
                  <a:gd name="connsiteY1" fmla="*/ 1653111 h 1905359"/>
                  <a:gd name="connsiteX2" fmla="*/ 592614 w 1034049"/>
                  <a:gd name="connsiteY2" fmla="*/ 1632090 h 1905359"/>
                  <a:gd name="connsiteX3" fmla="*/ 713483 w 1034049"/>
                  <a:gd name="connsiteY3" fmla="*/ 1516476 h 1905359"/>
                  <a:gd name="connsiteX4" fmla="*/ 750270 w 1034049"/>
                  <a:gd name="connsiteY4" fmla="*/ 1548007 h 1905359"/>
                  <a:gd name="connsiteX5" fmla="*/ 1034049 w 1034049"/>
                  <a:gd name="connsiteY5" fmla="*/ 1301014 h 1905359"/>
                  <a:gd name="connsiteX6" fmla="*/ 487511 w 1034049"/>
                  <a:gd name="connsiteY6" fmla="*/ 523249 h 1905359"/>
                  <a:gd name="connsiteX7" fmla="*/ 356133 w 1034049"/>
                  <a:gd name="connsiteY7" fmla="*/ 460186 h 1905359"/>
                  <a:gd name="connsiteX8" fmla="*/ 242754 w 1034049"/>
                  <a:gd name="connsiteY8" fmla="*/ 265773 h 1905359"/>
                  <a:gd name="connsiteX9" fmla="*/ 116342 w 1034049"/>
                  <a:gd name="connsiteY9" fmla="*/ 1341 h 1905359"/>
                  <a:gd name="connsiteX10" fmla="*/ 1 w 1034049"/>
                  <a:gd name="connsiteY10" fmla="*/ 385429 h 1905359"/>
                  <a:gd name="connsiteX11" fmla="*/ 166946 w 1034049"/>
                  <a:gd name="connsiteY11" fmla="*/ 517994 h 1905359"/>
                  <a:gd name="connsiteX12" fmla="*/ 214243 w 1034049"/>
                  <a:gd name="connsiteY12" fmla="*/ 670394 h 1905359"/>
                  <a:gd name="connsiteX13" fmla="*/ 303581 w 1034049"/>
                  <a:gd name="connsiteY13" fmla="*/ 817538 h 1905359"/>
                  <a:gd name="connsiteX14" fmla="*/ 361386 w 1034049"/>
                  <a:gd name="connsiteY14" fmla="*/ 1027744 h 1905359"/>
                  <a:gd name="connsiteX15" fmla="*/ 293070 w 1034049"/>
                  <a:gd name="connsiteY15" fmla="*/ 1301014 h 1905359"/>
                  <a:gd name="connsiteX16" fmla="*/ 172201 w 1034049"/>
                  <a:gd name="connsiteY16" fmla="*/ 1668876 h 1905359"/>
                  <a:gd name="connsiteX17" fmla="*/ 329856 w 1034049"/>
                  <a:gd name="connsiteY17" fmla="*/ 1905359 h 1905359"/>
                  <a:gd name="connsiteX0" fmla="*/ 329855 w 1034048"/>
                  <a:gd name="connsiteY0" fmla="*/ 1640758 h 1640758"/>
                  <a:gd name="connsiteX1" fmla="*/ 608379 w 1034048"/>
                  <a:gd name="connsiteY1" fmla="*/ 1388510 h 1640758"/>
                  <a:gd name="connsiteX2" fmla="*/ 592613 w 1034048"/>
                  <a:gd name="connsiteY2" fmla="*/ 1367489 h 1640758"/>
                  <a:gd name="connsiteX3" fmla="*/ 713482 w 1034048"/>
                  <a:gd name="connsiteY3" fmla="*/ 1251875 h 1640758"/>
                  <a:gd name="connsiteX4" fmla="*/ 750269 w 1034048"/>
                  <a:gd name="connsiteY4" fmla="*/ 1283406 h 1640758"/>
                  <a:gd name="connsiteX5" fmla="*/ 1034048 w 1034048"/>
                  <a:gd name="connsiteY5" fmla="*/ 1036413 h 1640758"/>
                  <a:gd name="connsiteX6" fmla="*/ 487510 w 1034048"/>
                  <a:gd name="connsiteY6" fmla="*/ 258648 h 1640758"/>
                  <a:gd name="connsiteX7" fmla="*/ 356132 w 1034048"/>
                  <a:gd name="connsiteY7" fmla="*/ 195585 h 1640758"/>
                  <a:gd name="connsiteX8" fmla="*/ 242753 w 1034048"/>
                  <a:gd name="connsiteY8" fmla="*/ 1172 h 1640758"/>
                  <a:gd name="connsiteX9" fmla="*/ 0 w 1034048"/>
                  <a:gd name="connsiteY9" fmla="*/ 120828 h 1640758"/>
                  <a:gd name="connsiteX10" fmla="*/ 166945 w 1034048"/>
                  <a:gd name="connsiteY10" fmla="*/ 253393 h 1640758"/>
                  <a:gd name="connsiteX11" fmla="*/ 214242 w 1034048"/>
                  <a:gd name="connsiteY11" fmla="*/ 405793 h 1640758"/>
                  <a:gd name="connsiteX12" fmla="*/ 303580 w 1034048"/>
                  <a:gd name="connsiteY12" fmla="*/ 552937 h 1640758"/>
                  <a:gd name="connsiteX13" fmla="*/ 361385 w 1034048"/>
                  <a:gd name="connsiteY13" fmla="*/ 763143 h 1640758"/>
                  <a:gd name="connsiteX14" fmla="*/ 293069 w 1034048"/>
                  <a:gd name="connsiteY14" fmla="*/ 1036413 h 1640758"/>
                  <a:gd name="connsiteX15" fmla="*/ 172200 w 1034048"/>
                  <a:gd name="connsiteY15" fmla="*/ 1404275 h 1640758"/>
                  <a:gd name="connsiteX16" fmla="*/ 329855 w 1034048"/>
                  <a:gd name="connsiteY16" fmla="*/ 1640758 h 1640758"/>
                  <a:gd name="connsiteX0" fmla="*/ 162910 w 867103"/>
                  <a:gd name="connsiteY0" fmla="*/ 1639586 h 1639586"/>
                  <a:gd name="connsiteX1" fmla="*/ 441434 w 867103"/>
                  <a:gd name="connsiteY1" fmla="*/ 1387338 h 1639586"/>
                  <a:gd name="connsiteX2" fmla="*/ 425668 w 867103"/>
                  <a:gd name="connsiteY2" fmla="*/ 1366317 h 1639586"/>
                  <a:gd name="connsiteX3" fmla="*/ 546537 w 867103"/>
                  <a:gd name="connsiteY3" fmla="*/ 1250703 h 1639586"/>
                  <a:gd name="connsiteX4" fmla="*/ 583324 w 867103"/>
                  <a:gd name="connsiteY4" fmla="*/ 1282234 h 1639586"/>
                  <a:gd name="connsiteX5" fmla="*/ 867103 w 867103"/>
                  <a:gd name="connsiteY5" fmla="*/ 1035241 h 1639586"/>
                  <a:gd name="connsiteX6" fmla="*/ 320565 w 867103"/>
                  <a:gd name="connsiteY6" fmla="*/ 257476 h 1639586"/>
                  <a:gd name="connsiteX7" fmla="*/ 189187 w 867103"/>
                  <a:gd name="connsiteY7" fmla="*/ 194413 h 1639586"/>
                  <a:gd name="connsiteX8" fmla="*/ 75808 w 867103"/>
                  <a:gd name="connsiteY8" fmla="*/ 0 h 1639586"/>
                  <a:gd name="connsiteX9" fmla="*/ 0 w 867103"/>
                  <a:gd name="connsiteY9" fmla="*/ 252221 h 1639586"/>
                  <a:gd name="connsiteX10" fmla="*/ 47297 w 867103"/>
                  <a:gd name="connsiteY10" fmla="*/ 404621 h 1639586"/>
                  <a:gd name="connsiteX11" fmla="*/ 136635 w 867103"/>
                  <a:gd name="connsiteY11" fmla="*/ 551765 h 1639586"/>
                  <a:gd name="connsiteX12" fmla="*/ 194440 w 867103"/>
                  <a:gd name="connsiteY12" fmla="*/ 761971 h 1639586"/>
                  <a:gd name="connsiteX13" fmla="*/ 126124 w 867103"/>
                  <a:gd name="connsiteY13" fmla="*/ 1035241 h 1639586"/>
                  <a:gd name="connsiteX14" fmla="*/ 5255 w 867103"/>
                  <a:gd name="connsiteY14" fmla="*/ 1403103 h 1639586"/>
                  <a:gd name="connsiteX15" fmla="*/ 162910 w 867103"/>
                  <a:gd name="connsiteY15" fmla="*/ 1639586 h 1639586"/>
                  <a:gd name="connsiteX0" fmla="*/ 157655 w 861848"/>
                  <a:gd name="connsiteY0" fmla="*/ 1639586 h 1639586"/>
                  <a:gd name="connsiteX1" fmla="*/ 436179 w 861848"/>
                  <a:gd name="connsiteY1" fmla="*/ 1387338 h 1639586"/>
                  <a:gd name="connsiteX2" fmla="*/ 420413 w 861848"/>
                  <a:gd name="connsiteY2" fmla="*/ 1366317 h 1639586"/>
                  <a:gd name="connsiteX3" fmla="*/ 541282 w 861848"/>
                  <a:gd name="connsiteY3" fmla="*/ 1250703 h 1639586"/>
                  <a:gd name="connsiteX4" fmla="*/ 578069 w 861848"/>
                  <a:gd name="connsiteY4" fmla="*/ 1282234 h 1639586"/>
                  <a:gd name="connsiteX5" fmla="*/ 861848 w 861848"/>
                  <a:gd name="connsiteY5" fmla="*/ 1035241 h 1639586"/>
                  <a:gd name="connsiteX6" fmla="*/ 315310 w 861848"/>
                  <a:gd name="connsiteY6" fmla="*/ 257476 h 1639586"/>
                  <a:gd name="connsiteX7" fmla="*/ 183932 w 861848"/>
                  <a:gd name="connsiteY7" fmla="*/ 194413 h 1639586"/>
                  <a:gd name="connsiteX8" fmla="*/ 70553 w 861848"/>
                  <a:gd name="connsiteY8" fmla="*/ 0 h 1639586"/>
                  <a:gd name="connsiteX9" fmla="*/ 34500 w 861848"/>
                  <a:gd name="connsiteY9" fmla="*/ 243463 h 1639586"/>
                  <a:gd name="connsiteX10" fmla="*/ 42042 w 861848"/>
                  <a:gd name="connsiteY10" fmla="*/ 404621 h 1639586"/>
                  <a:gd name="connsiteX11" fmla="*/ 131380 w 861848"/>
                  <a:gd name="connsiteY11" fmla="*/ 551765 h 1639586"/>
                  <a:gd name="connsiteX12" fmla="*/ 189185 w 861848"/>
                  <a:gd name="connsiteY12" fmla="*/ 761971 h 1639586"/>
                  <a:gd name="connsiteX13" fmla="*/ 120869 w 861848"/>
                  <a:gd name="connsiteY13" fmla="*/ 1035241 h 1639586"/>
                  <a:gd name="connsiteX14" fmla="*/ 0 w 861848"/>
                  <a:gd name="connsiteY14" fmla="*/ 1403103 h 1639586"/>
                  <a:gd name="connsiteX15" fmla="*/ 157655 w 861848"/>
                  <a:gd name="connsiteY15" fmla="*/ 1639586 h 1639586"/>
                  <a:gd name="connsiteX0" fmla="*/ 157655 w 861848"/>
                  <a:gd name="connsiteY0" fmla="*/ 1578283 h 1578283"/>
                  <a:gd name="connsiteX1" fmla="*/ 436179 w 861848"/>
                  <a:gd name="connsiteY1" fmla="*/ 1326035 h 1578283"/>
                  <a:gd name="connsiteX2" fmla="*/ 420413 w 861848"/>
                  <a:gd name="connsiteY2" fmla="*/ 1305014 h 1578283"/>
                  <a:gd name="connsiteX3" fmla="*/ 541282 w 861848"/>
                  <a:gd name="connsiteY3" fmla="*/ 1189400 h 1578283"/>
                  <a:gd name="connsiteX4" fmla="*/ 578069 w 861848"/>
                  <a:gd name="connsiteY4" fmla="*/ 1220931 h 1578283"/>
                  <a:gd name="connsiteX5" fmla="*/ 861848 w 861848"/>
                  <a:gd name="connsiteY5" fmla="*/ 973938 h 1578283"/>
                  <a:gd name="connsiteX6" fmla="*/ 315310 w 861848"/>
                  <a:gd name="connsiteY6" fmla="*/ 196173 h 1578283"/>
                  <a:gd name="connsiteX7" fmla="*/ 183932 w 861848"/>
                  <a:gd name="connsiteY7" fmla="*/ 133110 h 1578283"/>
                  <a:gd name="connsiteX8" fmla="*/ 97057 w 861848"/>
                  <a:gd name="connsiteY8" fmla="*/ 0 h 1578283"/>
                  <a:gd name="connsiteX9" fmla="*/ 34500 w 861848"/>
                  <a:gd name="connsiteY9" fmla="*/ 182160 h 1578283"/>
                  <a:gd name="connsiteX10" fmla="*/ 42042 w 861848"/>
                  <a:gd name="connsiteY10" fmla="*/ 343318 h 1578283"/>
                  <a:gd name="connsiteX11" fmla="*/ 131380 w 861848"/>
                  <a:gd name="connsiteY11" fmla="*/ 490462 h 1578283"/>
                  <a:gd name="connsiteX12" fmla="*/ 189185 w 861848"/>
                  <a:gd name="connsiteY12" fmla="*/ 700668 h 1578283"/>
                  <a:gd name="connsiteX13" fmla="*/ 120869 w 861848"/>
                  <a:gd name="connsiteY13" fmla="*/ 973938 h 1578283"/>
                  <a:gd name="connsiteX14" fmla="*/ 0 w 861848"/>
                  <a:gd name="connsiteY14" fmla="*/ 1341800 h 1578283"/>
                  <a:gd name="connsiteX15" fmla="*/ 157655 w 861848"/>
                  <a:gd name="connsiteY15" fmla="*/ 1578283 h 1578283"/>
                  <a:gd name="connsiteX0" fmla="*/ 157655 w 861848"/>
                  <a:gd name="connsiteY0" fmla="*/ 1578283 h 1578283"/>
                  <a:gd name="connsiteX1" fmla="*/ 436179 w 861848"/>
                  <a:gd name="connsiteY1" fmla="*/ 1326035 h 1578283"/>
                  <a:gd name="connsiteX2" fmla="*/ 420413 w 861848"/>
                  <a:gd name="connsiteY2" fmla="*/ 1305014 h 1578283"/>
                  <a:gd name="connsiteX3" fmla="*/ 541282 w 861848"/>
                  <a:gd name="connsiteY3" fmla="*/ 1189400 h 1578283"/>
                  <a:gd name="connsiteX4" fmla="*/ 578069 w 861848"/>
                  <a:gd name="connsiteY4" fmla="*/ 1220931 h 1578283"/>
                  <a:gd name="connsiteX5" fmla="*/ 861848 w 861848"/>
                  <a:gd name="connsiteY5" fmla="*/ 973938 h 1578283"/>
                  <a:gd name="connsiteX6" fmla="*/ 315310 w 861848"/>
                  <a:gd name="connsiteY6" fmla="*/ 196173 h 1578283"/>
                  <a:gd name="connsiteX7" fmla="*/ 183932 w 861848"/>
                  <a:gd name="connsiteY7" fmla="*/ 133110 h 1578283"/>
                  <a:gd name="connsiteX8" fmla="*/ 97057 w 861848"/>
                  <a:gd name="connsiteY8" fmla="*/ 0 h 1578283"/>
                  <a:gd name="connsiteX9" fmla="*/ 34500 w 861848"/>
                  <a:gd name="connsiteY9" fmla="*/ 182160 h 1578283"/>
                  <a:gd name="connsiteX10" fmla="*/ 50877 w 861848"/>
                  <a:gd name="connsiteY10" fmla="*/ 255742 h 1578283"/>
                  <a:gd name="connsiteX11" fmla="*/ 131380 w 861848"/>
                  <a:gd name="connsiteY11" fmla="*/ 490462 h 1578283"/>
                  <a:gd name="connsiteX12" fmla="*/ 189185 w 861848"/>
                  <a:gd name="connsiteY12" fmla="*/ 700668 h 1578283"/>
                  <a:gd name="connsiteX13" fmla="*/ 120869 w 861848"/>
                  <a:gd name="connsiteY13" fmla="*/ 973938 h 1578283"/>
                  <a:gd name="connsiteX14" fmla="*/ 0 w 861848"/>
                  <a:gd name="connsiteY14" fmla="*/ 1341800 h 1578283"/>
                  <a:gd name="connsiteX15" fmla="*/ 157655 w 861848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224523 w 897186"/>
                  <a:gd name="connsiteY12" fmla="*/ 700668 h 1578283"/>
                  <a:gd name="connsiteX13" fmla="*/ 156207 w 897186"/>
                  <a:gd name="connsiteY13" fmla="*/ 973938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224523 w 897186"/>
                  <a:gd name="connsiteY12" fmla="*/ 700668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30167 w 897186"/>
                  <a:gd name="connsiteY12" fmla="*/ 687531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533 w 897186"/>
                  <a:gd name="connsiteY11" fmla="*/ 258387 h 1578283"/>
                  <a:gd name="connsiteX12" fmla="*/ 30167 w 897186"/>
                  <a:gd name="connsiteY12" fmla="*/ 687531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613407 w 897186"/>
                  <a:gd name="connsiteY3" fmla="*/ 1220931 h 1578283"/>
                  <a:gd name="connsiteX4" fmla="*/ 897186 w 897186"/>
                  <a:gd name="connsiteY4" fmla="*/ 973938 h 1578283"/>
                  <a:gd name="connsiteX5" fmla="*/ 350648 w 897186"/>
                  <a:gd name="connsiteY5" fmla="*/ 196173 h 1578283"/>
                  <a:gd name="connsiteX6" fmla="*/ 219270 w 897186"/>
                  <a:gd name="connsiteY6" fmla="*/ 133110 h 1578283"/>
                  <a:gd name="connsiteX7" fmla="*/ 132395 w 897186"/>
                  <a:gd name="connsiteY7" fmla="*/ 0 h 1578283"/>
                  <a:gd name="connsiteX8" fmla="*/ 69838 w 897186"/>
                  <a:gd name="connsiteY8" fmla="*/ 182160 h 1578283"/>
                  <a:gd name="connsiteX9" fmla="*/ 86215 w 897186"/>
                  <a:gd name="connsiteY9" fmla="*/ 255742 h 1578283"/>
                  <a:gd name="connsiteX10" fmla="*/ 16533 w 897186"/>
                  <a:gd name="connsiteY10" fmla="*/ 258387 h 1578283"/>
                  <a:gd name="connsiteX11" fmla="*/ 30167 w 897186"/>
                  <a:gd name="connsiteY11" fmla="*/ 687531 h 1578283"/>
                  <a:gd name="connsiteX12" fmla="*/ 134120 w 897186"/>
                  <a:gd name="connsiteY12" fmla="*/ 938907 h 1578283"/>
                  <a:gd name="connsiteX13" fmla="*/ 0 w 897186"/>
                  <a:gd name="connsiteY13" fmla="*/ 1306770 h 1578283"/>
                  <a:gd name="connsiteX14" fmla="*/ 192993 w 897186"/>
                  <a:gd name="connsiteY14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608989 w 897186"/>
                  <a:gd name="connsiteY3" fmla="*/ 1199037 h 1578283"/>
                  <a:gd name="connsiteX4" fmla="*/ 897186 w 897186"/>
                  <a:gd name="connsiteY4" fmla="*/ 973938 h 1578283"/>
                  <a:gd name="connsiteX5" fmla="*/ 350648 w 897186"/>
                  <a:gd name="connsiteY5" fmla="*/ 196173 h 1578283"/>
                  <a:gd name="connsiteX6" fmla="*/ 219270 w 897186"/>
                  <a:gd name="connsiteY6" fmla="*/ 133110 h 1578283"/>
                  <a:gd name="connsiteX7" fmla="*/ 132395 w 897186"/>
                  <a:gd name="connsiteY7" fmla="*/ 0 h 1578283"/>
                  <a:gd name="connsiteX8" fmla="*/ 69838 w 897186"/>
                  <a:gd name="connsiteY8" fmla="*/ 182160 h 1578283"/>
                  <a:gd name="connsiteX9" fmla="*/ 86215 w 897186"/>
                  <a:gd name="connsiteY9" fmla="*/ 255742 h 1578283"/>
                  <a:gd name="connsiteX10" fmla="*/ 16533 w 897186"/>
                  <a:gd name="connsiteY10" fmla="*/ 258387 h 1578283"/>
                  <a:gd name="connsiteX11" fmla="*/ 30167 w 897186"/>
                  <a:gd name="connsiteY11" fmla="*/ 687531 h 1578283"/>
                  <a:gd name="connsiteX12" fmla="*/ 134120 w 897186"/>
                  <a:gd name="connsiteY12" fmla="*/ 938907 h 1578283"/>
                  <a:gd name="connsiteX13" fmla="*/ 0 w 897186"/>
                  <a:gd name="connsiteY13" fmla="*/ 1306770 h 1578283"/>
                  <a:gd name="connsiteX14" fmla="*/ 192993 w 897186"/>
                  <a:gd name="connsiteY14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608989 w 897186"/>
                  <a:gd name="connsiteY2" fmla="*/ 1199037 h 1578283"/>
                  <a:gd name="connsiteX3" fmla="*/ 897186 w 897186"/>
                  <a:gd name="connsiteY3" fmla="*/ 973938 h 1578283"/>
                  <a:gd name="connsiteX4" fmla="*/ 350648 w 897186"/>
                  <a:gd name="connsiteY4" fmla="*/ 196173 h 1578283"/>
                  <a:gd name="connsiteX5" fmla="*/ 219270 w 897186"/>
                  <a:gd name="connsiteY5" fmla="*/ 133110 h 1578283"/>
                  <a:gd name="connsiteX6" fmla="*/ 132395 w 897186"/>
                  <a:gd name="connsiteY6" fmla="*/ 0 h 1578283"/>
                  <a:gd name="connsiteX7" fmla="*/ 69838 w 897186"/>
                  <a:gd name="connsiteY7" fmla="*/ 182160 h 1578283"/>
                  <a:gd name="connsiteX8" fmla="*/ 86215 w 897186"/>
                  <a:gd name="connsiteY8" fmla="*/ 255742 h 1578283"/>
                  <a:gd name="connsiteX9" fmla="*/ 16533 w 897186"/>
                  <a:gd name="connsiteY9" fmla="*/ 258387 h 1578283"/>
                  <a:gd name="connsiteX10" fmla="*/ 30167 w 897186"/>
                  <a:gd name="connsiteY10" fmla="*/ 687531 h 1578283"/>
                  <a:gd name="connsiteX11" fmla="*/ 134120 w 897186"/>
                  <a:gd name="connsiteY11" fmla="*/ 938907 h 1578283"/>
                  <a:gd name="connsiteX12" fmla="*/ 0 w 897186"/>
                  <a:gd name="connsiteY12" fmla="*/ 1306770 h 1578283"/>
                  <a:gd name="connsiteX13" fmla="*/ 192993 w 897186"/>
                  <a:gd name="connsiteY13" fmla="*/ 1578283 h 1578283"/>
                  <a:gd name="connsiteX0" fmla="*/ 162072 w 897186"/>
                  <a:gd name="connsiteY0" fmla="*/ 1547631 h 1547631"/>
                  <a:gd name="connsiteX1" fmla="*/ 471517 w 897186"/>
                  <a:gd name="connsiteY1" fmla="*/ 1326035 h 1547631"/>
                  <a:gd name="connsiteX2" fmla="*/ 608989 w 897186"/>
                  <a:gd name="connsiteY2" fmla="*/ 1199037 h 1547631"/>
                  <a:gd name="connsiteX3" fmla="*/ 897186 w 897186"/>
                  <a:gd name="connsiteY3" fmla="*/ 973938 h 1547631"/>
                  <a:gd name="connsiteX4" fmla="*/ 350648 w 897186"/>
                  <a:gd name="connsiteY4" fmla="*/ 196173 h 1547631"/>
                  <a:gd name="connsiteX5" fmla="*/ 219270 w 897186"/>
                  <a:gd name="connsiteY5" fmla="*/ 133110 h 1547631"/>
                  <a:gd name="connsiteX6" fmla="*/ 132395 w 897186"/>
                  <a:gd name="connsiteY6" fmla="*/ 0 h 1547631"/>
                  <a:gd name="connsiteX7" fmla="*/ 69838 w 897186"/>
                  <a:gd name="connsiteY7" fmla="*/ 182160 h 1547631"/>
                  <a:gd name="connsiteX8" fmla="*/ 86215 w 897186"/>
                  <a:gd name="connsiteY8" fmla="*/ 255742 h 1547631"/>
                  <a:gd name="connsiteX9" fmla="*/ 16533 w 897186"/>
                  <a:gd name="connsiteY9" fmla="*/ 258387 h 1547631"/>
                  <a:gd name="connsiteX10" fmla="*/ 30167 w 897186"/>
                  <a:gd name="connsiteY10" fmla="*/ 687531 h 1547631"/>
                  <a:gd name="connsiteX11" fmla="*/ 134120 w 897186"/>
                  <a:gd name="connsiteY11" fmla="*/ 938907 h 1547631"/>
                  <a:gd name="connsiteX12" fmla="*/ 0 w 897186"/>
                  <a:gd name="connsiteY12" fmla="*/ 1306770 h 1547631"/>
                  <a:gd name="connsiteX13" fmla="*/ 162072 w 897186"/>
                  <a:gd name="connsiteY13" fmla="*/ 1547631 h 1547631"/>
                  <a:gd name="connsiteX0" fmla="*/ 162072 w 897186"/>
                  <a:gd name="connsiteY0" fmla="*/ 1547631 h 1547631"/>
                  <a:gd name="connsiteX1" fmla="*/ 608989 w 897186"/>
                  <a:gd name="connsiteY1" fmla="*/ 1199037 h 1547631"/>
                  <a:gd name="connsiteX2" fmla="*/ 897186 w 897186"/>
                  <a:gd name="connsiteY2" fmla="*/ 973938 h 1547631"/>
                  <a:gd name="connsiteX3" fmla="*/ 350648 w 897186"/>
                  <a:gd name="connsiteY3" fmla="*/ 196173 h 1547631"/>
                  <a:gd name="connsiteX4" fmla="*/ 219270 w 897186"/>
                  <a:gd name="connsiteY4" fmla="*/ 133110 h 1547631"/>
                  <a:gd name="connsiteX5" fmla="*/ 132395 w 897186"/>
                  <a:gd name="connsiteY5" fmla="*/ 0 h 1547631"/>
                  <a:gd name="connsiteX6" fmla="*/ 69838 w 897186"/>
                  <a:gd name="connsiteY6" fmla="*/ 182160 h 1547631"/>
                  <a:gd name="connsiteX7" fmla="*/ 86215 w 897186"/>
                  <a:gd name="connsiteY7" fmla="*/ 255742 h 1547631"/>
                  <a:gd name="connsiteX8" fmla="*/ 16533 w 897186"/>
                  <a:gd name="connsiteY8" fmla="*/ 258387 h 1547631"/>
                  <a:gd name="connsiteX9" fmla="*/ 30167 w 897186"/>
                  <a:gd name="connsiteY9" fmla="*/ 687531 h 1547631"/>
                  <a:gd name="connsiteX10" fmla="*/ 134120 w 897186"/>
                  <a:gd name="connsiteY10" fmla="*/ 938907 h 1547631"/>
                  <a:gd name="connsiteX11" fmla="*/ 0 w 897186"/>
                  <a:gd name="connsiteY11" fmla="*/ 1306770 h 1547631"/>
                  <a:gd name="connsiteX12" fmla="*/ 162072 w 897186"/>
                  <a:gd name="connsiteY12" fmla="*/ 1547631 h 1547631"/>
                  <a:gd name="connsiteX0" fmla="*/ 162072 w 919272"/>
                  <a:gd name="connsiteY0" fmla="*/ 1547631 h 1547631"/>
                  <a:gd name="connsiteX1" fmla="*/ 608989 w 919272"/>
                  <a:gd name="connsiteY1" fmla="*/ 1199037 h 1547631"/>
                  <a:gd name="connsiteX2" fmla="*/ 919272 w 919272"/>
                  <a:gd name="connsiteY2" fmla="*/ 965181 h 1547631"/>
                  <a:gd name="connsiteX3" fmla="*/ 350648 w 919272"/>
                  <a:gd name="connsiteY3" fmla="*/ 196173 h 1547631"/>
                  <a:gd name="connsiteX4" fmla="*/ 219270 w 919272"/>
                  <a:gd name="connsiteY4" fmla="*/ 133110 h 1547631"/>
                  <a:gd name="connsiteX5" fmla="*/ 132395 w 919272"/>
                  <a:gd name="connsiteY5" fmla="*/ 0 h 1547631"/>
                  <a:gd name="connsiteX6" fmla="*/ 69838 w 919272"/>
                  <a:gd name="connsiteY6" fmla="*/ 182160 h 1547631"/>
                  <a:gd name="connsiteX7" fmla="*/ 86215 w 919272"/>
                  <a:gd name="connsiteY7" fmla="*/ 255742 h 1547631"/>
                  <a:gd name="connsiteX8" fmla="*/ 16533 w 919272"/>
                  <a:gd name="connsiteY8" fmla="*/ 258387 h 1547631"/>
                  <a:gd name="connsiteX9" fmla="*/ 30167 w 919272"/>
                  <a:gd name="connsiteY9" fmla="*/ 687531 h 1547631"/>
                  <a:gd name="connsiteX10" fmla="*/ 134120 w 919272"/>
                  <a:gd name="connsiteY10" fmla="*/ 938907 h 1547631"/>
                  <a:gd name="connsiteX11" fmla="*/ 0 w 919272"/>
                  <a:gd name="connsiteY11" fmla="*/ 1306770 h 1547631"/>
                  <a:gd name="connsiteX12" fmla="*/ 162072 w 919272"/>
                  <a:gd name="connsiteY12" fmla="*/ 1547631 h 1547631"/>
                  <a:gd name="connsiteX0" fmla="*/ 162072 w 919272"/>
                  <a:gd name="connsiteY0" fmla="*/ 1547631 h 1547631"/>
                  <a:gd name="connsiteX1" fmla="*/ 608989 w 919272"/>
                  <a:gd name="connsiteY1" fmla="*/ 1199037 h 1547631"/>
                  <a:gd name="connsiteX2" fmla="*/ 919272 w 919272"/>
                  <a:gd name="connsiteY2" fmla="*/ 965181 h 1547631"/>
                  <a:gd name="connsiteX3" fmla="*/ 341814 w 919272"/>
                  <a:gd name="connsiteY3" fmla="*/ 213687 h 1547631"/>
                  <a:gd name="connsiteX4" fmla="*/ 219270 w 919272"/>
                  <a:gd name="connsiteY4" fmla="*/ 133110 h 1547631"/>
                  <a:gd name="connsiteX5" fmla="*/ 132395 w 919272"/>
                  <a:gd name="connsiteY5" fmla="*/ 0 h 1547631"/>
                  <a:gd name="connsiteX6" fmla="*/ 69838 w 919272"/>
                  <a:gd name="connsiteY6" fmla="*/ 182160 h 1547631"/>
                  <a:gd name="connsiteX7" fmla="*/ 86215 w 919272"/>
                  <a:gd name="connsiteY7" fmla="*/ 255742 h 1547631"/>
                  <a:gd name="connsiteX8" fmla="*/ 16533 w 919272"/>
                  <a:gd name="connsiteY8" fmla="*/ 258387 h 1547631"/>
                  <a:gd name="connsiteX9" fmla="*/ 30167 w 919272"/>
                  <a:gd name="connsiteY9" fmla="*/ 687531 h 1547631"/>
                  <a:gd name="connsiteX10" fmla="*/ 134120 w 919272"/>
                  <a:gd name="connsiteY10" fmla="*/ 938907 h 1547631"/>
                  <a:gd name="connsiteX11" fmla="*/ 0 w 919272"/>
                  <a:gd name="connsiteY11" fmla="*/ 1306770 h 1547631"/>
                  <a:gd name="connsiteX12" fmla="*/ 162072 w 919272"/>
                  <a:gd name="connsiteY12" fmla="*/ 1547631 h 1547631"/>
                  <a:gd name="connsiteX0" fmla="*/ 162072 w 919272"/>
                  <a:gd name="connsiteY0" fmla="*/ 1446919 h 1446919"/>
                  <a:gd name="connsiteX1" fmla="*/ 608989 w 919272"/>
                  <a:gd name="connsiteY1" fmla="*/ 1098325 h 1446919"/>
                  <a:gd name="connsiteX2" fmla="*/ 919272 w 919272"/>
                  <a:gd name="connsiteY2" fmla="*/ 864469 h 1446919"/>
                  <a:gd name="connsiteX3" fmla="*/ 341814 w 919272"/>
                  <a:gd name="connsiteY3" fmla="*/ 112975 h 1446919"/>
                  <a:gd name="connsiteX4" fmla="*/ 219270 w 919272"/>
                  <a:gd name="connsiteY4" fmla="*/ 32398 h 1446919"/>
                  <a:gd name="connsiteX5" fmla="*/ 114725 w 919272"/>
                  <a:gd name="connsiteY5" fmla="*/ 0 h 1446919"/>
                  <a:gd name="connsiteX6" fmla="*/ 69838 w 919272"/>
                  <a:gd name="connsiteY6" fmla="*/ 81448 h 1446919"/>
                  <a:gd name="connsiteX7" fmla="*/ 86215 w 919272"/>
                  <a:gd name="connsiteY7" fmla="*/ 155030 h 1446919"/>
                  <a:gd name="connsiteX8" fmla="*/ 16533 w 919272"/>
                  <a:gd name="connsiteY8" fmla="*/ 157675 h 1446919"/>
                  <a:gd name="connsiteX9" fmla="*/ 30167 w 919272"/>
                  <a:gd name="connsiteY9" fmla="*/ 586819 h 1446919"/>
                  <a:gd name="connsiteX10" fmla="*/ 134120 w 919272"/>
                  <a:gd name="connsiteY10" fmla="*/ 838195 h 1446919"/>
                  <a:gd name="connsiteX11" fmla="*/ 0 w 919272"/>
                  <a:gd name="connsiteY11" fmla="*/ 1206058 h 1446919"/>
                  <a:gd name="connsiteX12" fmla="*/ 162072 w 919272"/>
                  <a:gd name="connsiteY12" fmla="*/ 1446919 h 1446919"/>
                  <a:gd name="connsiteX0" fmla="*/ 162072 w 919272"/>
                  <a:gd name="connsiteY0" fmla="*/ 1447432 h 1447432"/>
                  <a:gd name="connsiteX1" fmla="*/ 608989 w 919272"/>
                  <a:gd name="connsiteY1" fmla="*/ 1098838 h 1447432"/>
                  <a:gd name="connsiteX2" fmla="*/ 919272 w 919272"/>
                  <a:gd name="connsiteY2" fmla="*/ 864982 h 1447432"/>
                  <a:gd name="connsiteX3" fmla="*/ 341814 w 919272"/>
                  <a:gd name="connsiteY3" fmla="*/ 113488 h 1447432"/>
                  <a:gd name="connsiteX4" fmla="*/ 114725 w 919272"/>
                  <a:gd name="connsiteY4" fmla="*/ 513 h 1447432"/>
                  <a:gd name="connsiteX5" fmla="*/ 69838 w 919272"/>
                  <a:gd name="connsiteY5" fmla="*/ 81961 h 1447432"/>
                  <a:gd name="connsiteX6" fmla="*/ 86215 w 919272"/>
                  <a:gd name="connsiteY6" fmla="*/ 155543 h 1447432"/>
                  <a:gd name="connsiteX7" fmla="*/ 16533 w 919272"/>
                  <a:gd name="connsiteY7" fmla="*/ 158188 h 1447432"/>
                  <a:gd name="connsiteX8" fmla="*/ 30167 w 919272"/>
                  <a:gd name="connsiteY8" fmla="*/ 587332 h 1447432"/>
                  <a:gd name="connsiteX9" fmla="*/ 134120 w 919272"/>
                  <a:gd name="connsiteY9" fmla="*/ 838708 h 1447432"/>
                  <a:gd name="connsiteX10" fmla="*/ 0 w 919272"/>
                  <a:gd name="connsiteY10" fmla="*/ 1206571 h 1447432"/>
                  <a:gd name="connsiteX11" fmla="*/ 162072 w 919272"/>
                  <a:gd name="connsiteY11" fmla="*/ 1447432 h 1447432"/>
                  <a:gd name="connsiteX0" fmla="*/ 162072 w 919272"/>
                  <a:gd name="connsiteY0" fmla="*/ 1446919 h 1446919"/>
                  <a:gd name="connsiteX1" fmla="*/ 608989 w 919272"/>
                  <a:gd name="connsiteY1" fmla="*/ 1098325 h 1446919"/>
                  <a:gd name="connsiteX2" fmla="*/ 919272 w 919272"/>
                  <a:gd name="connsiteY2" fmla="*/ 864469 h 1446919"/>
                  <a:gd name="connsiteX3" fmla="*/ 341814 w 919272"/>
                  <a:gd name="connsiteY3" fmla="*/ 112975 h 1446919"/>
                  <a:gd name="connsiteX4" fmla="*/ 114725 w 919272"/>
                  <a:gd name="connsiteY4" fmla="*/ 0 h 1446919"/>
                  <a:gd name="connsiteX5" fmla="*/ 69838 w 919272"/>
                  <a:gd name="connsiteY5" fmla="*/ 81448 h 1446919"/>
                  <a:gd name="connsiteX6" fmla="*/ 86215 w 919272"/>
                  <a:gd name="connsiteY6" fmla="*/ 155030 h 1446919"/>
                  <a:gd name="connsiteX7" fmla="*/ 16533 w 919272"/>
                  <a:gd name="connsiteY7" fmla="*/ 157675 h 1446919"/>
                  <a:gd name="connsiteX8" fmla="*/ 30167 w 919272"/>
                  <a:gd name="connsiteY8" fmla="*/ 586819 h 1446919"/>
                  <a:gd name="connsiteX9" fmla="*/ 134120 w 919272"/>
                  <a:gd name="connsiteY9" fmla="*/ 838195 h 1446919"/>
                  <a:gd name="connsiteX10" fmla="*/ 0 w 919272"/>
                  <a:gd name="connsiteY10" fmla="*/ 1206058 h 1446919"/>
                  <a:gd name="connsiteX11" fmla="*/ 162072 w 919272"/>
                  <a:gd name="connsiteY11" fmla="*/ 1446919 h 1446919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30167 w 919272"/>
                  <a:gd name="connsiteY8" fmla="*/ 573683 h 1433783"/>
                  <a:gd name="connsiteX9" fmla="*/ 134120 w 919272"/>
                  <a:gd name="connsiteY9" fmla="*/ 825059 h 1433783"/>
                  <a:gd name="connsiteX10" fmla="*/ 0 w 919272"/>
                  <a:gd name="connsiteY10" fmla="*/ 1192922 h 1433783"/>
                  <a:gd name="connsiteX11" fmla="*/ 162072 w 919272"/>
                  <a:gd name="connsiteY11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30167 w 919272"/>
                  <a:gd name="connsiteY8" fmla="*/ 573683 h 1433783"/>
                  <a:gd name="connsiteX9" fmla="*/ 134120 w 919272"/>
                  <a:gd name="connsiteY9" fmla="*/ 825059 h 1433783"/>
                  <a:gd name="connsiteX10" fmla="*/ 0 w 919272"/>
                  <a:gd name="connsiteY10" fmla="*/ 1192922 h 1433783"/>
                  <a:gd name="connsiteX11" fmla="*/ 162072 w 919272"/>
                  <a:gd name="connsiteY11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351720 h 1433783"/>
                  <a:gd name="connsiteX9" fmla="*/ 30167 w 919272"/>
                  <a:gd name="connsiteY9" fmla="*/ 573683 h 1433783"/>
                  <a:gd name="connsiteX10" fmla="*/ 134120 w 919272"/>
                  <a:gd name="connsiteY10" fmla="*/ 825059 h 1433783"/>
                  <a:gd name="connsiteX11" fmla="*/ 0 w 919272"/>
                  <a:gd name="connsiteY11" fmla="*/ 1192922 h 1433783"/>
                  <a:gd name="connsiteX12" fmla="*/ 162072 w 919272"/>
                  <a:gd name="connsiteY12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251009 h 1433783"/>
                  <a:gd name="connsiteX9" fmla="*/ 30167 w 919272"/>
                  <a:gd name="connsiteY9" fmla="*/ 573683 h 1433783"/>
                  <a:gd name="connsiteX10" fmla="*/ 134120 w 919272"/>
                  <a:gd name="connsiteY10" fmla="*/ 825059 h 1433783"/>
                  <a:gd name="connsiteX11" fmla="*/ 0 w 919272"/>
                  <a:gd name="connsiteY11" fmla="*/ 1192922 h 1433783"/>
                  <a:gd name="connsiteX12" fmla="*/ 162072 w 919272"/>
                  <a:gd name="connsiteY12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251009 h 1433783"/>
                  <a:gd name="connsiteX9" fmla="*/ 26090 w 919272"/>
                  <a:gd name="connsiteY9" fmla="*/ 417403 h 1433783"/>
                  <a:gd name="connsiteX10" fmla="*/ 30167 w 919272"/>
                  <a:gd name="connsiteY10" fmla="*/ 573683 h 1433783"/>
                  <a:gd name="connsiteX11" fmla="*/ 134120 w 919272"/>
                  <a:gd name="connsiteY11" fmla="*/ 825059 h 1433783"/>
                  <a:gd name="connsiteX12" fmla="*/ 0 w 919272"/>
                  <a:gd name="connsiteY12" fmla="*/ 1192922 h 1433783"/>
                  <a:gd name="connsiteX13" fmla="*/ 162072 w 919272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65918 w 955023"/>
                  <a:gd name="connsiteY10" fmla="*/ 573683 h 1433783"/>
                  <a:gd name="connsiteX11" fmla="*/ 169871 w 955023"/>
                  <a:gd name="connsiteY11" fmla="*/ 825059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69871 w 955023"/>
                  <a:gd name="connsiteY11" fmla="*/ 825059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5023" h="1433783">
                    <a:moveTo>
                      <a:pt x="197823" y="1433783"/>
                    </a:moveTo>
                    <a:lnTo>
                      <a:pt x="644740" y="1085189"/>
                    </a:lnTo>
                    <a:lnTo>
                      <a:pt x="955023" y="851333"/>
                    </a:lnTo>
                    <a:lnTo>
                      <a:pt x="377565" y="99839"/>
                    </a:lnTo>
                    <a:cubicBezTo>
                      <a:pt x="234638" y="56472"/>
                      <a:pt x="178135" y="62178"/>
                      <a:pt x="128390" y="0"/>
                    </a:cubicBezTo>
                    <a:cubicBezTo>
                      <a:pt x="96859" y="9635"/>
                      <a:pt x="110341" y="875"/>
                      <a:pt x="105589" y="68312"/>
                    </a:cubicBezTo>
                    <a:lnTo>
                      <a:pt x="121966" y="141894"/>
                    </a:lnTo>
                    <a:lnTo>
                      <a:pt x="52284" y="144539"/>
                    </a:lnTo>
                    <a:cubicBezTo>
                      <a:pt x="51052" y="213599"/>
                      <a:pt x="49821" y="181949"/>
                      <a:pt x="48589" y="251009"/>
                    </a:cubicBezTo>
                    <a:lnTo>
                      <a:pt x="0" y="251009"/>
                    </a:lnTo>
                    <a:lnTo>
                      <a:pt x="79170" y="823273"/>
                    </a:lnTo>
                    <a:cubicBezTo>
                      <a:pt x="136518" y="888090"/>
                      <a:pt x="112295" y="856575"/>
                      <a:pt x="147784" y="895120"/>
                    </a:cubicBezTo>
                    <a:lnTo>
                      <a:pt x="35751" y="1192922"/>
                    </a:lnTo>
                    <a:lnTo>
                      <a:pt x="197823" y="1433783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G017.2">
                <a:extLst>
                  <a:ext uri="{FF2B5EF4-FFF2-40B4-BE49-F238E27FC236}">
                    <a16:creationId xmlns:a16="http://schemas.microsoft.com/office/drawing/2014/main" id="{D97AB4EF-12CF-4A02-A448-2DE0592E13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7403" y="166310"/>
                <a:ext cx="390212" cy="706229"/>
              </a:xfrm>
              <a:custGeom>
                <a:avLst/>
                <a:gdLst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89238 w 1420090"/>
                  <a:gd name="connsiteY12" fmla="*/ 1498023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420090 w 1420090"/>
                  <a:gd name="connsiteY0" fmla="*/ 47625 h 2104159"/>
                  <a:gd name="connsiteX1" fmla="*/ 965488 w 1420090"/>
                  <a:gd name="connsiteY1" fmla="*/ 0 h 2104159"/>
                  <a:gd name="connsiteX2" fmla="*/ 770659 w 1420090"/>
                  <a:gd name="connsiteY2" fmla="*/ 255443 h 2104159"/>
                  <a:gd name="connsiteX3" fmla="*/ 489238 w 1420090"/>
                  <a:gd name="connsiteY3" fmla="*/ 1082386 h 2104159"/>
                  <a:gd name="connsiteX4" fmla="*/ 415636 w 1420090"/>
                  <a:gd name="connsiteY4" fmla="*/ 1164648 h 2104159"/>
                  <a:gd name="connsiteX5" fmla="*/ 350693 w 1420090"/>
                  <a:gd name="connsiteY5" fmla="*/ 1342159 h 2104159"/>
                  <a:gd name="connsiteX6" fmla="*/ 251113 w 1420090"/>
                  <a:gd name="connsiteY6" fmla="*/ 1298863 h 2104159"/>
                  <a:gd name="connsiteX7" fmla="*/ 0 w 1420090"/>
                  <a:gd name="connsiteY7" fmla="*/ 1995920 h 2104159"/>
                  <a:gd name="connsiteX8" fmla="*/ 134215 w 1420090"/>
                  <a:gd name="connsiteY8" fmla="*/ 2039216 h 2104159"/>
                  <a:gd name="connsiteX9" fmla="*/ 116897 w 1420090"/>
                  <a:gd name="connsiteY9" fmla="*/ 2091170 h 2104159"/>
                  <a:gd name="connsiteX10" fmla="*/ 168852 w 1420090"/>
                  <a:gd name="connsiteY10" fmla="*/ 2104159 h 2104159"/>
                  <a:gd name="connsiteX11" fmla="*/ 411306 w 1420090"/>
                  <a:gd name="connsiteY11" fmla="*/ 1472045 h 2104159"/>
                  <a:gd name="connsiteX12" fmla="*/ 467590 w 1420090"/>
                  <a:gd name="connsiteY12" fmla="*/ 1407102 h 2104159"/>
                  <a:gd name="connsiteX13" fmla="*/ 588818 w 1420090"/>
                  <a:gd name="connsiteY13" fmla="*/ 1463386 h 2104159"/>
                  <a:gd name="connsiteX14" fmla="*/ 562840 w 1420090"/>
                  <a:gd name="connsiteY14" fmla="*/ 1532659 h 2104159"/>
                  <a:gd name="connsiteX15" fmla="*/ 757670 w 1420090"/>
                  <a:gd name="connsiteY15" fmla="*/ 1614920 h 2104159"/>
                  <a:gd name="connsiteX16" fmla="*/ 909204 w 1420090"/>
                  <a:gd name="connsiteY16" fmla="*/ 1814079 h 2104159"/>
                  <a:gd name="connsiteX17" fmla="*/ 1043420 w 1420090"/>
                  <a:gd name="connsiteY17" fmla="*/ 1705841 h 2104159"/>
                  <a:gd name="connsiteX18" fmla="*/ 930852 w 1420090"/>
                  <a:gd name="connsiteY18" fmla="*/ 1575955 h 2104159"/>
                  <a:gd name="connsiteX19" fmla="*/ 913534 w 1420090"/>
                  <a:gd name="connsiteY19" fmla="*/ 1454727 h 2104159"/>
                  <a:gd name="connsiteX20" fmla="*/ 956829 w 1420090"/>
                  <a:gd name="connsiteY20" fmla="*/ 1450398 h 2104159"/>
                  <a:gd name="connsiteX21" fmla="*/ 935181 w 1420090"/>
                  <a:gd name="connsiteY21" fmla="*/ 1307523 h 2104159"/>
                  <a:gd name="connsiteX22" fmla="*/ 891886 w 1420090"/>
                  <a:gd name="connsiteY22" fmla="*/ 1316182 h 2104159"/>
                  <a:gd name="connsiteX23" fmla="*/ 844261 w 1420090"/>
                  <a:gd name="connsiteY23" fmla="*/ 1004454 h 2104159"/>
                  <a:gd name="connsiteX24" fmla="*/ 904875 w 1420090"/>
                  <a:gd name="connsiteY24" fmla="*/ 1000125 h 2104159"/>
                  <a:gd name="connsiteX25" fmla="*/ 900545 w 1420090"/>
                  <a:gd name="connsiteY25" fmla="*/ 900545 h 2104159"/>
                  <a:gd name="connsiteX26" fmla="*/ 974147 w 1420090"/>
                  <a:gd name="connsiteY26" fmla="*/ 887557 h 2104159"/>
                  <a:gd name="connsiteX27" fmla="*/ 956829 w 1420090"/>
                  <a:gd name="connsiteY27" fmla="*/ 800966 h 2104159"/>
                  <a:gd name="connsiteX28" fmla="*/ 1056409 w 1420090"/>
                  <a:gd name="connsiteY28" fmla="*/ 454602 h 2104159"/>
                  <a:gd name="connsiteX29" fmla="*/ 1394113 w 1420090"/>
                  <a:gd name="connsiteY29" fmla="*/ 151534 h 2104159"/>
                  <a:gd name="connsiteX30" fmla="*/ 1420090 w 1420090"/>
                  <a:gd name="connsiteY30" fmla="*/ 47625 h 2104159"/>
                  <a:gd name="connsiteX0" fmla="*/ 1394113 w 1394113"/>
                  <a:gd name="connsiteY0" fmla="*/ 151534 h 2104159"/>
                  <a:gd name="connsiteX1" fmla="*/ 965488 w 1394113"/>
                  <a:gd name="connsiteY1" fmla="*/ 0 h 2104159"/>
                  <a:gd name="connsiteX2" fmla="*/ 770659 w 1394113"/>
                  <a:gd name="connsiteY2" fmla="*/ 255443 h 2104159"/>
                  <a:gd name="connsiteX3" fmla="*/ 489238 w 1394113"/>
                  <a:gd name="connsiteY3" fmla="*/ 1082386 h 2104159"/>
                  <a:gd name="connsiteX4" fmla="*/ 415636 w 1394113"/>
                  <a:gd name="connsiteY4" fmla="*/ 1164648 h 2104159"/>
                  <a:gd name="connsiteX5" fmla="*/ 350693 w 1394113"/>
                  <a:gd name="connsiteY5" fmla="*/ 1342159 h 2104159"/>
                  <a:gd name="connsiteX6" fmla="*/ 251113 w 1394113"/>
                  <a:gd name="connsiteY6" fmla="*/ 1298863 h 2104159"/>
                  <a:gd name="connsiteX7" fmla="*/ 0 w 1394113"/>
                  <a:gd name="connsiteY7" fmla="*/ 1995920 h 2104159"/>
                  <a:gd name="connsiteX8" fmla="*/ 134215 w 1394113"/>
                  <a:gd name="connsiteY8" fmla="*/ 2039216 h 2104159"/>
                  <a:gd name="connsiteX9" fmla="*/ 116897 w 1394113"/>
                  <a:gd name="connsiteY9" fmla="*/ 2091170 h 2104159"/>
                  <a:gd name="connsiteX10" fmla="*/ 168852 w 1394113"/>
                  <a:gd name="connsiteY10" fmla="*/ 2104159 h 2104159"/>
                  <a:gd name="connsiteX11" fmla="*/ 411306 w 1394113"/>
                  <a:gd name="connsiteY11" fmla="*/ 1472045 h 2104159"/>
                  <a:gd name="connsiteX12" fmla="*/ 467590 w 1394113"/>
                  <a:gd name="connsiteY12" fmla="*/ 1407102 h 2104159"/>
                  <a:gd name="connsiteX13" fmla="*/ 588818 w 1394113"/>
                  <a:gd name="connsiteY13" fmla="*/ 1463386 h 2104159"/>
                  <a:gd name="connsiteX14" fmla="*/ 562840 w 1394113"/>
                  <a:gd name="connsiteY14" fmla="*/ 1532659 h 2104159"/>
                  <a:gd name="connsiteX15" fmla="*/ 757670 w 1394113"/>
                  <a:gd name="connsiteY15" fmla="*/ 1614920 h 2104159"/>
                  <a:gd name="connsiteX16" fmla="*/ 909204 w 1394113"/>
                  <a:gd name="connsiteY16" fmla="*/ 1814079 h 2104159"/>
                  <a:gd name="connsiteX17" fmla="*/ 1043420 w 1394113"/>
                  <a:gd name="connsiteY17" fmla="*/ 1705841 h 2104159"/>
                  <a:gd name="connsiteX18" fmla="*/ 930852 w 1394113"/>
                  <a:gd name="connsiteY18" fmla="*/ 1575955 h 2104159"/>
                  <a:gd name="connsiteX19" fmla="*/ 913534 w 1394113"/>
                  <a:gd name="connsiteY19" fmla="*/ 1454727 h 2104159"/>
                  <a:gd name="connsiteX20" fmla="*/ 956829 w 1394113"/>
                  <a:gd name="connsiteY20" fmla="*/ 1450398 h 2104159"/>
                  <a:gd name="connsiteX21" fmla="*/ 935181 w 1394113"/>
                  <a:gd name="connsiteY21" fmla="*/ 1307523 h 2104159"/>
                  <a:gd name="connsiteX22" fmla="*/ 891886 w 1394113"/>
                  <a:gd name="connsiteY22" fmla="*/ 1316182 h 2104159"/>
                  <a:gd name="connsiteX23" fmla="*/ 844261 w 1394113"/>
                  <a:gd name="connsiteY23" fmla="*/ 1004454 h 2104159"/>
                  <a:gd name="connsiteX24" fmla="*/ 904875 w 1394113"/>
                  <a:gd name="connsiteY24" fmla="*/ 1000125 h 2104159"/>
                  <a:gd name="connsiteX25" fmla="*/ 900545 w 1394113"/>
                  <a:gd name="connsiteY25" fmla="*/ 900545 h 2104159"/>
                  <a:gd name="connsiteX26" fmla="*/ 974147 w 1394113"/>
                  <a:gd name="connsiteY26" fmla="*/ 887557 h 2104159"/>
                  <a:gd name="connsiteX27" fmla="*/ 956829 w 1394113"/>
                  <a:gd name="connsiteY27" fmla="*/ 800966 h 2104159"/>
                  <a:gd name="connsiteX28" fmla="*/ 1056409 w 1394113"/>
                  <a:gd name="connsiteY28" fmla="*/ 454602 h 2104159"/>
                  <a:gd name="connsiteX29" fmla="*/ 1394113 w 1394113"/>
                  <a:gd name="connsiteY29" fmla="*/ 151534 h 2104159"/>
                  <a:gd name="connsiteX0" fmla="*/ 1056409 w 1056409"/>
                  <a:gd name="connsiteY0" fmla="*/ 454602 h 2104159"/>
                  <a:gd name="connsiteX1" fmla="*/ 965488 w 1056409"/>
                  <a:gd name="connsiteY1" fmla="*/ 0 h 2104159"/>
                  <a:gd name="connsiteX2" fmla="*/ 770659 w 1056409"/>
                  <a:gd name="connsiteY2" fmla="*/ 255443 h 2104159"/>
                  <a:gd name="connsiteX3" fmla="*/ 489238 w 1056409"/>
                  <a:gd name="connsiteY3" fmla="*/ 1082386 h 2104159"/>
                  <a:gd name="connsiteX4" fmla="*/ 415636 w 1056409"/>
                  <a:gd name="connsiteY4" fmla="*/ 1164648 h 2104159"/>
                  <a:gd name="connsiteX5" fmla="*/ 350693 w 1056409"/>
                  <a:gd name="connsiteY5" fmla="*/ 1342159 h 2104159"/>
                  <a:gd name="connsiteX6" fmla="*/ 251113 w 1056409"/>
                  <a:gd name="connsiteY6" fmla="*/ 1298863 h 2104159"/>
                  <a:gd name="connsiteX7" fmla="*/ 0 w 1056409"/>
                  <a:gd name="connsiteY7" fmla="*/ 1995920 h 2104159"/>
                  <a:gd name="connsiteX8" fmla="*/ 134215 w 1056409"/>
                  <a:gd name="connsiteY8" fmla="*/ 2039216 h 2104159"/>
                  <a:gd name="connsiteX9" fmla="*/ 116897 w 1056409"/>
                  <a:gd name="connsiteY9" fmla="*/ 2091170 h 2104159"/>
                  <a:gd name="connsiteX10" fmla="*/ 168852 w 1056409"/>
                  <a:gd name="connsiteY10" fmla="*/ 2104159 h 2104159"/>
                  <a:gd name="connsiteX11" fmla="*/ 411306 w 1056409"/>
                  <a:gd name="connsiteY11" fmla="*/ 1472045 h 2104159"/>
                  <a:gd name="connsiteX12" fmla="*/ 467590 w 1056409"/>
                  <a:gd name="connsiteY12" fmla="*/ 1407102 h 2104159"/>
                  <a:gd name="connsiteX13" fmla="*/ 588818 w 1056409"/>
                  <a:gd name="connsiteY13" fmla="*/ 1463386 h 2104159"/>
                  <a:gd name="connsiteX14" fmla="*/ 562840 w 1056409"/>
                  <a:gd name="connsiteY14" fmla="*/ 1532659 h 2104159"/>
                  <a:gd name="connsiteX15" fmla="*/ 757670 w 1056409"/>
                  <a:gd name="connsiteY15" fmla="*/ 1614920 h 2104159"/>
                  <a:gd name="connsiteX16" fmla="*/ 909204 w 1056409"/>
                  <a:gd name="connsiteY16" fmla="*/ 1814079 h 2104159"/>
                  <a:gd name="connsiteX17" fmla="*/ 1043420 w 1056409"/>
                  <a:gd name="connsiteY17" fmla="*/ 1705841 h 2104159"/>
                  <a:gd name="connsiteX18" fmla="*/ 930852 w 1056409"/>
                  <a:gd name="connsiteY18" fmla="*/ 1575955 h 2104159"/>
                  <a:gd name="connsiteX19" fmla="*/ 913534 w 1056409"/>
                  <a:gd name="connsiteY19" fmla="*/ 1454727 h 2104159"/>
                  <a:gd name="connsiteX20" fmla="*/ 956829 w 1056409"/>
                  <a:gd name="connsiteY20" fmla="*/ 1450398 h 2104159"/>
                  <a:gd name="connsiteX21" fmla="*/ 935181 w 1056409"/>
                  <a:gd name="connsiteY21" fmla="*/ 1307523 h 2104159"/>
                  <a:gd name="connsiteX22" fmla="*/ 891886 w 1056409"/>
                  <a:gd name="connsiteY22" fmla="*/ 1316182 h 2104159"/>
                  <a:gd name="connsiteX23" fmla="*/ 844261 w 1056409"/>
                  <a:gd name="connsiteY23" fmla="*/ 1004454 h 2104159"/>
                  <a:gd name="connsiteX24" fmla="*/ 904875 w 1056409"/>
                  <a:gd name="connsiteY24" fmla="*/ 1000125 h 2104159"/>
                  <a:gd name="connsiteX25" fmla="*/ 900545 w 1056409"/>
                  <a:gd name="connsiteY25" fmla="*/ 900545 h 2104159"/>
                  <a:gd name="connsiteX26" fmla="*/ 974147 w 1056409"/>
                  <a:gd name="connsiteY26" fmla="*/ 887557 h 2104159"/>
                  <a:gd name="connsiteX27" fmla="*/ 956829 w 1056409"/>
                  <a:gd name="connsiteY27" fmla="*/ 800966 h 2104159"/>
                  <a:gd name="connsiteX28" fmla="*/ 1056409 w 1056409"/>
                  <a:gd name="connsiteY28" fmla="*/ 454602 h 2104159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09204 w 1056409"/>
                  <a:gd name="connsiteY15" fmla="*/ 1558636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09204 w 1056409"/>
                  <a:gd name="connsiteY15" fmla="*/ 1558636 h 1848716"/>
                  <a:gd name="connsiteX16" fmla="*/ 995795 w 1056409"/>
                  <a:gd name="connsiteY16" fmla="*/ 1394114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30851 w 1056409"/>
                  <a:gd name="connsiteY15" fmla="*/ 1558636 h 1848716"/>
                  <a:gd name="connsiteX16" fmla="*/ 995795 w 1056409"/>
                  <a:gd name="connsiteY16" fmla="*/ 1394114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30851 w 1056409"/>
                  <a:gd name="connsiteY15" fmla="*/ 1558636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17862 w 1056409"/>
                  <a:gd name="connsiteY15" fmla="*/ 1571624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56409" h="1848716">
                    <a:moveTo>
                      <a:pt x="1056409" y="199159"/>
                    </a:moveTo>
                    <a:lnTo>
                      <a:pt x="770659" y="0"/>
                    </a:lnTo>
                    <a:lnTo>
                      <a:pt x="489238" y="826943"/>
                    </a:lnTo>
                    <a:lnTo>
                      <a:pt x="415636" y="909205"/>
                    </a:lnTo>
                    <a:lnTo>
                      <a:pt x="350693" y="1086716"/>
                    </a:lnTo>
                    <a:lnTo>
                      <a:pt x="251113" y="1043420"/>
                    </a:lnTo>
                    <a:lnTo>
                      <a:pt x="0" y="1740477"/>
                    </a:lnTo>
                    <a:lnTo>
                      <a:pt x="134215" y="1783773"/>
                    </a:lnTo>
                    <a:lnTo>
                      <a:pt x="116897" y="1835727"/>
                    </a:lnTo>
                    <a:lnTo>
                      <a:pt x="168852" y="1848716"/>
                    </a:lnTo>
                    <a:lnTo>
                      <a:pt x="411306" y="1216602"/>
                    </a:lnTo>
                    <a:lnTo>
                      <a:pt x="467590" y="1151659"/>
                    </a:lnTo>
                    <a:lnTo>
                      <a:pt x="588818" y="1207943"/>
                    </a:lnTo>
                    <a:lnTo>
                      <a:pt x="562840" y="1277216"/>
                    </a:lnTo>
                    <a:lnTo>
                      <a:pt x="757670" y="1359477"/>
                    </a:lnTo>
                    <a:lnTo>
                      <a:pt x="917862" y="1571624"/>
                    </a:lnTo>
                    <a:lnTo>
                      <a:pt x="1043420" y="1450398"/>
                    </a:lnTo>
                    <a:lnTo>
                      <a:pt x="930852" y="1320512"/>
                    </a:lnTo>
                    <a:lnTo>
                      <a:pt x="913534" y="1199284"/>
                    </a:lnTo>
                    <a:lnTo>
                      <a:pt x="956829" y="1194955"/>
                    </a:lnTo>
                    <a:lnTo>
                      <a:pt x="935181" y="1052080"/>
                    </a:lnTo>
                    <a:lnTo>
                      <a:pt x="891886" y="1060739"/>
                    </a:lnTo>
                    <a:lnTo>
                      <a:pt x="844261" y="749011"/>
                    </a:lnTo>
                    <a:lnTo>
                      <a:pt x="904875" y="744682"/>
                    </a:lnTo>
                    <a:lnTo>
                      <a:pt x="900545" y="645102"/>
                    </a:lnTo>
                    <a:lnTo>
                      <a:pt x="974147" y="632114"/>
                    </a:lnTo>
                    <a:lnTo>
                      <a:pt x="956829" y="545523"/>
                    </a:lnTo>
                    <a:lnTo>
                      <a:pt x="1056409" y="19915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G006C">
                <a:extLst>
                  <a:ext uri="{FF2B5EF4-FFF2-40B4-BE49-F238E27FC236}">
                    <a16:creationId xmlns:a16="http://schemas.microsoft.com/office/drawing/2014/main" id="{ED9085C1-22BA-43F2-9826-850E50AA3D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672" y="193991"/>
                <a:ext cx="325148" cy="821890"/>
              </a:xfrm>
              <a:custGeom>
                <a:avLst/>
                <a:gdLst>
                  <a:gd name="connsiteX0" fmla="*/ 130629 w 870857"/>
                  <a:gd name="connsiteY0" fmla="*/ 2035629 h 2068286"/>
                  <a:gd name="connsiteX1" fmla="*/ 261257 w 870857"/>
                  <a:gd name="connsiteY1" fmla="*/ 2068286 h 2068286"/>
                  <a:gd name="connsiteX2" fmla="*/ 870857 w 870857"/>
                  <a:gd name="connsiteY2" fmla="*/ 315686 h 2068286"/>
                  <a:gd name="connsiteX3" fmla="*/ 772886 w 870857"/>
                  <a:gd name="connsiteY3" fmla="*/ 0 h 2068286"/>
                  <a:gd name="connsiteX4" fmla="*/ 250371 w 870857"/>
                  <a:gd name="connsiteY4" fmla="*/ 827315 h 2068286"/>
                  <a:gd name="connsiteX5" fmla="*/ 0 w 870857"/>
                  <a:gd name="connsiteY5" fmla="*/ 1611086 h 2068286"/>
                  <a:gd name="connsiteX6" fmla="*/ 130629 w 870857"/>
                  <a:gd name="connsiteY6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130629 w 883996"/>
                  <a:gd name="connsiteY7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141513 w 883996"/>
                  <a:gd name="connsiteY7" fmla="*/ 1861457 h 2068286"/>
                  <a:gd name="connsiteX8" fmla="*/ 130629 w 883996"/>
                  <a:gd name="connsiteY8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97970 w 883996"/>
                  <a:gd name="connsiteY7" fmla="*/ 1861457 h 2068286"/>
                  <a:gd name="connsiteX8" fmla="*/ 130629 w 883996"/>
                  <a:gd name="connsiteY8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32656 w 883996"/>
                  <a:gd name="connsiteY7" fmla="*/ 1850571 h 2068286"/>
                  <a:gd name="connsiteX8" fmla="*/ 130629 w 883996"/>
                  <a:gd name="connsiteY8" fmla="*/ 2035629 h 2068286"/>
                  <a:gd name="connsiteX0" fmla="*/ 152640 w 906007"/>
                  <a:gd name="connsiteY0" fmla="*/ 2035629 h 2068286"/>
                  <a:gd name="connsiteX1" fmla="*/ 283268 w 906007"/>
                  <a:gd name="connsiteY1" fmla="*/ 2068286 h 2068286"/>
                  <a:gd name="connsiteX2" fmla="*/ 892868 w 906007"/>
                  <a:gd name="connsiteY2" fmla="*/ 315686 h 2068286"/>
                  <a:gd name="connsiteX3" fmla="*/ 903753 w 906007"/>
                  <a:gd name="connsiteY3" fmla="*/ 163286 h 2068286"/>
                  <a:gd name="connsiteX4" fmla="*/ 794897 w 906007"/>
                  <a:gd name="connsiteY4" fmla="*/ 0 h 2068286"/>
                  <a:gd name="connsiteX5" fmla="*/ 272382 w 906007"/>
                  <a:gd name="connsiteY5" fmla="*/ 827315 h 2068286"/>
                  <a:gd name="connsiteX6" fmla="*/ 22011 w 906007"/>
                  <a:gd name="connsiteY6" fmla="*/ 1611086 h 2068286"/>
                  <a:gd name="connsiteX7" fmla="*/ 11123 w 906007"/>
                  <a:gd name="connsiteY7" fmla="*/ 1698171 h 2068286"/>
                  <a:gd name="connsiteX8" fmla="*/ 54667 w 906007"/>
                  <a:gd name="connsiteY8" fmla="*/ 1850571 h 2068286"/>
                  <a:gd name="connsiteX9" fmla="*/ 152640 w 906007"/>
                  <a:gd name="connsiteY9" fmla="*/ 2035629 h 2068286"/>
                  <a:gd name="connsiteX0" fmla="*/ 152640 w 892868"/>
                  <a:gd name="connsiteY0" fmla="*/ 2035629 h 2068286"/>
                  <a:gd name="connsiteX1" fmla="*/ 283268 w 892868"/>
                  <a:gd name="connsiteY1" fmla="*/ 2068286 h 2068286"/>
                  <a:gd name="connsiteX2" fmla="*/ 892868 w 892868"/>
                  <a:gd name="connsiteY2" fmla="*/ 315686 h 2068286"/>
                  <a:gd name="connsiteX3" fmla="*/ 860210 w 892868"/>
                  <a:gd name="connsiteY3" fmla="*/ 163286 h 2068286"/>
                  <a:gd name="connsiteX4" fmla="*/ 794897 w 892868"/>
                  <a:gd name="connsiteY4" fmla="*/ 0 h 2068286"/>
                  <a:gd name="connsiteX5" fmla="*/ 272382 w 892868"/>
                  <a:gd name="connsiteY5" fmla="*/ 827315 h 2068286"/>
                  <a:gd name="connsiteX6" fmla="*/ 22011 w 892868"/>
                  <a:gd name="connsiteY6" fmla="*/ 1611086 h 2068286"/>
                  <a:gd name="connsiteX7" fmla="*/ 11123 w 892868"/>
                  <a:gd name="connsiteY7" fmla="*/ 1698171 h 2068286"/>
                  <a:gd name="connsiteX8" fmla="*/ 54667 w 892868"/>
                  <a:gd name="connsiteY8" fmla="*/ 1850571 h 2068286"/>
                  <a:gd name="connsiteX9" fmla="*/ 152640 w 892868"/>
                  <a:gd name="connsiteY9" fmla="*/ 2035629 h 2068286"/>
                  <a:gd name="connsiteX0" fmla="*/ 152640 w 881982"/>
                  <a:gd name="connsiteY0" fmla="*/ 2035629 h 2068286"/>
                  <a:gd name="connsiteX1" fmla="*/ 283268 w 881982"/>
                  <a:gd name="connsiteY1" fmla="*/ 2068286 h 2068286"/>
                  <a:gd name="connsiteX2" fmla="*/ 881982 w 881982"/>
                  <a:gd name="connsiteY2" fmla="*/ 315686 h 2068286"/>
                  <a:gd name="connsiteX3" fmla="*/ 860210 w 881982"/>
                  <a:gd name="connsiteY3" fmla="*/ 163286 h 2068286"/>
                  <a:gd name="connsiteX4" fmla="*/ 794897 w 881982"/>
                  <a:gd name="connsiteY4" fmla="*/ 0 h 2068286"/>
                  <a:gd name="connsiteX5" fmla="*/ 272382 w 881982"/>
                  <a:gd name="connsiteY5" fmla="*/ 827315 h 2068286"/>
                  <a:gd name="connsiteX6" fmla="*/ 22011 w 881982"/>
                  <a:gd name="connsiteY6" fmla="*/ 1611086 h 2068286"/>
                  <a:gd name="connsiteX7" fmla="*/ 11123 w 881982"/>
                  <a:gd name="connsiteY7" fmla="*/ 1698171 h 2068286"/>
                  <a:gd name="connsiteX8" fmla="*/ 54667 w 881982"/>
                  <a:gd name="connsiteY8" fmla="*/ 1850571 h 2068286"/>
                  <a:gd name="connsiteX9" fmla="*/ 152640 w 881982"/>
                  <a:gd name="connsiteY9" fmla="*/ 2035629 h 2068286"/>
                  <a:gd name="connsiteX0" fmla="*/ 142103 w 881982"/>
                  <a:gd name="connsiteY0" fmla="*/ 2051489 h 2068286"/>
                  <a:gd name="connsiteX1" fmla="*/ 283268 w 881982"/>
                  <a:gd name="connsiteY1" fmla="*/ 2068286 h 2068286"/>
                  <a:gd name="connsiteX2" fmla="*/ 881982 w 881982"/>
                  <a:gd name="connsiteY2" fmla="*/ 315686 h 2068286"/>
                  <a:gd name="connsiteX3" fmla="*/ 860210 w 881982"/>
                  <a:gd name="connsiteY3" fmla="*/ 163286 h 2068286"/>
                  <a:gd name="connsiteX4" fmla="*/ 794897 w 881982"/>
                  <a:gd name="connsiteY4" fmla="*/ 0 h 2068286"/>
                  <a:gd name="connsiteX5" fmla="*/ 272382 w 881982"/>
                  <a:gd name="connsiteY5" fmla="*/ 827315 h 2068286"/>
                  <a:gd name="connsiteX6" fmla="*/ 22011 w 881982"/>
                  <a:gd name="connsiteY6" fmla="*/ 1611086 h 2068286"/>
                  <a:gd name="connsiteX7" fmla="*/ 11123 w 881982"/>
                  <a:gd name="connsiteY7" fmla="*/ 1698171 h 2068286"/>
                  <a:gd name="connsiteX8" fmla="*/ 54667 w 881982"/>
                  <a:gd name="connsiteY8" fmla="*/ 1850571 h 2068286"/>
                  <a:gd name="connsiteX9" fmla="*/ 142103 w 881982"/>
                  <a:gd name="connsiteY9" fmla="*/ 2051489 h 2068286"/>
                  <a:gd name="connsiteX0" fmla="*/ 142103 w 866176"/>
                  <a:gd name="connsiteY0" fmla="*/ 2051489 h 2068286"/>
                  <a:gd name="connsiteX1" fmla="*/ 283268 w 866176"/>
                  <a:gd name="connsiteY1" fmla="*/ 2068286 h 2068286"/>
                  <a:gd name="connsiteX2" fmla="*/ 866176 w 866176"/>
                  <a:gd name="connsiteY2" fmla="*/ 315686 h 2068286"/>
                  <a:gd name="connsiteX3" fmla="*/ 860210 w 866176"/>
                  <a:gd name="connsiteY3" fmla="*/ 163286 h 2068286"/>
                  <a:gd name="connsiteX4" fmla="*/ 794897 w 866176"/>
                  <a:gd name="connsiteY4" fmla="*/ 0 h 2068286"/>
                  <a:gd name="connsiteX5" fmla="*/ 272382 w 866176"/>
                  <a:gd name="connsiteY5" fmla="*/ 827315 h 2068286"/>
                  <a:gd name="connsiteX6" fmla="*/ 22011 w 866176"/>
                  <a:gd name="connsiteY6" fmla="*/ 1611086 h 2068286"/>
                  <a:gd name="connsiteX7" fmla="*/ 11123 w 866176"/>
                  <a:gd name="connsiteY7" fmla="*/ 1698171 h 2068286"/>
                  <a:gd name="connsiteX8" fmla="*/ 54667 w 866176"/>
                  <a:gd name="connsiteY8" fmla="*/ 1850571 h 2068286"/>
                  <a:gd name="connsiteX9" fmla="*/ 142103 w 866176"/>
                  <a:gd name="connsiteY9" fmla="*/ 2051489 h 2068286"/>
                  <a:gd name="connsiteX0" fmla="*/ 142103 w 876713"/>
                  <a:gd name="connsiteY0" fmla="*/ 2051489 h 2068286"/>
                  <a:gd name="connsiteX1" fmla="*/ 283268 w 876713"/>
                  <a:gd name="connsiteY1" fmla="*/ 2068286 h 2068286"/>
                  <a:gd name="connsiteX2" fmla="*/ 876713 w 876713"/>
                  <a:gd name="connsiteY2" fmla="*/ 326260 h 2068286"/>
                  <a:gd name="connsiteX3" fmla="*/ 860210 w 876713"/>
                  <a:gd name="connsiteY3" fmla="*/ 163286 h 2068286"/>
                  <a:gd name="connsiteX4" fmla="*/ 794897 w 876713"/>
                  <a:gd name="connsiteY4" fmla="*/ 0 h 2068286"/>
                  <a:gd name="connsiteX5" fmla="*/ 272382 w 876713"/>
                  <a:gd name="connsiteY5" fmla="*/ 827315 h 2068286"/>
                  <a:gd name="connsiteX6" fmla="*/ 22011 w 876713"/>
                  <a:gd name="connsiteY6" fmla="*/ 1611086 h 2068286"/>
                  <a:gd name="connsiteX7" fmla="*/ 11123 w 876713"/>
                  <a:gd name="connsiteY7" fmla="*/ 1698171 h 2068286"/>
                  <a:gd name="connsiteX8" fmla="*/ 54667 w 876713"/>
                  <a:gd name="connsiteY8" fmla="*/ 1850571 h 2068286"/>
                  <a:gd name="connsiteX9" fmla="*/ 142103 w 876713"/>
                  <a:gd name="connsiteY9" fmla="*/ 2051489 h 2068286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76713 w 876713"/>
                  <a:gd name="connsiteY2" fmla="*/ 299826 h 2041852"/>
                  <a:gd name="connsiteX3" fmla="*/ 860210 w 876713"/>
                  <a:gd name="connsiteY3" fmla="*/ 136852 h 2041852"/>
                  <a:gd name="connsiteX4" fmla="*/ 779091 w 876713"/>
                  <a:gd name="connsiteY4" fmla="*/ 0 h 2041852"/>
                  <a:gd name="connsiteX5" fmla="*/ 272382 w 876713"/>
                  <a:gd name="connsiteY5" fmla="*/ 800881 h 2041852"/>
                  <a:gd name="connsiteX6" fmla="*/ 22011 w 876713"/>
                  <a:gd name="connsiteY6" fmla="*/ 1584652 h 2041852"/>
                  <a:gd name="connsiteX7" fmla="*/ 11123 w 876713"/>
                  <a:gd name="connsiteY7" fmla="*/ 1671737 h 2041852"/>
                  <a:gd name="connsiteX8" fmla="*/ 54667 w 876713"/>
                  <a:gd name="connsiteY8" fmla="*/ 1824137 h 2041852"/>
                  <a:gd name="connsiteX9" fmla="*/ 142103 w 876713"/>
                  <a:gd name="connsiteY9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76713 w 876713"/>
                  <a:gd name="connsiteY2" fmla="*/ 299826 h 2041852"/>
                  <a:gd name="connsiteX3" fmla="*/ 844403 w 876713"/>
                  <a:gd name="connsiteY3" fmla="*/ 147426 h 2041852"/>
                  <a:gd name="connsiteX4" fmla="*/ 779091 w 876713"/>
                  <a:gd name="connsiteY4" fmla="*/ 0 h 2041852"/>
                  <a:gd name="connsiteX5" fmla="*/ 272382 w 876713"/>
                  <a:gd name="connsiteY5" fmla="*/ 800881 h 2041852"/>
                  <a:gd name="connsiteX6" fmla="*/ 22011 w 876713"/>
                  <a:gd name="connsiteY6" fmla="*/ 1584652 h 2041852"/>
                  <a:gd name="connsiteX7" fmla="*/ 11123 w 876713"/>
                  <a:gd name="connsiteY7" fmla="*/ 1671737 h 2041852"/>
                  <a:gd name="connsiteX8" fmla="*/ 54667 w 876713"/>
                  <a:gd name="connsiteY8" fmla="*/ 1824137 h 2041852"/>
                  <a:gd name="connsiteX9" fmla="*/ 142103 w 876713"/>
                  <a:gd name="connsiteY9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60155 w 876713"/>
                  <a:gd name="connsiteY2" fmla="*/ 378386 h 2041852"/>
                  <a:gd name="connsiteX3" fmla="*/ 876713 w 876713"/>
                  <a:gd name="connsiteY3" fmla="*/ 299826 h 2041852"/>
                  <a:gd name="connsiteX4" fmla="*/ 844403 w 876713"/>
                  <a:gd name="connsiteY4" fmla="*/ 147426 h 2041852"/>
                  <a:gd name="connsiteX5" fmla="*/ 779091 w 876713"/>
                  <a:gd name="connsiteY5" fmla="*/ 0 h 2041852"/>
                  <a:gd name="connsiteX6" fmla="*/ 272382 w 876713"/>
                  <a:gd name="connsiteY6" fmla="*/ 800881 h 2041852"/>
                  <a:gd name="connsiteX7" fmla="*/ 22011 w 876713"/>
                  <a:gd name="connsiteY7" fmla="*/ 1584652 h 2041852"/>
                  <a:gd name="connsiteX8" fmla="*/ 11123 w 876713"/>
                  <a:gd name="connsiteY8" fmla="*/ 1671737 h 2041852"/>
                  <a:gd name="connsiteX9" fmla="*/ 54667 w 876713"/>
                  <a:gd name="connsiteY9" fmla="*/ 1824137 h 2041852"/>
                  <a:gd name="connsiteX10" fmla="*/ 142103 w 876713"/>
                  <a:gd name="connsiteY10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60155 w 876713"/>
                  <a:gd name="connsiteY2" fmla="*/ 378386 h 2041852"/>
                  <a:gd name="connsiteX3" fmla="*/ 876713 w 876713"/>
                  <a:gd name="connsiteY3" fmla="*/ 283966 h 2041852"/>
                  <a:gd name="connsiteX4" fmla="*/ 844403 w 876713"/>
                  <a:gd name="connsiteY4" fmla="*/ 147426 h 2041852"/>
                  <a:gd name="connsiteX5" fmla="*/ 779091 w 876713"/>
                  <a:gd name="connsiteY5" fmla="*/ 0 h 2041852"/>
                  <a:gd name="connsiteX6" fmla="*/ 272382 w 876713"/>
                  <a:gd name="connsiteY6" fmla="*/ 800881 h 2041852"/>
                  <a:gd name="connsiteX7" fmla="*/ 22011 w 876713"/>
                  <a:gd name="connsiteY7" fmla="*/ 1584652 h 2041852"/>
                  <a:gd name="connsiteX8" fmla="*/ 11123 w 876713"/>
                  <a:gd name="connsiteY8" fmla="*/ 1671737 h 2041852"/>
                  <a:gd name="connsiteX9" fmla="*/ 54667 w 876713"/>
                  <a:gd name="connsiteY9" fmla="*/ 1824137 h 2041852"/>
                  <a:gd name="connsiteX10" fmla="*/ 142103 w 876713"/>
                  <a:gd name="connsiteY10" fmla="*/ 2025055 h 2041852"/>
                  <a:gd name="connsiteX0" fmla="*/ 136963 w 871573"/>
                  <a:gd name="connsiteY0" fmla="*/ 2025055 h 2041852"/>
                  <a:gd name="connsiteX1" fmla="*/ 278128 w 871573"/>
                  <a:gd name="connsiteY1" fmla="*/ 2041852 h 2041852"/>
                  <a:gd name="connsiteX2" fmla="*/ 855015 w 871573"/>
                  <a:gd name="connsiteY2" fmla="*/ 378386 h 2041852"/>
                  <a:gd name="connsiteX3" fmla="*/ 871573 w 871573"/>
                  <a:gd name="connsiteY3" fmla="*/ 283966 h 2041852"/>
                  <a:gd name="connsiteX4" fmla="*/ 839263 w 871573"/>
                  <a:gd name="connsiteY4" fmla="*/ 147426 h 2041852"/>
                  <a:gd name="connsiteX5" fmla="*/ 773951 w 871573"/>
                  <a:gd name="connsiteY5" fmla="*/ 0 h 2041852"/>
                  <a:gd name="connsiteX6" fmla="*/ 267242 w 871573"/>
                  <a:gd name="connsiteY6" fmla="*/ 800881 h 2041852"/>
                  <a:gd name="connsiteX7" fmla="*/ 16871 w 871573"/>
                  <a:gd name="connsiteY7" fmla="*/ 1584652 h 2041852"/>
                  <a:gd name="connsiteX8" fmla="*/ 21789 w 871573"/>
                  <a:gd name="connsiteY8" fmla="*/ 1671737 h 2041852"/>
                  <a:gd name="connsiteX9" fmla="*/ 49527 w 871573"/>
                  <a:gd name="connsiteY9" fmla="*/ 1824137 h 2041852"/>
                  <a:gd name="connsiteX10" fmla="*/ 136963 w 871573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84652 h 2041852"/>
                  <a:gd name="connsiteX8" fmla="*/ 8250 w 879109"/>
                  <a:gd name="connsiteY8" fmla="*/ 1671737 h 2041852"/>
                  <a:gd name="connsiteX9" fmla="*/ 57063 w 879109"/>
                  <a:gd name="connsiteY9" fmla="*/ 182413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84652 h 2041852"/>
                  <a:gd name="connsiteX8" fmla="*/ 8250 w 879109"/>
                  <a:gd name="connsiteY8" fmla="*/ 1671737 h 2041852"/>
                  <a:gd name="connsiteX9" fmla="*/ 57063 w 879109"/>
                  <a:gd name="connsiteY9" fmla="*/ 183999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63504 h 2041852"/>
                  <a:gd name="connsiteX8" fmla="*/ 8250 w 879109"/>
                  <a:gd name="connsiteY8" fmla="*/ 1671737 h 2041852"/>
                  <a:gd name="connsiteX9" fmla="*/ 57063 w 879109"/>
                  <a:gd name="connsiteY9" fmla="*/ 183999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44499 w 879109"/>
                  <a:gd name="connsiteY10" fmla="*/ 2025055 h 2211326"/>
                  <a:gd name="connsiteX0" fmla="*/ 156000 w 879109"/>
                  <a:gd name="connsiteY0" fmla="*/ 2170319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56000 w 879109"/>
                  <a:gd name="connsiteY10" fmla="*/ 2170319 h 2211326"/>
                  <a:gd name="connsiteX0" fmla="*/ 156000 w 879109"/>
                  <a:gd name="connsiteY0" fmla="*/ 2170319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56000 w 879109"/>
                  <a:gd name="connsiteY10" fmla="*/ 2170319 h 2211326"/>
                  <a:gd name="connsiteX0" fmla="*/ 158724 w 881833"/>
                  <a:gd name="connsiteY0" fmla="*/ 2170319 h 2211326"/>
                  <a:gd name="connsiteX1" fmla="*/ 242384 w 881833"/>
                  <a:gd name="connsiteY1" fmla="*/ 2211326 h 2211326"/>
                  <a:gd name="connsiteX2" fmla="*/ 865275 w 881833"/>
                  <a:gd name="connsiteY2" fmla="*/ 378386 h 2211326"/>
                  <a:gd name="connsiteX3" fmla="*/ 881833 w 881833"/>
                  <a:gd name="connsiteY3" fmla="*/ 283966 h 2211326"/>
                  <a:gd name="connsiteX4" fmla="*/ 849523 w 881833"/>
                  <a:gd name="connsiteY4" fmla="*/ 147426 h 2211326"/>
                  <a:gd name="connsiteX5" fmla="*/ 784211 w 881833"/>
                  <a:gd name="connsiteY5" fmla="*/ 0 h 2211326"/>
                  <a:gd name="connsiteX6" fmla="*/ 277502 w 881833"/>
                  <a:gd name="connsiteY6" fmla="*/ 800881 h 2211326"/>
                  <a:gd name="connsiteX7" fmla="*/ 27131 w 881833"/>
                  <a:gd name="connsiteY7" fmla="*/ 1563504 h 2211326"/>
                  <a:gd name="connsiteX8" fmla="*/ 5952 w 881833"/>
                  <a:gd name="connsiteY8" fmla="*/ 1634417 h 2211326"/>
                  <a:gd name="connsiteX9" fmla="*/ 59787 w 881833"/>
                  <a:gd name="connsiteY9" fmla="*/ 1839997 h 2211326"/>
                  <a:gd name="connsiteX10" fmla="*/ 158724 w 881833"/>
                  <a:gd name="connsiteY10" fmla="*/ 2170319 h 2211326"/>
                  <a:gd name="connsiteX0" fmla="*/ 161021 w 884130"/>
                  <a:gd name="connsiteY0" fmla="*/ 2170319 h 2211326"/>
                  <a:gd name="connsiteX1" fmla="*/ 244681 w 884130"/>
                  <a:gd name="connsiteY1" fmla="*/ 2211326 h 2211326"/>
                  <a:gd name="connsiteX2" fmla="*/ 867572 w 884130"/>
                  <a:gd name="connsiteY2" fmla="*/ 378386 h 2211326"/>
                  <a:gd name="connsiteX3" fmla="*/ 884130 w 884130"/>
                  <a:gd name="connsiteY3" fmla="*/ 283966 h 2211326"/>
                  <a:gd name="connsiteX4" fmla="*/ 851820 w 884130"/>
                  <a:gd name="connsiteY4" fmla="*/ 147426 h 2211326"/>
                  <a:gd name="connsiteX5" fmla="*/ 786508 w 884130"/>
                  <a:gd name="connsiteY5" fmla="*/ 0 h 2211326"/>
                  <a:gd name="connsiteX6" fmla="*/ 279799 w 884130"/>
                  <a:gd name="connsiteY6" fmla="*/ 800881 h 2211326"/>
                  <a:gd name="connsiteX7" fmla="*/ 24406 w 884130"/>
                  <a:gd name="connsiteY7" fmla="*/ 1520851 h 2211326"/>
                  <a:gd name="connsiteX8" fmla="*/ 8249 w 884130"/>
                  <a:gd name="connsiteY8" fmla="*/ 1634417 h 2211326"/>
                  <a:gd name="connsiteX9" fmla="*/ 62084 w 884130"/>
                  <a:gd name="connsiteY9" fmla="*/ 1839997 h 2211326"/>
                  <a:gd name="connsiteX10" fmla="*/ 161021 w 884130"/>
                  <a:gd name="connsiteY10" fmla="*/ 2170319 h 2211326"/>
                  <a:gd name="connsiteX0" fmla="*/ 145468 w 868577"/>
                  <a:gd name="connsiteY0" fmla="*/ 2170319 h 2211326"/>
                  <a:gd name="connsiteX1" fmla="*/ 229128 w 868577"/>
                  <a:gd name="connsiteY1" fmla="*/ 2211326 h 2211326"/>
                  <a:gd name="connsiteX2" fmla="*/ 852019 w 868577"/>
                  <a:gd name="connsiteY2" fmla="*/ 378386 h 2211326"/>
                  <a:gd name="connsiteX3" fmla="*/ 868577 w 868577"/>
                  <a:gd name="connsiteY3" fmla="*/ 283966 h 2211326"/>
                  <a:gd name="connsiteX4" fmla="*/ 836267 w 868577"/>
                  <a:gd name="connsiteY4" fmla="*/ 147426 h 2211326"/>
                  <a:gd name="connsiteX5" fmla="*/ 770955 w 868577"/>
                  <a:gd name="connsiteY5" fmla="*/ 0 h 2211326"/>
                  <a:gd name="connsiteX6" fmla="*/ 264246 w 868577"/>
                  <a:gd name="connsiteY6" fmla="*/ 800881 h 2211326"/>
                  <a:gd name="connsiteX7" fmla="*/ 8853 w 868577"/>
                  <a:gd name="connsiteY7" fmla="*/ 1520851 h 2211326"/>
                  <a:gd name="connsiteX8" fmla="*/ 73071 w 868577"/>
                  <a:gd name="connsiteY8" fmla="*/ 1639748 h 2211326"/>
                  <a:gd name="connsiteX9" fmla="*/ 46531 w 868577"/>
                  <a:gd name="connsiteY9" fmla="*/ 1839997 h 2211326"/>
                  <a:gd name="connsiteX10" fmla="*/ 145468 w 868577"/>
                  <a:gd name="connsiteY10" fmla="*/ 2170319 h 2211326"/>
                  <a:gd name="connsiteX0" fmla="*/ 166967 w 890076"/>
                  <a:gd name="connsiteY0" fmla="*/ 2170319 h 2211326"/>
                  <a:gd name="connsiteX1" fmla="*/ 250627 w 890076"/>
                  <a:gd name="connsiteY1" fmla="*/ 2211326 h 2211326"/>
                  <a:gd name="connsiteX2" fmla="*/ 873518 w 890076"/>
                  <a:gd name="connsiteY2" fmla="*/ 378386 h 2211326"/>
                  <a:gd name="connsiteX3" fmla="*/ 890076 w 890076"/>
                  <a:gd name="connsiteY3" fmla="*/ 283966 h 2211326"/>
                  <a:gd name="connsiteX4" fmla="*/ 857766 w 890076"/>
                  <a:gd name="connsiteY4" fmla="*/ 147426 h 2211326"/>
                  <a:gd name="connsiteX5" fmla="*/ 792454 w 890076"/>
                  <a:gd name="connsiteY5" fmla="*/ 0 h 2211326"/>
                  <a:gd name="connsiteX6" fmla="*/ 285745 w 890076"/>
                  <a:gd name="connsiteY6" fmla="*/ 800881 h 2211326"/>
                  <a:gd name="connsiteX7" fmla="*/ 30352 w 890076"/>
                  <a:gd name="connsiteY7" fmla="*/ 1520851 h 2211326"/>
                  <a:gd name="connsiteX8" fmla="*/ 4148 w 890076"/>
                  <a:gd name="connsiteY8" fmla="*/ 1639748 h 2211326"/>
                  <a:gd name="connsiteX9" fmla="*/ 68030 w 890076"/>
                  <a:gd name="connsiteY9" fmla="*/ 1839997 h 2211326"/>
                  <a:gd name="connsiteX10" fmla="*/ 166967 w 890076"/>
                  <a:gd name="connsiteY10" fmla="*/ 2170319 h 2211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0076" h="2211326">
                    <a:moveTo>
                      <a:pt x="166967" y="2170319"/>
                    </a:moveTo>
                    <a:lnTo>
                      <a:pt x="250627" y="2211326"/>
                    </a:lnTo>
                    <a:lnTo>
                      <a:pt x="873518" y="378386"/>
                    </a:lnTo>
                    <a:lnTo>
                      <a:pt x="890076" y="283966"/>
                    </a:lnTo>
                    <a:cubicBezTo>
                      <a:pt x="879190" y="225909"/>
                      <a:pt x="868652" y="205483"/>
                      <a:pt x="857766" y="147426"/>
                    </a:cubicBezTo>
                    <a:lnTo>
                      <a:pt x="792454" y="0"/>
                    </a:lnTo>
                    <a:lnTo>
                      <a:pt x="285745" y="800881"/>
                    </a:lnTo>
                    <a:lnTo>
                      <a:pt x="30352" y="1520851"/>
                    </a:lnTo>
                    <a:cubicBezTo>
                      <a:pt x="-7748" y="1665994"/>
                      <a:pt x="-1295" y="1599834"/>
                      <a:pt x="4148" y="1639748"/>
                    </a:cubicBezTo>
                    <a:cubicBezTo>
                      <a:pt x="9591" y="1679662"/>
                      <a:pt x="49887" y="1783754"/>
                      <a:pt x="68030" y="1839997"/>
                    </a:cubicBezTo>
                    <a:cubicBezTo>
                      <a:pt x="101009" y="1950104"/>
                      <a:pt x="151239" y="2048107"/>
                      <a:pt x="166967" y="2170319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" name="G006">
                <a:extLst>
                  <a:ext uri="{FF2B5EF4-FFF2-40B4-BE49-F238E27FC236}">
                    <a16:creationId xmlns:a16="http://schemas.microsoft.com/office/drawing/2014/main" id="{0CC25816-E2D5-4CB2-AB31-8D66450F40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5230" y="595343"/>
                <a:ext cx="342562" cy="577282"/>
              </a:xfrm>
              <a:custGeom>
                <a:avLst/>
                <a:gdLst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44286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39704 w 1055914"/>
                  <a:gd name="connsiteY2" fmla="*/ 606688 h 2166257"/>
                  <a:gd name="connsiteX3" fmla="*/ 1055914 w 1055914"/>
                  <a:gd name="connsiteY3" fmla="*/ 522514 h 2166257"/>
                  <a:gd name="connsiteX4" fmla="*/ 849085 w 1055914"/>
                  <a:gd name="connsiteY4" fmla="*/ 65315 h 2166257"/>
                  <a:gd name="connsiteX5" fmla="*/ 674914 w 1055914"/>
                  <a:gd name="connsiteY5" fmla="*/ 0 h 2166257"/>
                  <a:gd name="connsiteX6" fmla="*/ 0 w 1055914"/>
                  <a:gd name="connsiteY6" fmla="*/ 1937657 h 2166257"/>
                  <a:gd name="connsiteX0" fmla="*/ 0 w 1039704"/>
                  <a:gd name="connsiteY0" fmla="*/ 1937657 h 2166257"/>
                  <a:gd name="connsiteX1" fmla="*/ 522514 w 1039704"/>
                  <a:gd name="connsiteY1" fmla="*/ 2166257 h 2166257"/>
                  <a:gd name="connsiteX2" fmla="*/ 1039704 w 1039704"/>
                  <a:gd name="connsiteY2" fmla="*/ 606688 h 2166257"/>
                  <a:gd name="connsiteX3" fmla="*/ 1024248 w 1039704"/>
                  <a:gd name="connsiteY3" fmla="*/ 506658 h 2166257"/>
                  <a:gd name="connsiteX4" fmla="*/ 849085 w 1039704"/>
                  <a:gd name="connsiteY4" fmla="*/ 65315 h 2166257"/>
                  <a:gd name="connsiteX5" fmla="*/ 674914 w 1039704"/>
                  <a:gd name="connsiteY5" fmla="*/ 0 h 2166257"/>
                  <a:gd name="connsiteX6" fmla="*/ 0 w 1039704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49085 w 1045359"/>
                  <a:gd name="connsiteY4" fmla="*/ 65315 h 2166257"/>
                  <a:gd name="connsiteX5" fmla="*/ 674914 w 1045359"/>
                  <a:gd name="connsiteY5" fmla="*/ 0 h 2166257"/>
                  <a:gd name="connsiteX6" fmla="*/ 0 w 1045359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923595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33252 w 1045359"/>
                  <a:gd name="connsiteY5" fmla="*/ 49458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81374 w 1045359"/>
                  <a:gd name="connsiteY4" fmla="*/ 210284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91930 w 1045359"/>
                  <a:gd name="connsiteY4" fmla="*/ 204998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0 w 1045359"/>
                  <a:gd name="connsiteY7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40900 w 1045359"/>
                  <a:gd name="connsiteY7" fmla="*/ 1564857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95803 w 1045359"/>
                  <a:gd name="connsiteY7" fmla="*/ 1190995 h 2161895"/>
                  <a:gd name="connsiteX8" fmla="*/ 119783 w 1045359"/>
                  <a:gd name="connsiteY8" fmla="*/ 1366930 h 2161895"/>
                  <a:gd name="connsiteX9" fmla="*/ 0 w 1045359"/>
                  <a:gd name="connsiteY9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57793 w 1045359"/>
                  <a:gd name="connsiteY7" fmla="*/ 1371328 h 2161895"/>
                  <a:gd name="connsiteX8" fmla="*/ 119783 w 1045359"/>
                  <a:gd name="connsiteY8" fmla="*/ 1366930 h 2161895"/>
                  <a:gd name="connsiteX9" fmla="*/ 0 w 1045359"/>
                  <a:gd name="connsiteY9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33252 w 1045359"/>
                  <a:gd name="connsiteY4" fmla="*/ 75885 h 2161895"/>
                  <a:gd name="connsiteX5" fmla="*/ 680192 w 1045359"/>
                  <a:gd name="connsiteY5" fmla="*/ 0 h 2161895"/>
                  <a:gd name="connsiteX6" fmla="*/ 157793 w 1045359"/>
                  <a:gd name="connsiteY6" fmla="*/ 1371328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900336 w 1045359"/>
                  <a:gd name="connsiteY2" fmla="*/ 1072952 h 2161895"/>
                  <a:gd name="connsiteX3" fmla="*/ 1045359 w 1045359"/>
                  <a:gd name="connsiteY3" fmla="*/ 517229 h 2161895"/>
                  <a:gd name="connsiteX4" fmla="*/ 833252 w 1045359"/>
                  <a:gd name="connsiteY4" fmla="*/ 75885 h 2161895"/>
                  <a:gd name="connsiteX5" fmla="*/ 680192 w 1045359"/>
                  <a:gd name="connsiteY5" fmla="*/ 0 h 2161895"/>
                  <a:gd name="connsiteX6" fmla="*/ 157793 w 1045359"/>
                  <a:gd name="connsiteY6" fmla="*/ 1371328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900336"/>
                  <a:gd name="connsiteY0" fmla="*/ 1964084 h 2161895"/>
                  <a:gd name="connsiteX1" fmla="*/ 514068 w 900336"/>
                  <a:gd name="connsiteY1" fmla="*/ 2161895 h 2161895"/>
                  <a:gd name="connsiteX2" fmla="*/ 900336 w 900336"/>
                  <a:gd name="connsiteY2" fmla="*/ 1072952 h 2161895"/>
                  <a:gd name="connsiteX3" fmla="*/ 732836 w 900336"/>
                  <a:gd name="connsiteY3" fmla="*/ 882295 h 2161895"/>
                  <a:gd name="connsiteX4" fmla="*/ 833252 w 900336"/>
                  <a:gd name="connsiteY4" fmla="*/ 75885 h 2161895"/>
                  <a:gd name="connsiteX5" fmla="*/ 680192 w 900336"/>
                  <a:gd name="connsiteY5" fmla="*/ 0 h 2161895"/>
                  <a:gd name="connsiteX6" fmla="*/ 157793 w 900336"/>
                  <a:gd name="connsiteY6" fmla="*/ 1371328 h 2161895"/>
                  <a:gd name="connsiteX7" fmla="*/ 119783 w 900336"/>
                  <a:gd name="connsiteY7" fmla="*/ 1366930 h 2161895"/>
                  <a:gd name="connsiteX8" fmla="*/ 0 w 900336"/>
                  <a:gd name="connsiteY8" fmla="*/ 1964084 h 2161895"/>
                  <a:gd name="connsiteX0" fmla="*/ 0 w 900336"/>
                  <a:gd name="connsiteY0" fmla="*/ 1964084 h 2161895"/>
                  <a:gd name="connsiteX1" fmla="*/ 514068 w 900336"/>
                  <a:gd name="connsiteY1" fmla="*/ 2161895 h 2161895"/>
                  <a:gd name="connsiteX2" fmla="*/ 900336 w 900336"/>
                  <a:gd name="connsiteY2" fmla="*/ 1072952 h 2161895"/>
                  <a:gd name="connsiteX3" fmla="*/ 732836 w 900336"/>
                  <a:gd name="connsiteY3" fmla="*/ 882295 h 2161895"/>
                  <a:gd name="connsiteX4" fmla="*/ 529175 w 900336"/>
                  <a:gd name="connsiteY4" fmla="*/ 784024 h 2161895"/>
                  <a:gd name="connsiteX5" fmla="*/ 680192 w 900336"/>
                  <a:gd name="connsiteY5" fmla="*/ 0 h 2161895"/>
                  <a:gd name="connsiteX6" fmla="*/ 157793 w 900336"/>
                  <a:gd name="connsiteY6" fmla="*/ 1371328 h 2161895"/>
                  <a:gd name="connsiteX7" fmla="*/ 119783 w 900336"/>
                  <a:gd name="connsiteY7" fmla="*/ 1366930 h 2161895"/>
                  <a:gd name="connsiteX8" fmla="*/ 0 w 900336"/>
                  <a:gd name="connsiteY8" fmla="*/ 1964084 h 2161895"/>
                  <a:gd name="connsiteX0" fmla="*/ 0 w 900336"/>
                  <a:gd name="connsiteY0" fmla="*/ 1233953 h 1431764"/>
                  <a:gd name="connsiteX1" fmla="*/ 514068 w 900336"/>
                  <a:gd name="connsiteY1" fmla="*/ 1431764 h 1431764"/>
                  <a:gd name="connsiteX2" fmla="*/ 900336 w 900336"/>
                  <a:gd name="connsiteY2" fmla="*/ 342821 h 1431764"/>
                  <a:gd name="connsiteX3" fmla="*/ 732836 w 900336"/>
                  <a:gd name="connsiteY3" fmla="*/ 152164 h 1431764"/>
                  <a:gd name="connsiteX4" fmla="*/ 529175 w 900336"/>
                  <a:gd name="connsiteY4" fmla="*/ 53893 h 1431764"/>
                  <a:gd name="connsiteX5" fmla="*/ 401455 w 900336"/>
                  <a:gd name="connsiteY5" fmla="*/ 0 h 1431764"/>
                  <a:gd name="connsiteX6" fmla="*/ 157793 w 900336"/>
                  <a:gd name="connsiteY6" fmla="*/ 641197 h 1431764"/>
                  <a:gd name="connsiteX7" fmla="*/ 119783 w 900336"/>
                  <a:gd name="connsiteY7" fmla="*/ 636799 h 1431764"/>
                  <a:gd name="connsiteX8" fmla="*/ 0 w 900336"/>
                  <a:gd name="connsiteY8" fmla="*/ 1233953 h 1431764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558738 w 900336"/>
                  <a:gd name="connsiteY4" fmla="*/ 0 h 1443846"/>
                  <a:gd name="connsiteX5" fmla="*/ 401455 w 900336"/>
                  <a:gd name="connsiteY5" fmla="*/ 12082 h 1443846"/>
                  <a:gd name="connsiteX6" fmla="*/ 157793 w 900336"/>
                  <a:gd name="connsiteY6" fmla="*/ 653279 h 1443846"/>
                  <a:gd name="connsiteX7" fmla="*/ 119783 w 900336"/>
                  <a:gd name="connsiteY7" fmla="*/ 648881 h 1443846"/>
                  <a:gd name="connsiteX8" fmla="*/ 0 w 900336"/>
                  <a:gd name="connsiteY8" fmla="*/ 1246035 h 1443846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635026 w 900336"/>
                  <a:gd name="connsiteY4" fmla="*/ 72693 h 1443846"/>
                  <a:gd name="connsiteX5" fmla="*/ 558738 w 900336"/>
                  <a:gd name="connsiteY5" fmla="*/ 0 h 1443846"/>
                  <a:gd name="connsiteX6" fmla="*/ 401455 w 900336"/>
                  <a:gd name="connsiteY6" fmla="*/ 12082 h 1443846"/>
                  <a:gd name="connsiteX7" fmla="*/ 157793 w 900336"/>
                  <a:gd name="connsiteY7" fmla="*/ 653279 h 1443846"/>
                  <a:gd name="connsiteX8" fmla="*/ 119783 w 900336"/>
                  <a:gd name="connsiteY8" fmla="*/ 648881 h 1443846"/>
                  <a:gd name="connsiteX9" fmla="*/ 0 w 900336"/>
                  <a:gd name="connsiteY9" fmla="*/ 1246035 h 1443846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537890 w 900336"/>
                  <a:gd name="connsiteY4" fmla="*/ 59498 h 1443846"/>
                  <a:gd name="connsiteX5" fmla="*/ 558738 w 900336"/>
                  <a:gd name="connsiteY5" fmla="*/ 0 h 1443846"/>
                  <a:gd name="connsiteX6" fmla="*/ 401455 w 900336"/>
                  <a:gd name="connsiteY6" fmla="*/ 12082 h 1443846"/>
                  <a:gd name="connsiteX7" fmla="*/ 157793 w 900336"/>
                  <a:gd name="connsiteY7" fmla="*/ 653279 h 1443846"/>
                  <a:gd name="connsiteX8" fmla="*/ 119783 w 900336"/>
                  <a:gd name="connsiteY8" fmla="*/ 648881 h 1443846"/>
                  <a:gd name="connsiteX9" fmla="*/ 0 w 900336"/>
                  <a:gd name="connsiteY9" fmla="*/ 1246035 h 1443846"/>
                  <a:gd name="connsiteX0" fmla="*/ 0 w 881736"/>
                  <a:gd name="connsiteY0" fmla="*/ 1246035 h 1443846"/>
                  <a:gd name="connsiteX1" fmla="*/ 514068 w 881736"/>
                  <a:gd name="connsiteY1" fmla="*/ 1443846 h 1443846"/>
                  <a:gd name="connsiteX2" fmla="*/ 881736 w 881736"/>
                  <a:gd name="connsiteY2" fmla="*/ 376676 h 1443846"/>
                  <a:gd name="connsiteX3" fmla="*/ 732836 w 881736"/>
                  <a:gd name="connsiteY3" fmla="*/ 164246 h 1443846"/>
                  <a:gd name="connsiteX4" fmla="*/ 537890 w 881736"/>
                  <a:gd name="connsiteY4" fmla="*/ 59498 h 1443846"/>
                  <a:gd name="connsiteX5" fmla="*/ 558738 w 881736"/>
                  <a:gd name="connsiteY5" fmla="*/ 0 h 1443846"/>
                  <a:gd name="connsiteX6" fmla="*/ 401455 w 881736"/>
                  <a:gd name="connsiteY6" fmla="*/ 12082 h 1443846"/>
                  <a:gd name="connsiteX7" fmla="*/ 157793 w 881736"/>
                  <a:gd name="connsiteY7" fmla="*/ 653279 h 1443846"/>
                  <a:gd name="connsiteX8" fmla="*/ 119783 w 881736"/>
                  <a:gd name="connsiteY8" fmla="*/ 648881 h 1443846"/>
                  <a:gd name="connsiteX9" fmla="*/ 0 w 881736"/>
                  <a:gd name="connsiteY9" fmla="*/ 1246035 h 1443846"/>
                  <a:gd name="connsiteX0" fmla="*/ 0 w 881736"/>
                  <a:gd name="connsiteY0" fmla="*/ 1246035 h 1443846"/>
                  <a:gd name="connsiteX1" fmla="*/ 514068 w 881736"/>
                  <a:gd name="connsiteY1" fmla="*/ 1443846 h 1443846"/>
                  <a:gd name="connsiteX2" fmla="*/ 881736 w 881736"/>
                  <a:gd name="connsiteY2" fmla="*/ 376676 h 1443846"/>
                  <a:gd name="connsiteX3" fmla="*/ 732836 w 881736"/>
                  <a:gd name="connsiteY3" fmla="*/ 164246 h 1443846"/>
                  <a:gd name="connsiteX4" fmla="*/ 537890 w 881736"/>
                  <a:gd name="connsiteY4" fmla="*/ 59498 h 1443846"/>
                  <a:gd name="connsiteX5" fmla="*/ 558738 w 881736"/>
                  <a:gd name="connsiteY5" fmla="*/ 0 h 1443846"/>
                  <a:gd name="connsiteX6" fmla="*/ 462938 w 881736"/>
                  <a:gd name="connsiteY6" fmla="*/ 6497 h 1443846"/>
                  <a:gd name="connsiteX7" fmla="*/ 401455 w 881736"/>
                  <a:gd name="connsiteY7" fmla="*/ 12082 h 1443846"/>
                  <a:gd name="connsiteX8" fmla="*/ 157793 w 881736"/>
                  <a:gd name="connsiteY8" fmla="*/ 653279 h 1443846"/>
                  <a:gd name="connsiteX9" fmla="*/ 119783 w 881736"/>
                  <a:gd name="connsiteY9" fmla="*/ 648881 h 1443846"/>
                  <a:gd name="connsiteX10" fmla="*/ 0 w 881736"/>
                  <a:gd name="connsiteY10" fmla="*/ 1246035 h 1443846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7890 w 881736"/>
                  <a:gd name="connsiteY4" fmla="*/ 118317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15807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736" h="1502665">
                    <a:moveTo>
                      <a:pt x="0" y="1304854"/>
                    </a:moveTo>
                    <a:lnTo>
                      <a:pt x="514068" y="1502665"/>
                    </a:lnTo>
                    <a:lnTo>
                      <a:pt x="881736" y="435495"/>
                    </a:lnTo>
                    <a:lnTo>
                      <a:pt x="732836" y="215807"/>
                    </a:lnTo>
                    <a:cubicBezTo>
                      <a:pt x="676993" y="185705"/>
                      <a:pt x="573881" y="143271"/>
                      <a:pt x="533240" y="125574"/>
                    </a:cubicBezTo>
                    <a:cubicBezTo>
                      <a:pt x="539099" y="103037"/>
                      <a:pt x="550305" y="87005"/>
                      <a:pt x="558738" y="58819"/>
                    </a:cubicBezTo>
                    <a:lnTo>
                      <a:pt x="442013" y="0"/>
                    </a:lnTo>
                    <a:lnTo>
                      <a:pt x="394480" y="61224"/>
                    </a:lnTo>
                    <a:lnTo>
                      <a:pt x="157793" y="712098"/>
                    </a:lnTo>
                    <a:lnTo>
                      <a:pt x="119783" y="707700"/>
                    </a:lnTo>
                    <a:lnTo>
                      <a:pt x="0" y="1304854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T103S">
                <a:extLst>
                  <a:ext uri="{FF2B5EF4-FFF2-40B4-BE49-F238E27FC236}">
                    <a16:creationId xmlns:a16="http://schemas.microsoft.com/office/drawing/2014/main" id="{F3CEA08A-261D-472E-AFFB-8675869E819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3437" y="368242"/>
                <a:ext cx="383033" cy="806437"/>
              </a:xfrm>
              <a:custGeom>
                <a:avLst/>
                <a:gdLst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44286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39704 w 1055914"/>
                  <a:gd name="connsiteY2" fmla="*/ 606688 h 2166257"/>
                  <a:gd name="connsiteX3" fmla="*/ 1055914 w 1055914"/>
                  <a:gd name="connsiteY3" fmla="*/ 522514 h 2166257"/>
                  <a:gd name="connsiteX4" fmla="*/ 849085 w 1055914"/>
                  <a:gd name="connsiteY4" fmla="*/ 65315 h 2166257"/>
                  <a:gd name="connsiteX5" fmla="*/ 674914 w 1055914"/>
                  <a:gd name="connsiteY5" fmla="*/ 0 h 2166257"/>
                  <a:gd name="connsiteX6" fmla="*/ 0 w 1055914"/>
                  <a:gd name="connsiteY6" fmla="*/ 1937657 h 2166257"/>
                  <a:gd name="connsiteX0" fmla="*/ 0 w 1039704"/>
                  <a:gd name="connsiteY0" fmla="*/ 1937657 h 2166257"/>
                  <a:gd name="connsiteX1" fmla="*/ 522514 w 1039704"/>
                  <a:gd name="connsiteY1" fmla="*/ 2166257 h 2166257"/>
                  <a:gd name="connsiteX2" fmla="*/ 1039704 w 1039704"/>
                  <a:gd name="connsiteY2" fmla="*/ 606688 h 2166257"/>
                  <a:gd name="connsiteX3" fmla="*/ 1024248 w 1039704"/>
                  <a:gd name="connsiteY3" fmla="*/ 506658 h 2166257"/>
                  <a:gd name="connsiteX4" fmla="*/ 849085 w 1039704"/>
                  <a:gd name="connsiteY4" fmla="*/ 65315 h 2166257"/>
                  <a:gd name="connsiteX5" fmla="*/ 674914 w 1039704"/>
                  <a:gd name="connsiteY5" fmla="*/ 0 h 2166257"/>
                  <a:gd name="connsiteX6" fmla="*/ 0 w 1039704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49085 w 1045359"/>
                  <a:gd name="connsiteY4" fmla="*/ 65315 h 2166257"/>
                  <a:gd name="connsiteX5" fmla="*/ 674914 w 1045359"/>
                  <a:gd name="connsiteY5" fmla="*/ 0 h 2166257"/>
                  <a:gd name="connsiteX6" fmla="*/ 0 w 1045359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923595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33252 w 1045359"/>
                  <a:gd name="connsiteY5" fmla="*/ 49458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81374 w 1045359"/>
                  <a:gd name="connsiteY4" fmla="*/ 210284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91930 w 1045359"/>
                  <a:gd name="connsiteY4" fmla="*/ 204998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26158"/>
                  <a:gd name="connsiteX1" fmla="*/ 516689 w 1045359"/>
                  <a:gd name="connsiteY1" fmla="*/ 2126158 h 2126158"/>
                  <a:gd name="connsiteX2" fmla="*/ 1039704 w 1045359"/>
                  <a:gd name="connsiteY2" fmla="*/ 633115 h 2126158"/>
                  <a:gd name="connsiteX3" fmla="*/ 1045359 w 1045359"/>
                  <a:gd name="connsiteY3" fmla="*/ 517229 h 2126158"/>
                  <a:gd name="connsiteX4" fmla="*/ 891930 w 1045359"/>
                  <a:gd name="connsiteY4" fmla="*/ 204998 h 2126158"/>
                  <a:gd name="connsiteX5" fmla="*/ 833252 w 1045359"/>
                  <a:gd name="connsiteY5" fmla="*/ 75885 h 2126158"/>
                  <a:gd name="connsiteX6" fmla="*/ 680192 w 1045359"/>
                  <a:gd name="connsiteY6" fmla="*/ 0 h 2126158"/>
                  <a:gd name="connsiteX7" fmla="*/ 0 w 1045359"/>
                  <a:gd name="connsiteY7" fmla="*/ 1964084 h 2126158"/>
                  <a:gd name="connsiteX0" fmla="*/ 0 w 1039534"/>
                  <a:gd name="connsiteY0" fmla="*/ 1921749 h 2126158"/>
                  <a:gd name="connsiteX1" fmla="*/ 510864 w 1039534"/>
                  <a:gd name="connsiteY1" fmla="*/ 2126158 h 2126158"/>
                  <a:gd name="connsiteX2" fmla="*/ 1033879 w 1039534"/>
                  <a:gd name="connsiteY2" fmla="*/ 633115 h 2126158"/>
                  <a:gd name="connsiteX3" fmla="*/ 1039534 w 1039534"/>
                  <a:gd name="connsiteY3" fmla="*/ 517229 h 2126158"/>
                  <a:gd name="connsiteX4" fmla="*/ 886105 w 1039534"/>
                  <a:gd name="connsiteY4" fmla="*/ 204998 h 2126158"/>
                  <a:gd name="connsiteX5" fmla="*/ 827427 w 1039534"/>
                  <a:gd name="connsiteY5" fmla="*/ 75885 h 2126158"/>
                  <a:gd name="connsiteX6" fmla="*/ 674367 w 1039534"/>
                  <a:gd name="connsiteY6" fmla="*/ 0 h 2126158"/>
                  <a:gd name="connsiteX7" fmla="*/ 0 w 1039534"/>
                  <a:gd name="connsiteY7" fmla="*/ 1921749 h 2126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9534" h="2126158">
                    <a:moveTo>
                      <a:pt x="0" y="1921749"/>
                    </a:moveTo>
                    <a:lnTo>
                      <a:pt x="510864" y="2126158"/>
                    </a:lnTo>
                    <a:lnTo>
                      <a:pt x="1033879" y="633115"/>
                    </a:lnTo>
                    <a:lnTo>
                      <a:pt x="1039534" y="517229"/>
                    </a:lnTo>
                    <a:cubicBezTo>
                      <a:pt x="1020182" y="450281"/>
                      <a:pt x="945204" y="275912"/>
                      <a:pt x="886105" y="204998"/>
                    </a:cubicBezTo>
                    <a:cubicBezTo>
                      <a:pt x="853393" y="134084"/>
                      <a:pt x="868874" y="110051"/>
                      <a:pt x="827427" y="75885"/>
                    </a:cubicBezTo>
                    <a:lnTo>
                      <a:pt x="674367" y="0"/>
                    </a:lnTo>
                    <a:lnTo>
                      <a:pt x="0" y="192174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" name="G006B">
                <a:extLst>
                  <a:ext uri="{FF2B5EF4-FFF2-40B4-BE49-F238E27FC236}">
                    <a16:creationId xmlns:a16="http://schemas.microsoft.com/office/drawing/2014/main" id="{B614B942-5171-4465-9011-92C96F27119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7366914">
                <a:off x="652554" y="793973"/>
                <a:ext cx="296807" cy="300485"/>
              </a:xfrm>
              <a:custGeom>
                <a:avLst/>
                <a:gdLst>
                  <a:gd name="connsiteX0" fmla="*/ 0 w 348343"/>
                  <a:gd name="connsiteY0" fmla="*/ 500742 h 522514"/>
                  <a:gd name="connsiteX1" fmla="*/ 293914 w 348343"/>
                  <a:gd name="connsiteY1" fmla="*/ 522514 h 522514"/>
                  <a:gd name="connsiteX2" fmla="*/ 348343 w 348343"/>
                  <a:gd name="connsiteY2" fmla="*/ 21771 h 522514"/>
                  <a:gd name="connsiteX3" fmla="*/ 65314 w 348343"/>
                  <a:gd name="connsiteY3" fmla="*/ 0 h 522514"/>
                  <a:gd name="connsiteX4" fmla="*/ 0 w 348343"/>
                  <a:gd name="connsiteY4" fmla="*/ 500742 h 522514"/>
                  <a:gd name="connsiteX0" fmla="*/ 0 w 348343"/>
                  <a:gd name="connsiteY0" fmla="*/ 523891 h 545663"/>
                  <a:gd name="connsiteX1" fmla="*/ 293914 w 348343"/>
                  <a:gd name="connsiteY1" fmla="*/ 545663 h 545663"/>
                  <a:gd name="connsiteX2" fmla="*/ 348343 w 348343"/>
                  <a:gd name="connsiteY2" fmla="*/ 44920 h 545663"/>
                  <a:gd name="connsiteX3" fmla="*/ 57597 w 348343"/>
                  <a:gd name="connsiteY3" fmla="*/ 0 h 545663"/>
                  <a:gd name="connsiteX4" fmla="*/ 0 w 348343"/>
                  <a:gd name="connsiteY4" fmla="*/ 523891 h 545663"/>
                  <a:gd name="connsiteX0" fmla="*/ 0 w 348343"/>
                  <a:gd name="connsiteY0" fmla="*/ 523891 h 545663"/>
                  <a:gd name="connsiteX1" fmla="*/ 293914 w 348343"/>
                  <a:gd name="connsiteY1" fmla="*/ 545663 h 545663"/>
                  <a:gd name="connsiteX2" fmla="*/ 348343 w 348343"/>
                  <a:gd name="connsiteY2" fmla="*/ 21770 h 545663"/>
                  <a:gd name="connsiteX3" fmla="*/ 57597 w 348343"/>
                  <a:gd name="connsiteY3" fmla="*/ 0 h 545663"/>
                  <a:gd name="connsiteX4" fmla="*/ 0 w 348343"/>
                  <a:gd name="connsiteY4" fmla="*/ 523891 h 545663"/>
                  <a:gd name="connsiteX0" fmla="*/ 0 w 432999"/>
                  <a:gd name="connsiteY0" fmla="*/ 523891 h 545663"/>
                  <a:gd name="connsiteX1" fmla="*/ 378570 w 432999"/>
                  <a:gd name="connsiteY1" fmla="*/ 545663 h 545663"/>
                  <a:gd name="connsiteX2" fmla="*/ 432999 w 432999"/>
                  <a:gd name="connsiteY2" fmla="*/ 21770 h 545663"/>
                  <a:gd name="connsiteX3" fmla="*/ 142253 w 432999"/>
                  <a:gd name="connsiteY3" fmla="*/ 0 h 545663"/>
                  <a:gd name="connsiteX4" fmla="*/ 0 w 432999"/>
                  <a:gd name="connsiteY4" fmla="*/ 523891 h 545663"/>
                  <a:gd name="connsiteX0" fmla="*/ 0 w 432999"/>
                  <a:gd name="connsiteY0" fmla="*/ 539386 h 561158"/>
                  <a:gd name="connsiteX1" fmla="*/ 378570 w 432999"/>
                  <a:gd name="connsiteY1" fmla="*/ 561158 h 561158"/>
                  <a:gd name="connsiteX2" fmla="*/ 432999 w 432999"/>
                  <a:gd name="connsiteY2" fmla="*/ 37265 h 561158"/>
                  <a:gd name="connsiteX3" fmla="*/ 173999 w 432999"/>
                  <a:gd name="connsiteY3" fmla="*/ 0 h 561158"/>
                  <a:gd name="connsiteX4" fmla="*/ 0 w 432999"/>
                  <a:gd name="connsiteY4" fmla="*/ 539386 h 561158"/>
                  <a:gd name="connsiteX0" fmla="*/ 0 w 432999"/>
                  <a:gd name="connsiteY0" fmla="*/ 539386 h 561158"/>
                  <a:gd name="connsiteX1" fmla="*/ 378570 w 432999"/>
                  <a:gd name="connsiteY1" fmla="*/ 561158 h 561158"/>
                  <a:gd name="connsiteX2" fmla="*/ 432999 w 432999"/>
                  <a:gd name="connsiteY2" fmla="*/ 99245 h 561158"/>
                  <a:gd name="connsiteX3" fmla="*/ 173999 w 432999"/>
                  <a:gd name="connsiteY3" fmla="*/ 0 h 561158"/>
                  <a:gd name="connsiteX4" fmla="*/ 0 w 432999"/>
                  <a:gd name="connsiteY4" fmla="*/ 539386 h 561158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0 w 432999"/>
                  <a:gd name="connsiteY4" fmla="*/ 539386 h 646380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51966 w 432999"/>
                  <a:gd name="connsiteY4" fmla="*/ 368457 h 646380"/>
                  <a:gd name="connsiteX5" fmla="*/ 0 w 432999"/>
                  <a:gd name="connsiteY5" fmla="*/ 539386 h 646380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66075 w 432999"/>
                  <a:gd name="connsiteY4" fmla="*/ 321972 h 646380"/>
                  <a:gd name="connsiteX5" fmla="*/ 51966 w 432999"/>
                  <a:gd name="connsiteY5" fmla="*/ 368457 h 646380"/>
                  <a:gd name="connsiteX6" fmla="*/ 0 w 432999"/>
                  <a:gd name="connsiteY6" fmla="*/ 539386 h 646380"/>
                  <a:gd name="connsiteX0" fmla="*/ 18580 w 451579"/>
                  <a:gd name="connsiteY0" fmla="*/ 539386 h 646380"/>
                  <a:gd name="connsiteX1" fmla="*/ 273694 w 451579"/>
                  <a:gd name="connsiteY1" fmla="*/ 646380 h 646380"/>
                  <a:gd name="connsiteX2" fmla="*/ 451579 w 451579"/>
                  <a:gd name="connsiteY2" fmla="*/ 99245 h 646380"/>
                  <a:gd name="connsiteX3" fmla="*/ 192579 w 451579"/>
                  <a:gd name="connsiteY3" fmla="*/ 0 h 646380"/>
                  <a:gd name="connsiteX4" fmla="*/ 84655 w 451579"/>
                  <a:gd name="connsiteY4" fmla="*/ 321972 h 646380"/>
                  <a:gd name="connsiteX5" fmla="*/ 0 w 451579"/>
                  <a:gd name="connsiteY5" fmla="*/ 178644 h 646380"/>
                  <a:gd name="connsiteX6" fmla="*/ 18580 w 451579"/>
                  <a:gd name="connsiteY6" fmla="*/ 539386 h 646380"/>
                  <a:gd name="connsiteX0" fmla="*/ 0 w 545873"/>
                  <a:gd name="connsiteY0" fmla="*/ 489027 h 646380"/>
                  <a:gd name="connsiteX1" fmla="*/ 367988 w 545873"/>
                  <a:gd name="connsiteY1" fmla="*/ 646380 h 646380"/>
                  <a:gd name="connsiteX2" fmla="*/ 545873 w 545873"/>
                  <a:gd name="connsiteY2" fmla="*/ 99245 h 646380"/>
                  <a:gd name="connsiteX3" fmla="*/ 286873 w 545873"/>
                  <a:gd name="connsiteY3" fmla="*/ 0 h 646380"/>
                  <a:gd name="connsiteX4" fmla="*/ 178949 w 545873"/>
                  <a:gd name="connsiteY4" fmla="*/ 321972 h 646380"/>
                  <a:gd name="connsiteX5" fmla="*/ 94294 w 545873"/>
                  <a:gd name="connsiteY5" fmla="*/ 178644 h 646380"/>
                  <a:gd name="connsiteX6" fmla="*/ 0 w 545873"/>
                  <a:gd name="connsiteY6" fmla="*/ 489027 h 646380"/>
                  <a:gd name="connsiteX0" fmla="*/ 0 w 545873"/>
                  <a:gd name="connsiteY0" fmla="*/ 489027 h 646380"/>
                  <a:gd name="connsiteX1" fmla="*/ 367988 w 545873"/>
                  <a:gd name="connsiteY1" fmla="*/ 646380 h 646380"/>
                  <a:gd name="connsiteX2" fmla="*/ 545873 w 545873"/>
                  <a:gd name="connsiteY2" fmla="*/ 99245 h 646380"/>
                  <a:gd name="connsiteX3" fmla="*/ 286873 w 545873"/>
                  <a:gd name="connsiteY3" fmla="*/ 0 h 646380"/>
                  <a:gd name="connsiteX4" fmla="*/ 210695 w 545873"/>
                  <a:gd name="connsiteY4" fmla="*/ 229002 h 646380"/>
                  <a:gd name="connsiteX5" fmla="*/ 94294 w 545873"/>
                  <a:gd name="connsiteY5" fmla="*/ 178644 h 646380"/>
                  <a:gd name="connsiteX6" fmla="*/ 0 w 545873"/>
                  <a:gd name="connsiteY6" fmla="*/ 489027 h 646380"/>
                  <a:gd name="connsiteX0" fmla="*/ 0 w 556455"/>
                  <a:gd name="connsiteY0" fmla="*/ 485154 h 646380"/>
                  <a:gd name="connsiteX1" fmla="*/ 378570 w 556455"/>
                  <a:gd name="connsiteY1" fmla="*/ 646380 h 646380"/>
                  <a:gd name="connsiteX2" fmla="*/ 556455 w 556455"/>
                  <a:gd name="connsiteY2" fmla="*/ 99245 h 646380"/>
                  <a:gd name="connsiteX3" fmla="*/ 297455 w 556455"/>
                  <a:gd name="connsiteY3" fmla="*/ 0 h 646380"/>
                  <a:gd name="connsiteX4" fmla="*/ 221277 w 556455"/>
                  <a:gd name="connsiteY4" fmla="*/ 229002 h 646380"/>
                  <a:gd name="connsiteX5" fmla="*/ 104876 w 556455"/>
                  <a:gd name="connsiteY5" fmla="*/ 178644 h 646380"/>
                  <a:gd name="connsiteX6" fmla="*/ 0 w 556455"/>
                  <a:gd name="connsiteY6" fmla="*/ 485154 h 646380"/>
                  <a:gd name="connsiteX0" fmla="*/ 0 w 556455"/>
                  <a:gd name="connsiteY0" fmla="*/ 492901 h 654127"/>
                  <a:gd name="connsiteX1" fmla="*/ 378570 w 556455"/>
                  <a:gd name="connsiteY1" fmla="*/ 654127 h 654127"/>
                  <a:gd name="connsiteX2" fmla="*/ 556455 w 556455"/>
                  <a:gd name="connsiteY2" fmla="*/ 106992 h 654127"/>
                  <a:gd name="connsiteX3" fmla="*/ 300982 w 556455"/>
                  <a:gd name="connsiteY3" fmla="*/ 0 h 654127"/>
                  <a:gd name="connsiteX4" fmla="*/ 221277 w 556455"/>
                  <a:gd name="connsiteY4" fmla="*/ 236749 h 654127"/>
                  <a:gd name="connsiteX5" fmla="*/ 104876 w 556455"/>
                  <a:gd name="connsiteY5" fmla="*/ 186391 h 654127"/>
                  <a:gd name="connsiteX6" fmla="*/ 0 w 556455"/>
                  <a:gd name="connsiteY6" fmla="*/ 492901 h 654127"/>
                  <a:gd name="connsiteX0" fmla="*/ 0 w 556455"/>
                  <a:gd name="connsiteY0" fmla="*/ 495334 h 656560"/>
                  <a:gd name="connsiteX1" fmla="*/ 378570 w 556455"/>
                  <a:gd name="connsiteY1" fmla="*/ 656560 h 656560"/>
                  <a:gd name="connsiteX2" fmla="*/ 556455 w 556455"/>
                  <a:gd name="connsiteY2" fmla="*/ 109425 h 656560"/>
                  <a:gd name="connsiteX3" fmla="*/ 234423 w 556455"/>
                  <a:gd name="connsiteY3" fmla="*/ 0 h 656560"/>
                  <a:gd name="connsiteX4" fmla="*/ 221277 w 556455"/>
                  <a:gd name="connsiteY4" fmla="*/ 239182 h 656560"/>
                  <a:gd name="connsiteX5" fmla="*/ 104876 w 556455"/>
                  <a:gd name="connsiteY5" fmla="*/ 188824 h 656560"/>
                  <a:gd name="connsiteX6" fmla="*/ 0 w 556455"/>
                  <a:gd name="connsiteY6" fmla="*/ 495334 h 656560"/>
                  <a:gd name="connsiteX0" fmla="*/ 0 w 556455"/>
                  <a:gd name="connsiteY0" fmla="*/ 495334 h 656560"/>
                  <a:gd name="connsiteX1" fmla="*/ 378570 w 556455"/>
                  <a:gd name="connsiteY1" fmla="*/ 656560 h 656560"/>
                  <a:gd name="connsiteX2" fmla="*/ 556455 w 556455"/>
                  <a:gd name="connsiteY2" fmla="*/ 109425 h 656560"/>
                  <a:gd name="connsiteX3" fmla="*/ 234423 w 556455"/>
                  <a:gd name="connsiteY3" fmla="*/ 0 h 656560"/>
                  <a:gd name="connsiteX4" fmla="*/ 221277 w 556455"/>
                  <a:gd name="connsiteY4" fmla="*/ 239182 h 656560"/>
                  <a:gd name="connsiteX5" fmla="*/ 2850 w 556455"/>
                  <a:gd name="connsiteY5" fmla="*/ 134608 h 656560"/>
                  <a:gd name="connsiteX6" fmla="*/ 0 w 556455"/>
                  <a:gd name="connsiteY6" fmla="*/ 495334 h 656560"/>
                  <a:gd name="connsiteX0" fmla="*/ 0 w 719586"/>
                  <a:gd name="connsiteY0" fmla="*/ 626817 h 656560"/>
                  <a:gd name="connsiteX1" fmla="*/ 541701 w 719586"/>
                  <a:gd name="connsiteY1" fmla="*/ 656560 h 656560"/>
                  <a:gd name="connsiteX2" fmla="*/ 719586 w 719586"/>
                  <a:gd name="connsiteY2" fmla="*/ 109425 h 656560"/>
                  <a:gd name="connsiteX3" fmla="*/ 397554 w 719586"/>
                  <a:gd name="connsiteY3" fmla="*/ 0 h 656560"/>
                  <a:gd name="connsiteX4" fmla="*/ 384408 w 719586"/>
                  <a:gd name="connsiteY4" fmla="*/ 239182 h 656560"/>
                  <a:gd name="connsiteX5" fmla="*/ 165981 w 719586"/>
                  <a:gd name="connsiteY5" fmla="*/ 134608 h 656560"/>
                  <a:gd name="connsiteX6" fmla="*/ 0 w 719586"/>
                  <a:gd name="connsiteY6" fmla="*/ 626817 h 656560"/>
                  <a:gd name="connsiteX0" fmla="*/ 0 w 719586"/>
                  <a:gd name="connsiteY0" fmla="*/ 626817 h 796524"/>
                  <a:gd name="connsiteX1" fmla="*/ 498783 w 719586"/>
                  <a:gd name="connsiteY1" fmla="*/ 796524 h 796524"/>
                  <a:gd name="connsiteX2" fmla="*/ 719586 w 719586"/>
                  <a:gd name="connsiteY2" fmla="*/ 109425 h 796524"/>
                  <a:gd name="connsiteX3" fmla="*/ 397554 w 719586"/>
                  <a:gd name="connsiteY3" fmla="*/ 0 h 796524"/>
                  <a:gd name="connsiteX4" fmla="*/ 384408 w 719586"/>
                  <a:gd name="connsiteY4" fmla="*/ 239182 h 796524"/>
                  <a:gd name="connsiteX5" fmla="*/ 165981 w 719586"/>
                  <a:gd name="connsiteY5" fmla="*/ 134608 h 796524"/>
                  <a:gd name="connsiteX6" fmla="*/ 0 w 719586"/>
                  <a:gd name="connsiteY6" fmla="*/ 626817 h 796524"/>
                  <a:gd name="connsiteX0" fmla="*/ 0 w 719586"/>
                  <a:gd name="connsiteY0" fmla="*/ 626817 h 796524"/>
                  <a:gd name="connsiteX1" fmla="*/ 498783 w 719586"/>
                  <a:gd name="connsiteY1" fmla="*/ 796524 h 796524"/>
                  <a:gd name="connsiteX2" fmla="*/ 719586 w 719586"/>
                  <a:gd name="connsiteY2" fmla="*/ 109425 h 796524"/>
                  <a:gd name="connsiteX3" fmla="*/ 397554 w 719586"/>
                  <a:gd name="connsiteY3" fmla="*/ 0 h 796524"/>
                  <a:gd name="connsiteX4" fmla="*/ 324633 w 719586"/>
                  <a:gd name="connsiteY4" fmla="*/ 171628 h 796524"/>
                  <a:gd name="connsiteX5" fmla="*/ 165981 w 719586"/>
                  <a:gd name="connsiteY5" fmla="*/ 134608 h 796524"/>
                  <a:gd name="connsiteX6" fmla="*/ 0 w 719586"/>
                  <a:gd name="connsiteY6" fmla="*/ 626817 h 796524"/>
                  <a:gd name="connsiteX0" fmla="*/ 0 w 719586"/>
                  <a:gd name="connsiteY0" fmla="*/ 620442 h 790149"/>
                  <a:gd name="connsiteX1" fmla="*/ 498783 w 719586"/>
                  <a:gd name="connsiteY1" fmla="*/ 790149 h 790149"/>
                  <a:gd name="connsiteX2" fmla="*/ 719586 w 719586"/>
                  <a:gd name="connsiteY2" fmla="*/ 103050 h 790149"/>
                  <a:gd name="connsiteX3" fmla="*/ 396293 w 719586"/>
                  <a:gd name="connsiteY3" fmla="*/ 0 h 790149"/>
                  <a:gd name="connsiteX4" fmla="*/ 324633 w 719586"/>
                  <a:gd name="connsiteY4" fmla="*/ 165253 h 790149"/>
                  <a:gd name="connsiteX5" fmla="*/ 165981 w 719586"/>
                  <a:gd name="connsiteY5" fmla="*/ 128233 h 790149"/>
                  <a:gd name="connsiteX6" fmla="*/ 0 w 719586"/>
                  <a:gd name="connsiteY6" fmla="*/ 620442 h 790149"/>
                  <a:gd name="connsiteX0" fmla="*/ 0 w 543975"/>
                  <a:gd name="connsiteY0" fmla="*/ 620442 h 790149"/>
                  <a:gd name="connsiteX1" fmla="*/ 498783 w 543975"/>
                  <a:gd name="connsiteY1" fmla="*/ 790149 h 790149"/>
                  <a:gd name="connsiteX2" fmla="*/ 543975 w 543975"/>
                  <a:gd name="connsiteY2" fmla="*/ 128144 h 790149"/>
                  <a:gd name="connsiteX3" fmla="*/ 396293 w 543975"/>
                  <a:gd name="connsiteY3" fmla="*/ 0 h 790149"/>
                  <a:gd name="connsiteX4" fmla="*/ 324633 w 543975"/>
                  <a:gd name="connsiteY4" fmla="*/ 165253 h 790149"/>
                  <a:gd name="connsiteX5" fmla="*/ 165981 w 543975"/>
                  <a:gd name="connsiteY5" fmla="*/ 128233 h 790149"/>
                  <a:gd name="connsiteX6" fmla="*/ 0 w 543975"/>
                  <a:gd name="connsiteY6" fmla="*/ 620442 h 790149"/>
                  <a:gd name="connsiteX0" fmla="*/ 0 w 723127"/>
                  <a:gd name="connsiteY0" fmla="*/ 620442 h 790149"/>
                  <a:gd name="connsiteX1" fmla="*/ 498783 w 723127"/>
                  <a:gd name="connsiteY1" fmla="*/ 790149 h 790149"/>
                  <a:gd name="connsiteX2" fmla="*/ 723127 w 723127"/>
                  <a:gd name="connsiteY2" fmla="*/ 100554 h 790149"/>
                  <a:gd name="connsiteX3" fmla="*/ 396293 w 723127"/>
                  <a:gd name="connsiteY3" fmla="*/ 0 h 790149"/>
                  <a:gd name="connsiteX4" fmla="*/ 324633 w 723127"/>
                  <a:gd name="connsiteY4" fmla="*/ 165253 h 790149"/>
                  <a:gd name="connsiteX5" fmla="*/ 165981 w 723127"/>
                  <a:gd name="connsiteY5" fmla="*/ 128233 h 790149"/>
                  <a:gd name="connsiteX6" fmla="*/ 0 w 723127"/>
                  <a:gd name="connsiteY6" fmla="*/ 620442 h 790149"/>
                  <a:gd name="connsiteX0" fmla="*/ 0 w 723127"/>
                  <a:gd name="connsiteY0" fmla="*/ 630957 h 800664"/>
                  <a:gd name="connsiteX1" fmla="*/ 498783 w 723127"/>
                  <a:gd name="connsiteY1" fmla="*/ 800664 h 800664"/>
                  <a:gd name="connsiteX2" fmla="*/ 723127 w 723127"/>
                  <a:gd name="connsiteY2" fmla="*/ 111069 h 800664"/>
                  <a:gd name="connsiteX3" fmla="*/ 380088 w 723127"/>
                  <a:gd name="connsiteY3" fmla="*/ 0 h 800664"/>
                  <a:gd name="connsiteX4" fmla="*/ 324633 w 723127"/>
                  <a:gd name="connsiteY4" fmla="*/ 175768 h 800664"/>
                  <a:gd name="connsiteX5" fmla="*/ 165981 w 723127"/>
                  <a:gd name="connsiteY5" fmla="*/ 138748 h 800664"/>
                  <a:gd name="connsiteX6" fmla="*/ 0 w 723127"/>
                  <a:gd name="connsiteY6" fmla="*/ 630957 h 800664"/>
                  <a:gd name="connsiteX0" fmla="*/ 0 w 723127"/>
                  <a:gd name="connsiteY0" fmla="*/ 630957 h 800664"/>
                  <a:gd name="connsiteX1" fmla="*/ 498783 w 723127"/>
                  <a:gd name="connsiteY1" fmla="*/ 800664 h 800664"/>
                  <a:gd name="connsiteX2" fmla="*/ 723127 w 723127"/>
                  <a:gd name="connsiteY2" fmla="*/ 111069 h 800664"/>
                  <a:gd name="connsiteX3" fmla="*/ 380088 w 723127"/>
                  <a:gd name="connsiteY3" fmla="*/ 0 h 800664"/>
                  <a:gd name="connsiteX4" fmla="*/ 324633 w 723127"/>
                  <a:gd name="connsiteY4" fmla="*/ 175768 h 800664"/>
                  <a:gd name="connsiteX5" fmla="*/ 167240 w 723127"/>
                  <a:gd name="connsiteY5" fmla="*/ 132374 h 800664"/>
                  <a:gd name="connsiteX6" fmla="*/ 0 w 723127"/>
                  <a:gd name="connsiteY6" fmla="*/ 630957 h 800664"/>
                  <a:gd name="connsiteX0" fmla="*/ 0 w 718325"/>
                  <a:gd name="connsiteY0" fmla="*/ 622086 h 800664"/>
                  <a:gd name="connsiteX1" fmla="*/ 493981 w 718325"/>
                  <a:gd name="connsiteY1" fmla="*/ 800664 h 800664"/>
                  <a:gd name="connsiteX2" fmla="*/ 718325 w 718325"/>
                  <a:gd name="connsiteY2" fmla="*/ 111069 h 800664"/>
                  <a:gd name="connsiteX3" fmla="*/ 375286 w 718325"/>
                  <a:gd name="connsiteY3" fmla="*/ 0 h 800664"/>
                  <a:gd name="connsiteX4" fmla="*/ 319831 w 718325"/>
                  <a:gd name="connsiteY4" fmla="*/ 175768 h 800664"/>
                  <a:gd name="connsiteX5" fmla="*/ 162438 w 718325"/>
                  <a:gd name="connsiteY5" fmla="*/ 132374 h 800664"/>
                  <a:gd name="connsiteX6" fmla="*/ 0 w 718325"/>
                  <a:gd name="connsiteY6" fmla="*/ 622086 h 800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8325" h="800664">
                    <a:moveTo>
                      <a:pt x="0" y="622086"/>
                    </a:moveTo>
                    <a:lnTo>
                      <a:pt x="493981" y="800664"/>
                    </a:lnTo>
                    <a:lnTo>
                      <a:pt x="718325" y="111069"/>
                    </a:lnTo>
                    <a:lnTo>
                      <a:pt x="375286" y="0"/>
                    </a:lnTo>
                    <a:lnTo>
                      <a:pt x="319831" y="175768"/>
                    </a:lnTo>
                    <a:lnTo>
                      <a:pt x="162438" y="132374"/>
                    </a:lnTo>
                    <a:lnTo>
                      <a:pt x="0" y="622086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G050">
                <a:extLst>
                  <a:ext uri="{FF2B5EF4-FFF2-40B4-BE49-F238E27FC236}">
                    <a16:creationId xmlns:a16="http://schemas.microsoft.com/office/drawing/2014/main" id="{1EC393FF-6798-43F0-B41C-FC02D4EA74B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0" y="0"/>
                <a:ext cx="516508" cy="715837"/>
              </a:xfrm>
              <a:custGeom>
                <a:avLst/>
                <a:gdLst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725214 w 1203435"/>
                  <a:gd name="connsiteY3" fmla="*/ 68317 h 1487214"/>
                  <a:gd name="connsiteX4" fmla="*/ 0 w 1203435"/>
                  <a:gd name="connsiteY4" fmla="*/ 1245476 h 1487214"/>
                  <a:gd name="connsiteX5" fmla="*/ 304800 w 1203435"/>
                  <a:gd name="connsiteY5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14552 w 1203435"/>
                  <a:gd name="connsiteY3" fmla="*/ 47296 h 1487214"/>
                  <a:gd name="connsiteX4" fmla="*/ 725214 w 1203435"/>
                  <a:gd name="connsiteY4" fmla="*/ 68317 h 1487214"/>
                  <a:gd name="connsiteX5" fmla="*/ 0 w 1203435"/>
                  <a:gd name="connsiteY5" fmla="*/ 1245476 h 1487214"/>
                  <a:gd name="connsiteX6" fmla="*/ 304800 w 1203435"/>
                  <a:gd name="connsiteY6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25214 w 1203435"/>
                  <a:gd name="connsiteY4" fmla="*/ 68317 h 1487214"/>
                  <a:gd name="connsiteX5" fmla="*/ 0 w 1203435"/>
                  <a:gd name="connsiteY5" fmla="*/ 1245476 h 1487214"/>
                  <a:gd name="connsiteX6" fmla="*/ 304800 w 1203435"/>
                  <a:gd name="connsiteY6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25214 w 1203435"/>
                  <a:gd name="connsiteY4" fmla="*/ 68317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46235 w 1203435"/>
                  <a:gd name="connsiteY4" fmla="*/ 525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76676 w 1203435"/>
                  <a:gd name="connsiteY3" fmla="*/ 73585 h 1487214"/>
                  <a:gd name="connsiteX4" fmla="*/ 746235 w 1203435"/>
                  <a:gd name="connsiteY4" fmla="*/ 525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76676 w 1203435"/>
                  <a:gd name="connsiteY3" fmla="*/ 73585 h 1487214"/>
                  <a:gd name="connsiteX4" fmla="*/ 746235 w 1203435"/>
                  <a:gd name="connsiteY4" fmla="*/ 893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45173 h 1445173"/>
                  <a:gd name="connsiteX1" fmla="*/ 1203435 w 1203435"/>
                  <a:gd name="connsiteY1" fmla="*/ 0 h 1445173"/>
                  <a:gd name="connsiteX2" fmla="*/ 1140373 w 1203435"/>
                  <a:gd name="connsiteY2" fmla="*/ 22358 h 1445173"/>
                  <a:gd name="connsiteX3" fmla="*/ 876676 w 1203435"/>
                  <a:gd name="connsiteY3" fmla="*/ 31544 h 1445173"/>
                  <a:gd name="connsiteX4" fmla="*/ 746235 w 1203435"/>
                  <a:gd name="connsiteY4" fmla="*/ 47311 h 1445173"/>
                  <a:gd name="connsiteX5" fmla="*/ 688428 w 1203435"/>
                  <a:gd name="connsiteY5" fmla="*/ 78828 h 1445173"/>
                  <a:gd name="connsiteX6" fmla="*/ 0 w 1203435"/>
                  <a:gd name="connsiteY6" fmla="*/ 1203435 h 1445173"/>
                  <a:gd name="connsiteX7" fmla="*/ 304800 w 1203435"/>
                  <a:gd name="connsiteY7" fmla="*/ 1445173 h 1445173"/>
                  <a:gd name="connsiteX0" fmla="*/ 304800 w 1203435"/>
                  <a:gd name="connsiteY0" fmla="*/ 1450415 h 1450415"/>
                  <a:gd name="connsiteX1" fmla="*/ 1203435 w 1203435"/>
                  <a:gd name="connsiteY1" fmla="*/ 5242 h 1450415"/>
                  <a:gd name="connsiteX2" fmla="*/ 1140373 w 1203435"/>
                  <a:gd name="connsiteY2" fmla="*/ 0 h 1450415"/>
                  <a:gd name="connsiteX3" fmla="*/ 876676 w 1203435"/>
                  <a:gd name="connsiteY3" fmla="*/ 36786 h 1450415"/>
                  <a:gd name="connsiteX4" fmla="*/ 746235 w 1203435"/>
                  <a:gd name="connsiteY4" fmla="*/ 52553 h 1450415"/>
                  <a:gd name="connsiteX5" fmla="*/ 688428 w 1203435"/>
                  <a:gd name="connsiteY5" fmla="*/ 84070 h 1450415"/>
                  <a:gd name="connsiteX6" fmla="*/ 0 w 1203435"/>
                  <a:gd name="connsiteY6" fmla="*/ 1208677 h 1450415"/>
                  <a:gd name="connsiteX7" fmla="*/ 304800 w 1203435"/>
                  <a:gd name="connsiteY7" fmla="*/ 1450415 h 1450415"/>
                  <a:gd name="connsiteX0" fmla="*/ 304800 w 1234731"/>
                  <a:gd name="connsiteY0" fmla="*/ 1512574 h 1512574"/>
                  <a:gd name="connsiteX1" fmla="*/ 1234731 w 1234731"/>
                  <a:gd name="connsiteY1" fmla="*/ 0 h 1512574"/>
                  <a:gd name="connsiteX2" fmla="*/ 1140373 w 1234731"/>
                  <a:gd name="connsiteY2" fmla="*/ 62159 h 1512574"/>
                  <a:gd name="connsiteX3" fmla="*/ 876676 w 1234731"/>
                  <a:gd name="connsiteY3" fmla="*/ 98945 h 1512574"/>
                  <a:gd name="connsiteX4" fmla="*/ 746235 w 1234731"/>
                  <a:gd name="connsiteY4" fmla="*/ 114712 h 1512574"/>
                  <a:gd name="connsiteX5" fmla="*/ 688428 w 1234731"/>
                  <a:gd name="connsiteY5" fmla="*/ 146229 h 1512574"/>
                  <a:gd name="connsiteX6" fmla="*/ 0 w 1234731"/>
                  <a:gd name="connsiteY6" fmla="*/ 1270836 h 1512574"/>
                  <a:gd name="connsiteX7" fmla="*/ 304800 w 1234731"/>
                  <a:gd name="connsiteY7" fmla="*/ 1512574 h 1512574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876676 w 1234731"/>
                  <a:gd name="connsiteY3" fmla="*/ 159552 h 1573181"/>
                  <a:gd name="connsiteX4" fmla="*/ 746235 w 1234731"/>
                  <a:gd name="connsiteY4" fmla="*/ 175319 h 1573181"/>
                  <a:gd name="connsiteX5" fmla="*/ 688428 w 1234731"/>
                  <a:gd name="connsiteY5" fmla="*/ 206836 h 1573181"/>
                  <a:gd name="connsiteX6" fmla="*/ 0 w 1234731"/>
                  <a:gd name="connsiteY6" fmla="*/ 1331443 h 1573181"/>
                  <a:gd name="connsiteX7" fmla="*/ 304800 w 1234731"/>
                  <a:gd name="connsiteY7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16156 w 1234731"/>
                  <a:gd name="connsiteY3" fmla="*/ 83057 h 1573181"/>
                  <a:gd name="connsiteX4" fmla="*/ 876676 w 1234731"/>
                  <a:gd name="connsiteY4" fmla="*/ 159552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876676 w 1234731"/>
                  <a:gd name="connsiteY4" fmla="*/ 159552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688428 w 1234731"/>
                  <a:gd name="connsiteY5" fmla="*/ 206836 h 1573181"/>
                  <a:gd name="connsiteX6" fmla="*/ 0 w 1234731"/>
                  <a:gd name="connsiteY6" fmla="*/ 1331443 h 1573181"/>
                  <a:gd name="connsiteX7" fmla="*/ 304800 w 1234731"/>
                  <a:gd name="connsiteY7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754616 w 1234731"/>
                  <a:gd name="connsiteY5" fmla="*/ 157680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627333 h 1627333"/>
                  <a:gd name="connsiteX1" fmla="*/ 1234731 w 1234731"/>
                  <a:gd name="connsiteY1" fmla="*/ 114759 h 1627333"/>
                  <a:gd name="connsiteX2" fmla="*/ 1160491 w 1234731"/>
                  <a:gd name="connsiteY2" fmla="*/ 54152 h 1627333"/>
                  <a:gd name="connsiteX3" fmla="*/ 1056392 w 1234731"/>
                  <a:gd name="connsiteY3" fmla="*/ 115544 h 1627333"/>
                  <a:gd name="connsiteX4" fmla="*/ 796202 w 1234731"/>
                  <a:gd name="connsiteY4" fmla="*/ 184818 h 1627333"/>
                  <a:gd name="connsiteX5" fmla="*/ 935682 w 1234731"/>
                  <a:gd name="connsiteY5" fmla="*/ 0 h 1627333"/>
                  <a:gd name="connsiteX6" fmla="*/ 688428 w 1234731"/>
                  <a:gd name="connsiteY6" fmla="*/ 260988 h 1627333"/>
                  <a:gd name="connsiteX7" fmla="*/ 0 w 1234731"/>
                  <a:gd name="connsiteY7" fmla="*/ 1385595 h 1627333"/>
                  <a:gd name="connsiteX8" fmla="*/ 304800 w 1234731"/>
                  <a:gd name="connsiteY8" fmla="*/ 1627333 h 1627333"/>
                  <a:gd name="connsiteX0" fmla="*/ 304800 w 1234731"/>
                  <a:gd name="connsiteY0" fmla="*/ 1627333 h 1627333"/>
                  <a:gd name="connsiteX1" fmla="*/ 1234731 w 1234731"/>
                  <a:gd name="connsiteY1" fmla="*/ 114759 h 1627333"/>
                  <a:gd name="connsiteX2" fmla="*/ 1160491 w 1234731"/>
                  <a:gd name="connsiteY2" fmla="*/ 54152 h 1627333"/>
                  <a:gd name="connsiteX3" fmla="*/ 1056392 w 1234731"/>
                  <a:gd name="connsiteY3" fmla="*/ 115544 h 1627333"/>
                  <a:gd name="connsiteX4" fmla="*/ 796202 w 1234731"/>
                  <a:gd name="connsiteY4" fmla="*/ 184818 h 1627333"/>
                  <a:gd name="connsiteX5" fmla="*/ 935682 w 1234731"/>
                  <a:gd name="connsiteY5" fmla="*/ 0 h 1627333"/>
                  <a:gd name="connsiteX6" fmla="*/ 754616 w 1234731"/>
                  <a:gd name="connsiteY6" fmla="*/ 192576 h 1627333"/>
                  <a:gd name="connsiteX7" fmla="*/ 688428 w 1234731"/>
                  <a:gd name="connsiteY7" fmla="*/ 260988 h 1627333"/>
                  <a:gd name="connsiteX8" fmla="*/ 0 w 1234731"/>
                  <a:gd name="connsiteY8" fmla="*/ 1385595 h 1627333"/>
                  <a:gd name="connsiteX9" fmla="*/ 304800 w 1234731"/>
                  <a:gd name="connsiteY9" fmla="*/ 1627333 h 1627333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688428 w 1234731"/>
                  <a:gd name="connsiteY7" fmla="*/ 374125 h 1740470"/>
                  <a:gd name="connsiteX8" fmla="*/ 0 w 1234731"/>
                  <a:gd name="connsiteY8" fmla="*/ 1498732 h 1740470"/>
                  <a:gd name="connsiteX9" fmla="*/ 304800 w 1234731"/>
                  <a:gd name="connsiteY9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0 w 1234731"/>
                  <a:gd name="connsiteY8" fmla="*/ 1498732 h 1740470"/>
                  <a:gd name="connsiteX9" fmla="*/ 304800 w 1234731"/>
                  <a:gd name="connsiteY9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222594 w 1234731"/>
                  <a:gd name="connsiteY8" fmla="*/ 953245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24918 w 1254849"/>
                  <a:gd name="connsiteY0" fmla="*/ 1740470 h 1740470"/>
                  <a:gd name="connsiteX1" fmla="*/ 1254849 w 1254849"/>
                  <a:gd name="connsiteY1" fmla="*/ 227896 h 1740470"/>
                  <a:gd name="connsiteX2" fmla="*/ 1180609 w 1254849"/>
                  <a:gd name="connsiteY2" fmla="*/ 167289 h 1740470"/>
                  <a:gd name="connsiteX3" fmla="*/ 1076510 w 1254849"/>
                  <a:gd name="connsiteY3" fmla="*/ 228681 h 1740470"/>
                  <a:gd name="connsiteX4" fmla="*/ 852086 w 1254849"/>
                  <a:gd name="connsiteY4" fmla="*/ 285919 h 1740470"/>
                  <a:gd name="connsiteX5" fmla="*/ 955800 w 1254849"/>
                  <a:gd name="connsiteY5" fmla="*/ 113137 h 1740470"/>
                  <a:gd name="connsiteX6" fmla="*/ 801559 w 1254849"/>
                  <a:gd name="connsiteY6" fmla="*/ 0 h 1740470"/>
                  <a:gd name="connsiteX7" fmla="*/ 306177 w 1254849"/>
                  <a:gd name="connsiteY7" fmla="*/ 800196 h 1740470"/>
                  <a:gd name="connsiteX8" fmla="*/ 399188 w 1254849"/>
                  <a:gd name="connsiteY8" fmla="*/ 873808 h 1740470"/>
                  <a:gd name="connsiteX9" fmla="*/ 0 w 1254849"/>
                  <a:gd name="connsiteY9" fmla="*/ 1532432 h 1740470"/>
                  <a:gd name="connsiteX10" fmla="*/ 324918 w 1254849"/>
                  <a:gd name="connsiteY10" fmla="*/ 1740470 h 1740470"/>
                  <a:gd name="connsiteX0" fmla="*/ 311506 w 1254849"/>
                  <a:gd name="connsiteY0" fmla="*/ 1776578 h 1776578"/>
                  <a:gd name="connsiteX1" fmla="*/ 1254849 w 1254849"/>
                  <a:gd name="connsiteY1" fmla="*/ 227896 h 1776578"/>
                  <a:gd name="connsiteX2" fmla="*/ 1180609 w 1254849"/>
                  <a:gd name="connsiteY2" fmla="*/ 167289 h 1776578"/>
                  <a:gd name="connsiteX3" fmla="*/ 1076510 w 1254849"/>
                  <a:gd name="connsiteY3" fmla="*/ 228681 h 1776578"/>
                  <a:gd name="connsiteX4" fmla="*/ 852086 w 1254849"/>
                  <a:gd name="connsiteY4" fmla="*/ 285919 h 1776578"/>
                  <a:gd name="connsiteX5" fmla="*/ 955800 w 1254849"/>
                  <a:gd name="connsiteY5" fmla="*/ 113137 h 1776578"/>
                  <a:gd name="connsiteX6" fmla="*/ 801559 w 1254849"/>
                  <a:gd name="connsiteY6" fmla="*/ 0 h 1776578"/>
                  <a:gd name="connsiteX7" fmla="*/ 306177 w 1254849"/>
                  <a:gd name="connsiteY7" fmla="*/ 800196 h 1776578"/>
                  <a:gd name="connsiteX8" fmla="*/ 399188 w 1254849"/>
                  <a:gd name="connsiteY8" fmla="*/ 873808 h 1776578"/>
                  <a:gd name="connsiteX9" fmla="*/ 0 w 1254849"/>
                  <a:gd name="connsiteY9" fmla="*/ 1532432 h 1776578"/>
                  <a:gd name="connsiteX10" fmla="*/ 311506 w 1254849"/>
                  <a:gd name="connsiteY10" fmla="*/ 1776578 h 1776578"/>
                  <a:gd name="connsiteX0" fmla="*/ 311506 w 1254849"/>
                  <a:gd name="connsiteY0" fmla="*/ 1776578 h 1776578"/>
                  <a:gd name="connsiteX1" fmla="*/ 586962 w 1254849"/>
                  <a:gd name="connsiteY1" fmla="*/ 1319136 h 1776578"/>
                  <a:gd name="connsiteX2" fmla="*/ 1254849 w 1254849"/>
                  <a:gd name="connsiteY2" fmla="*/ 227896 h 1776578"/>
                  <a:gd name="connsiteX3" fmla="*/ 1180609 w 1254849"/>
                  <a:gd name="connsiteY3" fmla="*/ 167289 h 1776578"/>
                  <a:gd name="connsiteX4" fmla="*/ 1076510 w 1254849"/>
                  <a:gd name="connsiteY4" fmla="*/ 228681 h 1776578"/>
                  <a:gd name="connsiteX5" fmla="*/ 852086 w 1254849"/>
                  <a:gd name="connsiteY5" fmla="*/ 285919 h 1776578"/>
                  <a:gd name="connsiteX6" fmla="*/ 955800 w 1254849"/>
                  <a:gd name="connsiteY6" fmla="*/ 113137 h 1776578"/>
                  <a:gd name="connsiteX7" fmla="*/ 801559 w 1254849"/>
                  <a:gd name="connsiteY7" fmla="*/ 0 h 1776578"/>
                  <a:gd name="connsiteX8" fmla="*/ 306177 w 1254849"/>
                  <a:gd name="connsiteY8" fmla="*/ 800196 h 1776578"/>
                  <a:gd name="connsiteX9" fmla="*/ 399188 w 1254849"/>
                  <a:gd name="connsiteY9" fmla="*/ 873808 h 1776578"/>
                  <a:gd name="connsiteX10" fmla="*/ 0 w 1254849"/>
                  <a:gd name="connsiteY10" fmla="*/ 1532432 h 1776578"/>
                  <a:gd name="connsiteX11" fmla="*/ 311506 w 1254849"/>
                  <a:gd name="connsiteY11" fmla="*/ 1776578 h 1776578"/>
                  <a:gd name="connsiteX0" fmla="*/ 394215 w 1254849"/>
                  <a:gd name="connsiteY0" fmla="*/ 1921009 h 1921009"/>
                  <a:gd name="connsiteX1" fmla="*/ 586962 w 1254849"/>
                  <a:gd name="connsiteY1" fmla="*/ 1319136 h 1921009"/>
                  <a:gd name="connsiteX2" fmla="*/ 1254849 w 1254849"/>
                  <a:gd name="connsiteY2" fmla="*/ 227896 h 1921009"/>
                  <a:gd name="connsiteX3" fmla="*/ 1180609 w 1254849"/>
                  <a:gd name="connsiteY3" fmla="*/ 167289 h 1921009"/>
                  <a:gd name="connsiteX4" fmla="*/ 1076510 w 1254849"/>
                  <a:gd name="connsiteY4" fmla="*/ 228681 h 1921009"/>
                  <a:gd name="connsiteX5" fmla="*/ 852086 w 1254849"/>
                  <a:gd name="connsiteY5" fmla="*/ 285919 h 1921009"/>
                  <a:gd name="connsiteX6" fmla="*/ 955800 w 1254849"/>
                  <a:gd name="connsiteY6" fmla="*/ 113137 h 1921009"/>
                  <a:gd name="connsiteX7" fmla="*/ 801559 w 1254849"/>
                  <a:gd name="connsiteY7" fmla="*/ 0 h 1921009"/>
                  <a:gd name="connsiteX8" fmla="*/ 306177 w 1254849"/>
                  <a:gd name="connsiteY8" fmla="*/ 800196 h 1921009"/>
                  <a:gd name="connsiteX9" fmla="*/ 399188 w 1254849"/>
                  <a:gd name="connsiteY9" fmla="*/ 873808 h 1921009"/>
                  <a:gd name="connsiteX10" fmla="*/ 0 w 1254849"/>
                  <a:gd name="connsiteY10" fmla="*/ 1532432 h 1921009"/>
                  <a:gd name="connsiteX11" fmla="*/ 394215 w 1254849"/>
                  <a:gd name="connsiteY11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429981 w 1290615"/>
                  <a:gd name="connsiteY11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429981 w 1290615"/>
                  <a:gd name="connsiteY12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146591 w 1290615"/>
                  <a:gd name="connsiteY12" fmla="*/ 1701878 h 1921009"/>
                  <a:gd name="connsiteX13" fmla="*/ 429981 w 1290615"/>
                  <a:gd name="connsiteY13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106354 w 1290615"/>
                  <a:gd name="connsiteY12" fmla="*/ 1677806 h 1921009"/>
                  <a:gd name="connsiteX13" fmla="*/ 146591 w 1290615"/>
                  <a:gd name="connsiteY13" fmla="*/ 1701878 h 1921009"/>
                  <a:gd name="connsiteX14" fmla="*/ 429981 w 1290615"/>
                  <a:gd name="connsiteY14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46591 w 1290615"/>
                  <a:gd name="connsiteY13" fmla="*/ 1701878 h 1921009"/>
                  <a:gd name="connsiteX14" fmla="*/ 429981 w 1290615"/>
                  <a:gd name="connsiteY14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3060 w 1290615"/>
                  <a:gd name="connsiteY13" fmla="*/ 1697063 h 1921009"/>
                  <a:gd name="connsiteX14" fmla="*/ 146591 w 1290615"/>
                  <a:gd name="connsiteY14" fmla="*/ 1701878 h 1921009"/>
                  <a:gd name="connsiteX15" fmla="*/ 429981 w 1290615"/>
                  <a:gd name="connsiteY15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429981 w 1290615"/>
                  <a:gd name="connsiteY15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429981 w 1290615"/>
                  <a:gd name="connsiteY16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312009 w 1290615"/>
                  <a:gd name="connsiteY16" fmla="*/ 1836680 h 1921009"/>
                  <a:gd name="connsiteX17" fmla="*/ 429981 w 1290615"/>
                  <a:gd name="connsiteY17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256125 w 1290615"/>
                  <a:gd name="connsiteY16" fmla="*/ 1790944 h 1921009"/>
                  <a:gd name="connsiteX17" fmla="*/ 312009 w 1290615"/>
                  <a:gd name="connsiteY17" fmla="*/ 1836680 h 1921009"/>
                  <a:gd name="connsiteX18" fmla="*/ 429981 w 1290615"/>
                  <a:gd name="connsiteY18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312009 w 1290615"/>
                  <a:gd name="connsiteY17" fmla="*/ 1836680 h 1921009"/>
                  <a:gd name="connsiteX18" fmla="*/ 429981 w 1290615"/>
                  <a:gd name="connsiteY18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67302 w 1290615"/>
                  <a:gd name="connsiteY17" fmla="*/ 1824645 h 1921009"/>
                  <a:gd name="connsiteX18" fmla="*/ 312009 w 1290615"/>
                  <a:gd name="connsiteY18" fmla="*/ 1836680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312009 w 1290615"/>
                  <a:gd name="connsiteY18" fmla="*/ 1836680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3882 w 1290615"/>
                  <a:gd name="connsiteY12" fmla="*/ 1704285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6118 w 1290615"/>
                  <a:gd name="connsiteY12" fmla="*/ 1709100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0615" h="1921009">
                    <a:moveTo>
                      <a:pt x="429981" y="1921009"/>
                    </a:moveTo>
                    <a:lnTo>
                      <a:pt x="622728" y="1319136"/>
                    </a:lnTo>
                    <a:lnTo>
                      <a:pt x="1290615" y="227896"/>
                    </a:lnTo>
                    <a:lnTo>
                      <a:pt x="1216375" y="167289"/>
                    </a:lnTo>
                    <a:cubicBezTo>
                      <a:pt x="1188381" y="204603"/>
                      <a:pt x="1180506" y="200995"/>
                      <a:pt x="1105570" y="231088"/>
                    </a:cubicBezTo>
                    <a:lnTo>
                      <a:pt x="887852" y="285919"/>
                    </a:lnTo>
                    <a:lnTo>
                      <a:pt x="991566" y="113137"/>
                    </a:lnTo>
                    <a:lnTo>
                      <a:pt x="837325" y="0"/>
                    </a:lnTo>
                    <a:lnTo>
                      <a:pt x="341943" y="800196"/>
                    </a:lnTo>
                    <a:lnTo>
                      <a:pt x="434954" y="873808"/>
                    </a:lnTo>
                    <a:lnTo>
                      <a:pt x="0" y="1587796"/>
                    </a:lnTo>
                    <a:lnTo>
                      <a:pt x="97413" y="1665770"/>
                    </a:lnTo>
                    <a:lnTo>
                      <a:pt x="66118" y="1709100"/>
                    </a:lnTo>
                    <a:lnTo>
                      <a:pt x="117532" y="1752429"/>
                    </a:lnTo>
                    <a:lnTo>
                      <a:pt x="146591" y="1701878"/>
                    </a:lnTo>
                    <a:lnTo>
                      <a:pt x="220359" y="1757244"/>
                    </a:lnTo>
                    <a:lnTo>
                      <a:pt x="193534" y="1800572"/>
                    </a:lnTo>
                    <a:lnTo>
                      <a:pt x="249419" y="1839087"/>
                    </a:lnTo>
                    <a:lnTo>
                      <a:pt x="271773" y="1800573"/>
                    </a:lnTo>
                    <a:lnTo>
                      <a:pt x="429981" y="1921009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33669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4" name="G120">
              <a:extLst>
                <a:ext uri="{FF2B5EF4-FFF2-40B4-BE49-F238E27FC236}">
                  <a16:creationId xmlns:a16="http://schemas.microsoft.com/office/drawing/2014/main" id="{2AB17AD2-A47B-4F99-B136-4AC323BCB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20675" y="6247567"/>
              <a:ext cx="512097" cy="1187185"/>
            </a:xfrm>
            <a:custGeom>
              <a:avLst/>
              <a:gdLst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68036 w 2466295"/>
                <a:gd name="connsiteY28" fmla="*/ 212612 h 4073638"/>
                <a:gd name="connsiteX29" fmla="*/ 136072 w 2466295"/>
                <a:gd name="connsiteY29" fmla="*/ 178594 h 4073638"/>
                <a:gd name="connsiteX30" fmla="*/ 204108 w 2466295"/>
                <a:gd name="connsiteY30" fmla="*/ 85045 h 4073638"/>
                <a:gd name="connsiteX31" fmla="*/ 161585 w 2466295"/>
                <a:gd name="connsiteY31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68036 w 2466295"/>
                <a:gd name="connsiteY28" fmla="*/ 212612 h 4073638"/>
                <a:gd name="connsiteX29" fmla="*/ 204108 w 2466295"/>
                <a:gd name="connsiteY29" fmla="*/ 85045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04108 w 2466295"/>
                <a:gd name="connsiteY29" fmla="*/ 85045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32056 w 2466295"/>
                <a:gd name="connsiteY29" fmla="*/ 60103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21893 w 2466295"/>
                <a:gd name="connsiteY29" fmla="*/ 52620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21420 w 2466295"/>
                <a:gd name="connsiteY16" fmla="*/ 3927997 h 4073638"/>
                <a:gd name="connsiteX17" fmla="*/ 2381250 w 2466295"/>
                <a:gd name="connsiteY17" fmla="*/ 4073638 h 4073638"/>
                <a:gd name="connsiteX18" fmla="*/ 2466295 w 2466295"/>
                <a:gd name="connsiteY18" fmla="*/ 4048125 h 4073638"/>
                <a:gd name="connsiteX19" fmla="*/ 2143125 w 2466295"/>
                <a:gd name="connsiteY19" fmla="*/ 2721429 h 4073638"/>
                <a:gd name="connsiteX20" fmla="*/ 2143125 w 2466295"/>
                <a:gd name="connsiteY20" fmla="*/ 2721429 h 4073638"/>
                <a:gd name="connsiteX21" fmla="*/ 2211161 w 2466295"/>
                <a:gd name="connsiteY21" fmla="*/ 2653393 h 4073638"/>
                <a:gd name="connsiteX22" fmla="*/ 2126117 w 2466295"/>
                <a:gd name="connsiteY22" fmla="*/ 2661897 h 4073638"/>
                <a:gd name="connsiteX23" fmla="*/ 722880 w 2466295"/>
                <a:gd name="connsiteY23" fmla="*/ 1241652 h 4073638"/>
                <a:gd name="connsiteX24" fmla="*/ 765402 w 2466295"/>
                <a:gd name="connsiteY24" fmla="*/ 1182121 h 4073638"/>
                <a:gd name="connsiteX25" fmla="*/ 1071563 w 2466295"/>
                <a:gd name="connsiteY25" fmla="*/ 884464 h 4073638"/>
                <a:gd name="connsiteX26" fmla="*/ 1071563 w 2466295"/>
                <a:gd name="connsiteY26" fmla="*/ 884464 h 4073638"/>
                <a:gd name="connsiteX27" fmla="*/ 697367 w 2466295"/>
                <a:gd name="connsiteY27" fmla="*/ 1207634 h 4073638"/>
                <a:gd name="connsiteX28" fmla="*/ 127567 w 2466295"/>
                <a:gd name="connsiteY28" fmla="*/ 629330 h 4073638"/>
                <a:gd name="connsiteX29" fmla="*/ 83280 w 2466295"/>
                <a:gd name="connsiteY29" fmla="*/ 190164 h 4073638"/>
                <a:gd name="connsiteX30" fmla="*/ 221893 w 2466295"/>
                <a:gd name="connsiteY30" fmla="*/ 52620 h 4073638"/>
                <a:gd name="connsiteX31" fmla="*/ 161585 w 2466295"/>
                <a:gd name="connsiteY31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21420 w 2466295"/>
                <a:gd name="connsiteY16" fmla="*/ 3927997 h 4073638"/>
                <a:gd name="connsiteX17" fmla="*/ 2381250 w 2466295"/>
                <a:gd name="connsiteY17" fmla="*/ 4073638 h 4073638"/>
                <a:gd name="connsiteX18" fmla="*/ 2466295 w 2466295"/>
                <a:gd name="connsiteY18" fmla="*/ 4048125 h 4073638"/>
                <a:gd name="connsiteX19" fmla="*/ 2426659 w 2466295"/>
                <a:gd name="connsiteY19" fmla="*/ 3927997 h 4073638"/>
                <a:gd name="connsiteX20" fmla="*/ 2143125 w 2466295"/>
                <a:gd name="connsiteY20" fmla="*/ 2721429 h 4073638"/>
                <a:gd name="connsiteX21" fmla="*/ 2143125 w 2466295"/>
                <a:gd name="connsiteY21" fmla="*/ 2721429 h 4073638"/>
                <a:gd name="connsiteX22" fmla="*/ 2211161 w 2466295"/>
                <a:gd name="connsiteY22" fmla="*/ 2653393 h 4073638"/>
                <a:gd name="connsiteX23" fmla="*/ 2126117 w 2466295"/>
                <a:gd name="connsiteY23" fmla="*/ 2661897 h 4073638"/>
                <a:gd name="connsiteX24" fmla="*/ 722880 w 2466295"/>
                <a:gd name="connsiteY24" fmla="*/ 1241652 h 4073638"/>
                <a:gd name="connsiteX25" fmla="*/ 765402 w 2466295"/>
                <a:gd name="connsiteY25" fmla="*/ 1182121 h 4073638"/>
                <a:gd name="connsiteX26" fmla="*/ 1071563 w 2466295"/>
                <a:gd name="connsiteY26" fmla="*/ 884464 h 4073638"/>
                <a:gd name="connsiteX27" fmla="*/ 1071563 w 2466295"/>
                <a:gd name="connsiteY27" fmla="*/ 884464 h 4073638"/>
                <a:gd name="connsiteX28" fmla="*/ 697367 w 2466295"/>
                <a:gd name="connsiteY28" fmla="*/ 1207634 h 4073638"/>
                <a:gd name="connsiteX29" fmla="*/ 127567 w 2466295"/>
                <a:gd name="connsiteY29" fmla="*/ 629330 h 4073638"/>
                <a:gd name="connsiteX30" fmla="*/ 83280 w 2466295"/>
                <a:gd name="connsiteY30" fmla="*/ 190164 h 4073638"/>
                <a:gd name="connsiteX31" fmla="*/ 221893 w 2466295"/>
                <a:gd name="connsiteY31" fmla="*/ 52620 h 4073638"/>
                <a:gd name="connsiteX32" fmla="*/ 161585 w 2466295"/>
                <a:gd name="connsiteY32" fmla="*/ 0 h 4073638"/>
                <a:gd name="connsiteX0" fmla="*/ 161585 w 2466295"/>
                <a:gd name="connsiteY0" fmla="*/ 0 h 6411930"/>
                <a:gd name="connsiteX1" fmla="*/ 0 w 2466295"/>
                <a:gd name="connsiteY1" fmla="*/ 161585 h 6411930"/>
                <a:gd name="connsiteX2" fmla="*/ 42523 w 2466295"/>
                <a:gd name="connsiteY2" fmla="*/ 680357 h 6411930"/>
                <a:gd name="connsiteX3" fmla="*/ 2066585 w 2466295"/>
                <a:gd name="connsiteY3" fmla="*/ 2712924 h 6411930"/>
                <a:gd name="connsiteX4" fmla="*/ 2160134 w 2466295"/>
                <a:gd name="connsiteY4" fmla="*/ 3206183 h 6411930"/>
                <a:gd name="connsiteX5" fmla="*/ 782411 w 2466295"/>
                <a:gd name="connsiteY5" fmla="*/ 3529353 h 6411930"/>
                <a:gd name="connsiteX6" fmla="*/ 518773 w 2466295"/>
                <a:gd name="connsiteY6" fmla="*/ 3520848 h 6411930"/>
                <a:gd name="connsiteX7" fmla="*/ 527277 w 2466295"/>
                <a:gd name="connsiteY7" fmla="*/ 3580380 h 6411930"/>
                <a:gd name="connsiteX8" fmla="*/ 782411 w 2466295"/>
                <a:gd name="connsiteY8" fmla="*/ 3597388 h 6411930"/>
                <a:gd name="connsiteX9" fmla="*/ 1224643 w 2466295"/>
                <a:gd name="connsiteY9" fmla="*/ 3486830 h 6411930"/>
                <a:gd name="connsiteX10" fmla="*/ 1250157 w 2466295"/>
                <a:gd name="connsiteY10" fmla="*/ 3546362 h 6411930"/>
                <a:gd name="connsiteX11" fmla="*/ 1352210 w 2466295"/>
                <a:gd name="connsiteY11" fmla="*/ 3639911 h 6411930"/>
                <a:gd name="connsiteX12" fmla="*/ 1411742 w 2466295"/>
                <a:gd name="connsiteY12" fmla="*/ 3554866 h 6411930"/>
                <a:gd name="connsiteX13" fmla="*/ 1318192 w 2466295"/>
                <a:gd name="connsiteY13" fmla="*/ 3503839 h 6411930"/>
                <a:gd name="connsiteX14" fmla="*/ 1318192 w 2466295"/>
                <a:gd name="connsiteY14" fmla="*/ 3461317 h 6411930"/>
                <a:gd name="connsiteX15" fmla="*/ 2194152 w 2466295"/>
                <a:gd name="connsiteY15" fmla="*/ 3257210 h 6411930"/>
                <a:gd name="connsiteX16" fmla="*/ 2321420 w 2466295"/>
                <a:gd name="connsiteY16" fmla="*/ 3927997 h 6411930"/>
                <a:gd name="connsiteX17" fmla="*/ 1443662 w 2466295"/>
                <a:gd name="connsiteY17" fmla="*/ 6411930 h 6411930"/>
                <a:gd name="connsiteX18" fmla="*/ 2466295 w 2466295"/>
                <a:gd name="connsiteY18" fmla="*/ 4048125 h 6411930"/>
                <a:gd name="connsiteX19" fmla="*/ 2426659 w 2466295"/>
                <a:gd name="connsiteY19" fmla="*/ 3927997 h 6411930"/>
                <a:gd name="connsiteX20" fmla="*/ 2143125 w 2466295"/>
                <a:gd name="connsiteY20" fmla="*/ 2721429 h 6411930"/>
                <a:gd name="connsiteX21" fmla="*/ 2143125 w 2466295"/>
                <a:gd name="connsiteY21" fmla="*/ 2721429 h 6411930"/>
                <a:gd name="connsiteX22" fmla="*/ 2211161 w 2466295"/>
                <a:gd name="connsiteY22" fmla="*/ 2653393 h 6411930"/>
                <a:gd name="connsiteX23" fmla="*/ 2126117 w 2466295"/>
                <a:gd name="connsiteY23" fmla="*/ 2661897 h 6411930"/>
                <a:gd name="connsiteX24" fmla="*/ 722880 w 2466295"/>
                <a:gd name="connsiteY24" fmla="*/ 1241652 h 6411930"/>
                <a:gd name="connsiteX25" fmla="*/ 765402 w 2466295"/>
                <a:gd name="connsiteY25" fmla="*/ 1182121 h 6411930"/>
                <a:gd name="connsiteX26" fmla="*/ 1071563 w 2466295"/>
                <a:gd name="connsiteY26" fmla="*/ 884464 h 6411930"/>
                <a:gd name="connsiteX27" fmla="*/ 1071563 w 2466295"/>
                <a:gd name="connsiteY27" fmla="*/ 884464 h 6411930"/>
                <a:gd name="connsiteX28" fmla="*/ 697367 w 2466295"/>
                <a:gd name="connsiteY28" fmla="*/ 1207634 h 6411930"/>
                <a:gd name="connsiteX29" fmla="*/ 127567 w 2466295"/>
                <a:gd name="connsiteY29" fmla="*/ 629330 h 6411930"/>
                <a:gd name="connsiteX30" fmla="*/ 83280 w 2466295"/>
                <a:gd name="connsiteY30" fmla="*/ 190164 h 6411930"/>
                <a:gd name="connsiteX31" fmla="*/ 221893 w 2466295"/>
                <a:gd name="connsiteY31" fmla="*/ 52620 h 6411930"/>
                <a:gd name="connsiteX32" fmla="*/ 161585 w 2466295"/>
                <a:gd name="connsiteY32" fmla="*/ 0 h 6411930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2426659 w 2426659"/>
                <a:gd name="connsiteY19" fmla="*/ 3927997 h 6554774"/>
                <a:gd name="connsiteX20" fmla="*/ 2143125 w 2426659"/>
                <a:gd name="connsiteY20" fmla="*/ 2721429 h 6554774"/>
                <a:gd name="connsiteX21" fmla="*/ 2143125 w 2426659"/>
                <a:gd name="connsiteY21" fmla="*/ 2721429 h 6554774"/>
                <a:gd name="connsiteX22" fmla="*/ 2211161 w 2426659"/>
                <a:gd name="connsiteY22" fmla="*/ 2653393 h 6554774"/>
                <a:gd name="connsiteX23" fmla="*/ 2126117 w 2426659"/>
                <a:gd name="connsiteY23" fmla="*/ 2661897 h 6554774"/>
                <a:gd name="connsiteX24" fmla="*/ 722880 w 2426659"/>
                <a:gd name="connsiteY24" fmla="*/ 1241652 h 6554774"/>
                <a:gd name="connsiteX25" fmla="*/ 765402 w 2426659"/>
                <a:gd name="connsiteY25" fmla="*/ 1182121 h 6554774"/>
                <a:gd name="connsiteX26" fmla="*/ 1071563 w 2426659"/>
                <a:gd name="connsiteY26" fmla="*/ 884464 h 6554774"/>
                <a:gd name="connsiteX27" fmla="*/ 1071563 w 2426659"/>
                <a:gd name="connsiteY27" fmla="*/ 884464 h 6554774"/>
                <a:gd name="connsiteX28" fmla="*/ 697367 w 2426659"/>
                <a:gd name="connsiteY28" fmla="*/ 1207634 h 6554774"/>
                <a:gd name="connsiteX29" fmla="*/ 127567 w 2426659"/>
                <a:gd name="connsiteY29" fmla="*/ 629330 h 6554774"/>
                <a:gd name="connsiteX30" fmla="*/ 83280 w 2426659"/>
                <a:gd name="connsiteY30" fmla="*/ 190164 h 6554774"/>
                <a:gd name="connsiteX31" fmla="*/ 221893 w 2426659"/>
                <a:gd name="connsiteY31" fmla="*/ 52620 h 6554774"/>
                <a:gd name="connsiteX32" fmla="*/ 161585 w 2426659"/>
                <a:gd name="connsiteY32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1709118 w 2426659"/>
                <a:gd name="connsiteY19" fmla="*/ 5854749 h 6554774"/>
                <a:gd name="connsiteX20" fmla="*/ 2426659 w 2426659"/>
                <a:gd name="connsiteY20" fmla="*/ 3927997 h 6554774"/>
                <a:gd name="connsiteX21" fmla="*/ 2143125 w 2426659"/>
                <a:gd name="connsiteY21" fmla="*/ 2721429 h 6554774"/>
                <a:gd name="connsiteX22" fmla="*/ 2143125 w 2426659"/>
                <a:gd name="connsiteY22" fmla="*/ 2721429 h 6554774"/>
                <a:gd name="connsiteX23" fmla="*/ 2211161 w 2426659"/>
                <a:gd name="connsiteY23" fmla="*/ 2653393 h 6554774"/>
                <a:gd name="connsiteX24" fmla="*/ 2126117 w 2426659"/>
                <a:gd name="connsiteY24" fmla="*/ 2661897 h 6554774"/>
                <a:gd name="connsiteX25" fmla="*/ 722880 w 2426659"/>
                <a:gd name="connsiteY25" fmla="*/ 1241652 h 6554774"/>
                <a:gd name="connsiteX26" fmla="*/ 765402 w 2426659"/>
                <a:gd name="connsiteY26" fmla="*/ 1182121 h 6554774"/>
                <a:gd name="connsiteX27" fmla="*/ 1071563 w 2426659"/>
                <a:gd name="connsiteY27" fmla="*/ 884464 h 6554774"/>
                <a:gd name="connsiteX28" fmla="*/ 1071563 w 2426659"/>
                <a:gd name="connsiteY28" fmla="*/ 884464 h 6554774"/>
                <a:gd name="connsiteX29" fmla="*/ 697367 w 2426659"/>
                <a:gd name="connsiteY29" fmla="*/ 1207634 h 6554774"/>
                <a:gd name="connsiteX30" fmla="*/ 127567 w 2426659"/>
                <a:gd name="connsiteY30" fmla="*/ 629330 h 6554774"/>
                <a:gd name="connsiteX31" fmla="*/ 83280 w 2426659"/>
                <a:gd name="connsiteY31" fmla="*/ 190164 h 6554774"/>
                <a:gd name="connsiteX32" fmla="*/ 221893 w 2426659"/>
                <a:gd name="connsiteY32" fmla="*/ 52620 h 6554774"/>
                <a:gd name="connsiteX33" fmla="*/ 161585 w 2426659"/>
                <a:gd name="connsiteY33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1967433 w 2426659"/>
                <a:gd name="connsiteY19" fmla="*/ 6528178 h 6554774"/>
                <a:gd name="connsiteX20" fmla="*/ 2426659 w 2426659"/>
                <a:gd name="connsiteY20" fmla="*/ 3927997 h 6554774"/>
                <a:gd name="connsiteX21" fmla="*/ 2143125 w 2426659"/>
                <a:gd name="connsiteY21" fmla="*/ 2721429 h 6554774"/>
                <a:gd name="connsiteX22" fmla="*/ 2143125 w 2426659"/>
                <a:gd name="connsiteY22" fmla="*/ 2721429 h 6554774"/>
                <a:gd name="connsiteX23" fmla="*/ 2211161 w 2426659"/>
                <a:gd name="connsiteY23" fmla="*/ 2653393 h 6554774"/>
                <a:gd name="connsiteX24" fmla="*/ 2126117 w 2426659"/>
                <a:gd name="connsiteY24" fmla="*/ 2661897 h 6554774"/>
                <a:gd name="connsiteX25" fmla="*/ 722880 w 2426659"/>
                <a:gd name="connsiteY25" fmla="*/ 1241652 h 6554774"/>
                <a:gd name="connsiteX26" fmla="*/ 765402 w 2426659"/>
                <a:gd name="connsiteY26" fmla="*/ 1182121 h 6554774"/>
                <a:gd name="connsiteX27" fmla="*/ 1071563 w 2426659"/>
                <a:gd name="connsiteY27" fmla="*/ 884464 h 6554774"/>
                <a:gd name="connsiteX28" fmla="*/ 1071563 w 2426659"/>
                <a:gd name="connsiteY28" fmla="*/ 884464 h 6554774"/>
                <a:gd name="connsiteX29" fmla="*/ 697367 w 2426659"/>
                <a:gd name="connsiteY29" fmla="*/ 1207634 h 6554774"/>
                <a:gd name="connsiteX30" fmla="*/ 127567 w 2426659"/>
                <a:gd name="connsiteY30" fmla="*/ 629330 h 6554774"/>
                <a:gd name="connsiteX31" fmla="*/ 83280 w 2426659"/>
                <a:gd name="connsiteY31" fmla="*/ 190164 h 6554774"/>
                <a:gd name="connsiteX32" fmla="*/ 221893 w 2426659"/>
                <a:gd name="connsiteY32" fmla="*/ 52620 h 6554774"/>
                <a:gd name="connsiteX33" fmla="*/ 161585 w 2426659"/>
                <a:gd name="connsiteY33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642148 w 2426659"/>
                <a:gd name="connsiteY17" fmla="*/ 5854749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426659 w 2426659"/>
                <a:gd name="connsiteY21" fmla="*/ 3927997 h 6554774"/>
                <a:gd name="connsiteX22" fmla="*/ 2143125 w 2426659"/>
                <a:gd name="connsiteY22" fmla="*/ 2721429 h 6554774"/>
                <a:gd name="connsiteX23" fmla="*/ 2143125 w 2426659"/>
                <a:gd name="connsiteY23" fmla="*/ 2721429 h 6554774"/>
                <a:gd name="connsiteX24" fmla="*/ 2211161 w 2426659"/>
                <a:gd name="connsiteY24" fmla="*/ 2653393 h 6554774"/>
                <a:gd name="connsiteX25" fmla="*/ 2126117 w 2426659"/>
                <a:gd name="connsiteY25" fmla="*/ 2661897 h 6554774"/>
                <a:gd name="connsiteX26" fmla="*/ 722880 w 2426659"/>
                <a:gd name="connsiteY26" fmla="*/ 1241652 h 6554774"/>
                <a:gd name="connsiteX27" fmla="*/ 765402 w 2426659"/>
                <a:gd name="connsiteY27" fmla="*/ 1182121 h 6554774"/>
                <a:gd name="connsiteX28" fmla="*/ 1071563 w 2426659"/>
                <a:gd name="connsiteY28" fmla="*/ 884464 h 6554774"/>
                <a:gd name="connsiteX29" fmla="*/ 1071563 w 2426659"/>
                <a:gd name="connsiteY29" fmla="*/ 884464 h 6554774"/>
                <a:gd name="connsiteX30" fmla="*/ 697367 w 2426659"/>
                <a:gd name="connsiteY30" fmla="*/ 1207634 h 6554774"/>
                <a:gd name="connsiteX31" fmla="*/ 127567 w 2426659"/>
                <a:gd name="connsiteY31" fmla="*/ 629330 h 6554774"/>
                <a:gd name="connsiteX32" fmla="*/ 83280 w 2426659"/>
                <a:gd name="connsiteY32" fmla="*/ 190164 h 6554774"/>
                <a:gd name="connsiteX33" fmla="*/ 221893 w 2426659"/>
                <a:gd name="connsiteY33" fmla="*/ 52620 h 6554774"/>
                <a:gd name="connsiteX34" fmla="*/ 161585 w 2426659"/>
                <a:gd name="connsiteY34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881328 w 2426659"/>
                <a:gd name="connsiteY17" fmla="*/ 6434646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426659 w 2426659"/>
                <a:gd name="connsiteY21" fmla="*/ 3927997 h 6554774"/>
                <a:gd name="connsiteX22" fmla="*/ 2143125 w 2426659"/>
                <a:gd name="connsiteY22" fmla="*/ 2721429 h 6554774"/>
                <a:gd name="connsiteX23" fmla="*/ 2143125 w 2426659"/>
                <a:gd name="connsiteY23" fmla="*/ 2721429 h 6554774"/>
                <a:gd name="connsiteX24" fmla="*/ 2211161 w 2426659"/>
                <a:gd name="connsiteY24" fmla="*/ 2653393 h 6554774"/>
                <a:gd name="connsiteX25" fmla="*/ 2126117 w 2426659"/>
                <a:gd name="connsiteY25" fmla="*/ 2661897 h 6554774"/>
                <a:gd name="connsiteX26" fmla="*/ 722880 w 2426659"/>
                <a:gd name="connsiteY26" fmla="*/ 1241652 h 6554774"/>
                <a:gd name="connsiteX27" fmla="*/ 765402 w 2426659"/>
                <a:gd name="connsiteY27" fmla="*/ 1182121 h 6554774"/>
                <a:gd name="connsiteX28" fmla="*/ 1071563 w 2426659"/>
                <a:gd name="connsiteY28" fmla="*/ 884464 h 6554774"/>
                <a:gd name="connsiteX29" fmla="*/ 1071563 w 2426659"/>
                <a:gd name="connsiteY29" fmla="*/ 884464 h 6554774"/>
                <a:gd name="connsiteX30" fmla="*/ 697367 w 2426659"/>
                <a:gd name="connsiteY30" fmla="*/ 1207634 h 6554774"/>
                <a:gd name="connsiteX31" fmla="*/ 127567 w 2426659"/>
                <a:gd name="connsiteY31" fmla="*/ 629330 h 6554774"/>
                <a:gd name="connsiteX32" fmla="*/ 83280 w 2426659"/>
                <a:gd name="connsiteY32" fmla="*/ 190164 h 6554774"/>
                <a:gd name="connsiteX33" fmla="*/ 221893 w 2426659"/>
                <a:gd name="connsiteY33" fmla="*/ 52620 h 6554774"/>
                <a:gd name="connsiteX34" fmla="*/ 161585 w 2426659"/>
                <a:gd name="connsiteY34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881328 w 2426659"/>
                <a:gd name="connsiteY17" fmla="*/ 6434646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264017 w 2426659"/>
                <a:gd name="connsiteY21" fmla="*/ 4825901 h 6554774"/>
                <a:gd name="connsiteX22" fmla="*/ 2426659 w 2426659"/>
                <a:gd name="connsiteY22" fmla="*/ 3927997 h 6554774"/>
                <a:gd name="connsiteX23" fmla="*/ 2143125 w 2426659"/>
                <a:gd name="connsiteY23" fmla="*/ 2721429 h 6554774"/>
                <a:gd name="connsiteX24" fmla="*/ 2143125 w 2426659"/>
                <a:gd name="connsiteY24" fmla="*/ 2721429 h 6554774"/>
                <a:gd name="connsiteX25" fmla="*/ 2211161 w 2426659"/>
                <a:gd name="connsiteY25" fmla="*/ 2653393 h 6554774"/>
                <a:gd name="connsiteX26" fmla="*/ 2126117 w 2426659"/>
                <a:gd name="connsiteY26" fmla="*/ 2661897 h 6554774"/>
                <a:gd name="connsiteX27" fmla="*/ 722880 w 2426659"/>
                <a:gd name="connsiteY27" fmla="*/ 1241652 h 6554774"/>
                <a:gd name="connsiteX28" fmla="*/ 765402 w 2426659"/>
                <a:gd name="connsiteY28" fmla="*/ 1182121 h 6554774"/>
                <a:gd name="connsiteX29" fmla="*/ 1071563 w 2426659"/>
                <a:gd name="connsiteY29" fmla="*/ 884464 h 6554774"/>
                <a:gd name="connsiteX30" fmla="*/ 1071563 w 2426659"/>
                <a:gd name="connsiteY30" fmla="*/ 884464 h 6554774"/>
                <a:gd name="connsiteX31" fmla="*/ 697367 w 2426659"/>
                <a:gd name="connsiteY31" fmla="*/ 1207634 h 6554774"/>
                <a:gd name="connsiteX32" fmla="*/ 127567 w 2426659"/>
                <a:gd name="connsiteY32" fmla="*/ 629330 h 6554774"/>
                <a:gd name="connsiteX33" fmla="*/ 83280 w 2426659"/>
                <a:gd name="connsiteY33" fmla="*/ 190164 h 6554774"/>
                <a:gd name="connsiteX34" fmla="*/ 221893 w 2426659"/>
                <a:gd name="connsiteY34" fmla="*/ 52620 h 6554774"/>
                <a:gd name="connsiteX35" fmla="*/ 161585 w 2426659"/>
                <a:gd name="connsiteY35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1881328 w 2608437"/>
                <a:gd name="connsiteY17" fmla="*/ 6434646 h 6554774"/>
                <a:gd name="connsiteX18" fmla="*/ 1443662 w 2608437"/>
                <a:gd name="connsiteY18" fmla="*/ 6411930 h 6554774"/>
                <a:gd name="connsiteX19" fmla="*/ 1442602 w 2608437"/>
                <a:gd name="connsiteY19" fmla="*/ 6554774 h 6554774"/>
                <a:gd name="connsiteX20" fmla="*/ 1967433 w 2608437"/>
                <a:gd name="connsiteY20" fmla="*/ 6528178 h 6554774"/>
                <a:gd name="connsiteX21" fmla="*/ 2608437 w 2608437"/>
                <a:gd name="connsiteY21" fmla="*/ 4648191 h 6554774"/>
                <a:gd name="connsiteX22" fmla="*/ 2426659 w 2608437"/>
                <a:gd name="connsiteY22" fmla="*/ 3927997 h 6554774"/>
                <a:gd name="connsiteX23" fmla="*/ 2143125 w 2608437"/>
                <a:gd name="connsiteY23" fmla="*/ 2721429 h 6554774"/>
                <a:gd name="connsiteX24" fmla="*/ 2143125 w 2608437"/>
                <a:gd name="connsiteY24" fmla="*/ 2721429 h 6554774"/>
                <a:gd name="connsiteX25" fmla="*/ 2211161 w 2608437"/>
                <a:gd name="connsiteY25" fmla="*/ 2653393 h 6554774"/>
                <a:gd name="connsiteX26" fmla="*/ 2126117 w 2608437"/>
                <a:gd name="connsiteY26" fmla="*/ 2661897 h 6554774"/>
                <a:gd name="connsiteX27" fmla="*/ 722880 w 2608437"/>
                <a:gd name="connsiteY27" fmla="*/ 1241652 h 6554774"/>
                <a:gd name="connsiteX28" fmla="*/ 765402 w 2608437"/>
                <a:gd name="connsiteY28" fmla="*/ 1182121 h 6554774"/>
                <a:gd name="connsiteX29" fmla="*/ 1071563 w 2608437"/>
                <a:gd name="connsiteY29" fmla="*/ 884464 h 6554774"/>
                <a:gd name="connsiteX30" fmla="*/ 1071563 w 2608437"/>
                <a:gd name="connsiteY30" fmla="*/ 884464 h 6554774"/>
                <a:gd name="connsiteX31" fmla="*/ 697367 w 2608437"/>
                <a:gd name="connsiteY31" fmla="*/ 1207634 h 6554774"/>
                <a:gd name="connsiteX32" fmla="*/ 127567 w 2608437"/>
                <a:gd name="connsiteY32" fmla="*/ 629330 h 6554774"/>
                <a:gd name="connsiteX33" fmla="*/ 83280 w 2608437"/>
                <a:gd name="connsiteY33" fmla="*/ 190164 h 6554774"/>
                <a:gd name="connsiteX34" fmla="*/ 221893 w 2608437"/>
                <a:gd name="connsiteY34" fmla="*/ 52620 h 6554774"/>
                <a:gd name="connsiteX35" fmla="*/ 161585 w 2608437"/>
                <a:gd name="connsiteY35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2149210 w 2608437"/>
                <a:gd name="connsiteY17" fmla="*/ 4928786 h 6554774"/>
                <a:gd name="connsiteX18" fmla="*/ 1881328 w 2608437"/>
                <a:gd name="connsiteY18" fmla="*/ 6434646 h 6554774"/>
                <a:gd name="connsiteX19" fmla="*/ 1443662 w 2608437"/>
                <a:gd name="connsiteY19" fmla="*/ 6411930 h 6554774"/>
                <a:gd name="connsiteX20" fmla="*/ 1442602 w 2608437"/>
                <a:gd name="connsiteY20" fmla="*/ 6554774 h 6554774"/>
                <a:gd name="connsiteX21" fmla="*/ 1967433 w 2608437"/>
                <a:gd name="connsiteY21" fmla="*/ 6528178 h 6554774"/>
                <a:gd name="connsiteX22" fmla="*/ 2608437 w 2608437"/>
                <a:gd name="connsiteY22" fmla="*/ 4648191 h 6554774"/>
                <a:gd name="connsiteX23" fmla="*/ 2426659 w 2608437"/>
                <a:gd name="connsiteY23" fmla="*/ 3927997 h 6554774"/>
                <a:gd name="connsiteX24" fmla="*/ 2143125 w 2608437"/>
                <a:gd name="connsiteY24" fmla="*/ 2721429 h 6554774"/>
                <a:gd name="connsiteX25" fmla="*/ 2143125 w 2608437"/>
                <a:gd name="connsiteY25" fmla="*/ 2721429 h 6554774"/>
                <a:gd name="connsiteX26" fmla="*/ 2211161 w 2608437"/>
                <a:gd name="connsiteY26" fmla="*/ 2653393 h 6554774"/>
                <a:gd name="connsiteX27" fmla="*/ 2126117 w 2608437"/>
                <a:gd name="connsiteY27" fmla="*/ 2661897 h 6554774"/>
                <a:gd name="connsiteX28" fmla="*/ 722880 w 2608437"/>
                <a:gd name="connsiteY28" fmla="*/ 1241652 h 6554774"/>
                <a:gd name="connsiteX29" fmla="*/ 765402 w 2608437"/>
                <a:gd name="connsiteY29" fmla="*/ 1182121 h 6554774"/>
                <a:gd name="connsiteX30" fmla="*/ 1071563 w 2608437"/>
                <a:gd name="connsiteY30" fmla="*/ 884464 h 6554774"/>
                <a:gd name="connsiteX31" fmla="*/ 1071563 w 2608437"/>
                <a:gd name="connsiteY31" fmla="*/ 884464 h 6554774"/>
                <a:gd name="connsiteX32" fmla="*/ 697367 w 2608437"/>
                <a:gd name="connsiteY32" fmla="*/ 1207634 h 6554774"/>
                <a:gd name="connsiteX33" fmla="*/ 127567 w 2608437"/>
                <a:gd name="connsiteY33" fmla="*/ 629330 h 6554774"/>
                <a:gd name="connsiteX34" fmla="*/ 83280 w 2608437"/>
                <a:gd name="connsiteY34" fmla="*/ 190164 h 6554774"/>
                <a:gd name="connsiteX35" fmla="*/ 221893 w 2608437"/>
                <a:gd name="connsiteY35" fmla="*/ 52620 h 6554774"/>
                <a:gd name="connsiteX36" fmla="*/ 161585 w 2608437"/>
                <a:gd name="connsiteY36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2503198 w 2608437"/>
                <a:gd name="connsiteY17" fmla="*/ 4638838 h 6554774"/>
                <a:gd name="connsiteX18" fmla="*/ 1881328 w 2608437"/>
                <a:gd name="connsiteY18" fmla="*/ 6434646 h 6554774"/>
                <a:gd name="connsiteX19" fmla="*/ 1443662 w 2608437"/>
                <a:gd name="connsiteY19" fmla="*/ 6411930 h 6554774"/>
                <a:gd name="connsiteX20" fmla="*/ 1442602 w 2608437"/>
                <a:gd name="connsiteY20" fmla="*/ 6554774 h 6554774"/>
                <a:gd name="connsiteX21" fmla="*/ 1967433 w 2608437"/>
                <a:gd name="connsiteY21" fmla="*/ 6528178 h 6554774"/>
                <a:gd name="connsiteX22" fmla="*/ 2608437 w 2608437"/>
                <a:gd name="connsiteY22" fmla="*/ 4648191 h 6554774"/>
                <a:gd name="connsiteX23" fmla="*/ 2426659 w 2608437"/>
                <a:gd name="connsiteY23" fmla="*/ 3927997 h 6554774"/>
                <a:gd name="connsiteX24" fmla="*/ 2143125 w 2608437"/>
                <a:gd name="connsiteY24" fmla="*/ 2721429 h 6554774"/>
                <a:gd name="connsiteX25" fmla="*/ 2143125 w 2608437"/>
                <a:gd name="connsiteY25" fmla="*/ 2721429 h 6554774"/>
                <a:gd name="connsiteX26" fmla="*/ 2211161 w 2608437"/>
                <a:gd name="connsiteY26" fmla="*/ 2653393 h 6554774"/>
                <a:gd name="connsiteX27" fmla="*/ 2126117 w 2608437"/>
                <a:gd name="connsiteY27" fmla="*/ 2661897 h 6554774"/>
                <a:gd name="connsiteX28" fmla="*/ 722880 w 2608437"/>
                <a:gd name="connsiteY28" fmla="*/ 1241652 h 6554774"/>
                <a:gd name="connsiteX29" fmla="*/ 765402 w 2608437"/>
                <a:gd name="connsiteY29" fmla="*/ 1182121 h 6554774"/>
                <a:gd name="connsiteX30" fmla="*/ 1071563 w 2608437"/>
                <a:gd name="connsiteY30" fmla="*/ 884464 h 6554774"/>
                <a:gd name="connsiteX31" fmla="*/ 1071563 w 2608437"/>
                <a:gd name="connsiteY31" fmla="*/ 884464 h 6554774"/>
                <a:gd name="connsiteX32" fmla="*/ 697367 w 2608437"/>
                <a:gd name="connsiteY32" fmla="*/ 1207634 h 6554774"/>
                <a:gd name="connsiteX33" fmla="*/ 127567 w 2608437"/>
                <a:gd name="connsiteY33" fmla="*/ 629330 h 6554774"/>
                <a:gd name="connsiteX34" fmla="*/ 83280 w 2608437"/>
                <a:gd name="connsiteY34" fmla="*/ 190164 h 6554774"/>
                <a:gd name="connsiteX35" fmla="*/ 221893 w 2608437"/>
                <a:gd name="connsiteY35" fmla="*/ 52620 h 6554774"/>
                <a:gd name="connsiteX36" fmla="*/ 161585 w 2608437"/>
                <a:gd name="connsiteY36" fmla="*/ 0 h 6554774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1328 w 2608437"/>
                <a:gd name="connsiteY18" fmla="*/ 6434646 h 6531868"/>
                <a:gd name="connsiteX19" fmla="*/ 1443662 w 2608437"/>
                <a:gd name="connsiteY19" fmla="*/ 6411930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1328 w 2608437"/>
                <a:gd name="connsiteY18" fmla="*/ 6434646 h 6531868"/>
                <a:gd name="connsiteX19" fmla="*/ 1443663 w 2608437"/>
                <a:gd name="connsiteY19" fmla="*/ 6450107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9179 w 2608437"/>
                <a:gd name="connsiteY18" fmla="*/ 6449916 h 6531868"/>
                <a:gd name="connsiteX19" fmla="*/ 1443663 w 2608437"/>
                <a:gd name="connsiteY19" fmla="*/ 6450107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996"/>
                <a:gd name="connsiteX1" fmla="*/ 0 w 2608437"/>
                <a:gd name="connsiteY1" fmla="*/ 161585 h 6531996"/>
                <a:gd name="connsiteX2" fmla="*/ 42523 w 2608437"/>
                <a:gd name="connsiteY2" fmla="*/ 680357 h 6531996"/>
                <a:gd name="connsiteX3" fmla="*/ 2066585 w 2608437"/>
                <a:gd name="connsiteY3" fmla="*/ 2712924 h 6531996"/>
                <a:gd name="connsiteX4" fmla="*/ 2160134 w 2608437"/>
                <a:gd name="connsiteY4" fmla="*/ 3206183 h 6531996"/>
                <a:gd name="connsiteX5" fmla="*/ 782411 w 2608437"/>
                <a:gd name="connsiteY5" fmla="*/ 3529353 h 6531996"/>
                <a:gd name="connsiteX6" fmla="*/ 518773 w 2608437"/>
                <a:gd name="connsiteY6" fmla="*/ 3520848 h 6531996"/>
                <a:gd name="connsiteX7" fmla="*/ 527277 w 2608437"/>
                <a:gd name="connsiteY7" fmla="*/ 3580380 h 6531996"/>
                <a:gd name="connsiteX8" fmla="*/ 782411 w 2608437"/>
                <a:gd name="connsiteY8" fmla="*/ 3597388 h 6531996"/>
                <a:gd name="connsiteX9" fmla="*/ 1224643 w 2608437"/>
                <a:gd name="connsiteY9" fmla="*/ 3486830 h 6531996"/>
                <a:gd name="connsiteX10" fmla="*/ 1250157 w 2608437"/>
                <a:gd name="connsiteY10" fmla="*/ 3546362 h 6531996"/>
                <a:gd name="connsiteX11" fmla="*/ 1352210 w 2608437"/>
                <a:gd name="connsiteY11" fmla="*/ 3639911 h 6531996"/>
                <a:gd name="connsiteX12" fmla="*/ 1411742 w 2608437"/>
                <a:gd name="connsiteY12" fmla="*/ 3554866 h 6531996"/>
                <a:gd name="connsiteX13" fmla="*/ 1318192 w 2608437"/>
                <a:gd name="connsiteY13" fmla="*/ 3503839 h 6531996"/>
                <a:gd name="connsiteX14" fmla="*/ 1318192 w 2608437"/>
                <a:gd name="connsiteY14" fmla="*/ 3461317 h 6531996"/>
                <a:gd name="connsiteX15" fmla="*/ 2194152 w 2608437"/>
                <a:gd name="connsiteY15" fmla="*/ 3257210 h 6531996"/>
                <a:gd name="connsiteX16" fmla="*/ 2321420 w 2608437"/>
                <a:gd name="connsiteY16" fmla="*/ 3927997 h 6531996"/>
                <a:gd name="connsiteX17" fmla="*/ 2503198 w 2608437"/>
                <a:gd name="connsiteY17" fmla="*/ 4638838 h 6531996"/>
                <a:gd name="connsiteX18" fmla="*/ 1889179 w 2608437"/>
                <a:gd name="connsiteY18" fmla="*/ 6449916 h 6531996"/>
                <a:gd name="connsiteX19" fmla="*/ 1443663 w 2608437"/>
                <a:gd name="connsiteY19" fmla="*/ 6450107 h 6531996"/>
                <a:gd name="connsiteX20" fmla="*/ 1442602 w 2608437"/>
                <a:gd name="connsiteY20" fmla="*/ 6531868 h 6531996"/>
                <a:gd name="connsiteX21" fmla="*/ 1951734 w 2608437"/>
                <a:gd name="connsiteY21" fmla="*/ 6531996 h 6531996"/>
                <a:gd name="connsiteX22" fmla="*/ 2608437 w 2608437"/>
                <a:gd name="connsiteY22" fmla="*/ 4648191 h 6531996"/>
                <a:gd name="connsiteX23" fmla="*/ 2426659 w 2608437"/>
                <a:gd name="connsiteY23" fmla="*/ 3927997 h 6531996"/>
                <a:gd name="connsiteX24" fmla="*/ 2143125 w 2608437"/>
                <a:gd name="connsiteY24" fmla="*/ 2721429 h 6531996"/>
                <a:gd name="connsiteX25" fmla="*/ 2143125 w 2608437"/>
                <a:gd name="connsiteY25" fmla="*/ 2721429 h 6531996"/>
                <a:gd name="connsiteX26" fmla="*/ 2211161 w 2608437"/>
                <a:gd name="connsiteY26" fmla="*/ 2653393 h 6531996"/>
                <a:gd name="connsiteX27" fmla="*/ 2126117 w 2608437"/>
                <a:gd name="connsiteY27" fmla="*/ 2661897 h 6531996"/>
                <a:gd name="connsiteX28" fmla="*/ 722880 w 2608437"/>
                <a:gd name="connsiteY28" fmla="*/ 1241652 h 6531996"/>
                <a:gd name="connsiteX29" fmla="*/ 765402 w 2608437"/>
                <a:gd name="connsiteY29" fmla="*/ 1182121 h 6531996"/>
                <a:gd name="connsiteX30" fmla="*/ 1071563 w 2608437"/>
                <a:gd name="connsiteY30" fmla="*/ 884464 h 6531996"/>
                <a:gd name="connsiteX31" fmla="*/ 1071563 w 2608437"/>
                <a:gd name="connsiteY31" fmla="*/ 884464 h 6531996"/>
                <a:gd name="connsiteX32" fmla="*/ 697367 w 2608437"/>
                <a:gd name="connsiteY32" fmla="*/ 1207634 h 6531996"/>
                <a:gd name="connsiteX33" fmla="*/ 127567 w 2608437"/>
                <a:gd name="connsiteY33" fmla="*/ 629330 h 6531996"/>
                <a:gd name="connsiteX34" fmla="*/ 83280 w 2608437"/>
                <a:gd name="connsiteY34" fmla="*/ 190164 h 6531996"/>
                <a:gd name="connsiteX35" fmla="*/ 221893 w 2608437"/>
                <a:gd name="connsiteY35" fmla="*/ 52620 h 6531996"/>
                <a:gd name="connsiteX36" fmla="*/ 161585 w 2608437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321420 w 2624135"/>
                <a:gd name="connsiteY16" fmla="*/ 3927997 h 6531996"/>
                <a:gd name="connsiteX17" fmla="*/ 2503198 w 2624135"/>
                <a:gd name="connsiteY17" fmla="*/ 4638838 h 6531996"/>
                <a:gd name="connsiteX18" fmla="*/ 1889179 w 2624135"/>
                <a:gd name="connsiteY18" fmla="*/ 6449916 h 6531996"/>
                <a:gd name="connsiteX19" fmla="*/ 1443663 w 2624135"/>
                <a:gd name="connsiteY19" fmla="*/ 6450107 h 6531996"/>
                <a:gd name="connsiteX20" fmla="*/ 1442602 w 2624135"/>
                <a:gd name="connsiteY20" fmla="*/ 6531868 h 6531996"/>
                <a:gd name="connsiteX21" fmla="*/ 1951734 w 2624135"/>
                <a:gd name="connsiteY21" fmla="*/ 6531996 h 6531996"/>
                <a:gd name="connsiteX22" fmla="*/ 2624135 w 2624135"/>
                <a:gd name="connsiteY22" fmla="*/ 4671096 h 6531996"/>
                <a:gd name="connsiteX23" fmla="*/ 2426659 w 2624135"/>
                <a:gd name="connsiteY23" fmla="*/ 3927997 h 6531996"/>
                <a:gd name="connsiteX24" fmla="*/ 2143125 w 2624135"/>
                <a:gd name="connsiteY24" fmla="*/ 2721429 h 6531996"/>
                <a:gd name="connsiteX25" fmla="*/ 2143125 w 2624135"/>
                <a:gd name="connsiteY25" fmla="*/ 2721429 h 6531996"/>
                <a:gd name="connsiteX26" fmla="*/ 2211161 w 2624135"/>
                <a:gd name="connsiteY26" fmla="*/ 2653393 h 6531996"/>
                <a:gd name="connsiteX27" fmla="*/ 2126117 w 2624135"/>
                <a:gd name="connsiteY27" fmla="*/ 2661897 h 6531996"/>
                <a:gd name="connsiteX28" fmla="*/ 722880 w 2624135"/>
                <a:gd name="connsiteY28" fmla="*/ 1241652 h 6531996"/>
                <a:gd name="connsiteX29" fmla="*/ 765402 w 2624135"/>
                <a:gd name="connsiteY29" fmla="*/ 1182121 h 6531996"/>
                <a:gd name="connsiteX30" fmla="*/ 1071563 w 2624135"/>
                <a:gd name="connsiteY30" fmla="*/ 884464 h 6531996"/>
                <a:gd name="connsiteX31" fmla="*/ 1071563 w 2624135"/>
                <a:gd name="connsiteY31" fmla="*/ 884464 h 6531996"/>
                <a:gd name="connsiteX32" fmla="*/ 697367 w 2624135"/>
                <a:gd name="connsiteY32" fmla="*/ 1207634 h 6531996"/>
                <a:gd name="connsiteX33" fmla="*/ 127567 w 2624135"/>
                <a:gd name="connsiteY33" fmla="*/ 629330 h 6531996"/>
                <a:gd name="connsiteX34" fmla="*/ 83280 w 2624135"/>
                <a:gd name="connsiteY34" fmla="*/ 190164 h 6531996"/>
                <a:gd name="connsiteX35" fmla="*/ 221893 w 2624135"/>
                <a:gd name="connsiteY35" fmla="*/ 52620 h 6531996"/>
                <a:gd name="connsiteX36" fmla="*/ 161585 w 2624135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321420 w 2624135"/>
                <a:gd name="connsiteY16" fmla="*/ 3927997 h 6531996"/>
                <a:gd name="connsiteX17" fmla="*/ 2530672 w 2624135"/>
                <a:gd name="connsiteY17" fmla="*/ 4669379 h 6531996"/>
                <a:gd name="connsiteX18" fmla="*/ 1889179 w 2624135"/>
                <a:gd name="connsiteY18" fmla="*/ 6449916 h 6531996"/>
                <a:gd name="connsiteX19" fmla="*/ 1443663 w 2624135"/>
                <a:gd name="connsiteY19" fmla="*/ 6450107 h 6531996"/>
                <a:gd name="connsiteX20" fmla="*/ 1442602 w 2624135"/>
                <a:gd name="connsiteY20" fmla="*/ 6531868 h 6531996"/>
                <a:gd name="connsiteX21" fmla="*/ 1951734 w 2624135"/>
                <a:gd name="connsiteY21" fmla="*/ 6531996 h 6531996"/>
                <a:gd name="connsiteX22" fmla="*/ 2624135 w 2624135"/>
                <a:gd name="connsiteY22" fmla="*/ 4671096 h 6531996"/>
                <a:gd name="connsiteX23" fmla="*/ 2426659 w 2624135"/>
                <a:gd name="connsiteY23" fmla="*/ 3927997 h 6531996"/>
                <a:gd name="connsiteX24" fmla="*/ 2143125 w 2624135"/>
                <a:gd name="connsiteY24" fmla="*/ 2721429 h 6531996"/>
                <a:gd name="connsiteX25" fmla="*/ 2143125 w 2624135"/>
                <a:gd name="connsiteY25" fmla="*/ 2721429 h 6531996"/>
                <a:gd name="connsiteX26" fmla="*/ 2211161 w 2624135"/>
                <a:gd name="connsiteY26" fmla="*/ 2653393 h 6531996"/>
                <a:gd name="connsiteX27" fmla="*/ 2126117 w 2624135"/>
                <a:gd name="connsiteY27" fmla="*/ 2661897 h 6531996"/>
                <a:gd name="connsiteX28" fmla="*/ 722880 w 2624135"/>
                <a:gd name="connsiteY28" fmla="*/ 1241652 h 6531996"/>
                <a:gd name="connsiteX29" fmla="*/ 765402 w 2624135"/>
                <a:gd name="connsiteY29" fmla="*/ 1182121 h 6531996"/>
                <a:gd name="connsiteX30" fmla="*/ 1071563 w 2624135"/>
                <a:gd name="connsiteY30" fmla="*/ 884464 h 6531996"/>
                <a:gd name="connsiteX31" fmla="*/ 1071563 w 2624135"/>
                <a:gd name="connsiteY31" fmla="*/ 884464 h 6531996"/>
                <a:gd name="connsiteX32" fmla="*/ 697367 w 2624135"/>
                <a:gd name="connsiteY32" fmla="*/ 1207634 h 6531996"/>
                <a:gd name="connsiteX33" fmla="*/ 127567 w 2624135"/>
                <a:gd name="connsiteY33" fmla="*/ 629330 h 6531996"/>
                <a:gd name="connsiteX34" fmla="*/ 83280 w 2624135"/>
                <a:gd name="connsiteY34" fmla="*/ 190164 h 6531996"/>
                <a:gd name="connsiteX35" fmla="*/ 221893 w 2624135"/>
                <a:gd name="connsiteY35" fmla="*/ 52620 h 6531996"/>
                <a:gd name="connsiteX36" fmla="*/ 161585 w 2624135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530672 w 2624135"/>
                <a:gd name="connsiteY16" fmla="*/ 4669379 h 6531996"/>
                <a:gd name="connsiteX17" fmla="*/ 1889179 w 2624135"/>
                <a:gd name="connsiteY17" fmla="*/ 6449916 h 6531996"/>
                <a:gd name="connsiteX18" fmla="*/ 1443663 w 2624135"/>
                <a:gd name="connsiteY18" fmla="*/ 6450107 h 6531996"/>
                <a:gd name="connsiteX19" fmla="*/ 1442602 w 2624135"/>
                <a:gd name="connsiteY19" fmla="*/ 6531868 h 6531996"/>
                <a:gd name="connsiteX20" fmla="*/ 1951734 w 2624135"/>
                <a:gd name="connsiteY20" fmla="*/ 6531996 h 6531996"/>
                <a:gd name="connsiteX21" fmla="*/ 2624135 w 2624135"/>
                <a:gd name="connsiteY21" fmla="*/ 4671096 h 6531996"/>
                <a:gd name="connsiteX22" fmla="*/ 2426659 w 2624135"/>
                <a:gd name="connsiteY22" fmla="*/ 3927997 h 6531996"/>
                <a:gd name="connsiteX23" fmla="*/ 2143125 w 2624135"/>
                <a:gd name="connsiteY23" fmla="*/ 2721429 h 6531996"/>
                <a:gd name="connsiteX24" fmla="*/ 2143125 w 2624135"/>
                <a:gd name="connsiteY24" fmla="*/ 2721429 h 6531996"/>
                <a:gd name="connsiteX25" fmla="*/ 2211161 w 2624135"/>
                <a:gd name="connsiteY25" fmla="*/ 2653393 h 6531996"/>
                <a:gd name="connsiteX26" fmla="*/ 2126117 w 2624135"/>
                <a:gd name="connsiteY26" fmla="*/ 2661897 h 6531996"/>
                <a:gd name="connsiteX27" fmla="*/ 722880 w 2624135"/>
                <a:gd name="connsiteY27" fmla="*/ 1241652 h 6531996"/>
                <a:gd name="connsiteX28" fmla="*/ 765402 w 2624135"/>
                <a:gd name="connsiteY28" fmla="*/ 1182121 h 6531996"/>
                <a:gd name="connsiteX29" fmla="*/ 1071563 w 2624135"/>
                <a:gd name="connsiteY29" fmla="*/ 884464 h 6531996"/>
                <a:gd name="connsiteX30" fmla="*/ 1071563 w 2624135"/>
                <a:gd name="connsiteY30" fmla="*/ 884464 h 6531996"/>
                <a:gd name="connsiteX31" fmla="*/ 697367 w 2624135"/>
                <a:gd name="connsiteY31" fmla="*/ 1207634 h 6531996"/>
                <a:gd name="connsiteX32" fmla="*/ 127567 w 2624135"/>
                <a:gd name="connsiteY32" fmla="*/ 629330 h 6531996"/>
                <a:gd name="connsiteX33" fmla="*/ 83280 w 2624135"/>
                <a:gd name="connsiteY33" fmla="*/ 190164 h 6531996"/>
                <a:gd name="connsiteX34" fmla="*/ 221893 w 2624135"/>
                <a:gd name="connsiteY34" fmla="*/ 52620 h 6531996"/>
                <a:gd name="connsiteX35" fmla="*/ 161585 w 2624135"/>
                <a:gd name="connsiteY35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530672 w 2624135"/>
                <a:gd name="connsiteY16" fmla="*/ 4669379 h 6531996"/>
                <a:gd name="connsiteX17" fmla="*/ 1889179 w 2624135"/>
                <a:gd name="connsiteY17" fmla="*/ 6449916 h 6531996"/>
                <a:gd name="connsiteX18" fmla="*/ 1443663 w 2624135"/>
                <a:gd name="connsiteY18" fmla="*/ 6450107 h 6531996"/>
                <a:gd name="connsiteX19" fmla="*/ 1442602 w 2624135"/>
                <a:gd name="connsiteY19" fmla="*/ 6531868 h 6531996"/>
                <a:gd name="connsiteX20" fmla="*/ 1951734 w 2624135"/>
                <a:gd name="connsiteY20" fmla="*/ 6531996 h 6531996"/>
                <a:gd name="connsiteX21" fmla="*/ 2624135 w 2624135"/>
                <a:gd name="connsiteY21" fmla="*/ 4671096 h 6531996"/>
                <a:gd name="connsiteX22" fmla="*/ 2143125 w 2624135"/>
                <a:gd name="connsiteY22" fmla="*/ 2721429 h 6531996"/>
                <a:gd name="connsiteX23" fmla="*/ 2143125 w 2624135"/>
                <a:gd name="connsiteY23" fmla="*/ 2721429 h 6531996"/>
                <a:gd name="connsiteX24" fmla="*/ 2211161 w 2624135"/>
                <a:gd name="connsiteY24" fmla="*/ 2653393 h 6531996"/>
                <a:gd name="connsiteX25" fmla="*/ 2126117 w 2624135"/>
                <a:gd name="connsiteY25" fmla="*/ 2661897 h 6531996"/>
                <a:gd name="connsiteX26" fmla="*/ 722880 w 2624135"/>
                <a:gd name="connsiteY26" fmla="*/ 1241652 h 6531996"/>
                <a:gd name="connsiteX27" fmla="*/ 765402 w 2624135"/>
                <a:gd name="connsiteY27" fmla="*/ 1182121 h 6531996"/>
                <a:gd name="connsiteX28" fmla="*/ 1071563 w 2624135"/>
                <a:gd name="connsiteY28" fmla="*/ 884464 h 6531996"/>
                <a:gd name="connsiteX29" fmla="*/ 1071563 w 2624135"/>
                <a:gd name="connsiteY29" fmla="*/ 884464 h 6531996"/>
                <a:gd name="connsiteX30" fmla="*/ 697367 w 2624135"/>
                <a:gd name="connsiteY30" fmla="*/ 1207634 h 6531996"/>
                <a:gd name="connsiteX31" fmla="*/ 127567 w 2624135"/>
                <a:gd name="connsiteY31" fmla="*/ 629330 h 6531996"/>
                <a:gd name="connsiteX32" fmla="*/ 83280 w 2624135"/>
                <a:gd name="connsiteY32" fmla="*/ 190164 h 6531996"/>
                <a:gd name="connsiteX33" fmla="*/ 221893 w 2624135"/>
                <a:gd name="connsiteY33" fmla="*/ 52620 h 6531996"/>
                <a:gd name="connsiteX34" fmla="*/ 161585 w 2624135"/>
                <a:gd name="connsiteY34" fmla="*/ 0 h 6531996"/>
                <a:gd name="connsiteX0" fmla="*/ 161585 w 2612361"/>
                <a:gd name="connsiteY0" fmla="*/ 0 h 6531996"/>
                <a:gd name="connsiteX1" fmla="*/ 0 w 2612361"/>
                <a:gd name="connsiteY1" fmla="*/ 161585 h 6531996"/>
                <a:gd name="connsiteX2" fmla="*/ 42523 w 2612361"/>
                <a:gd name="connsiteY2" fmla="*/ 680357 h 6531996"/>
                <a:gd name="connsiteX3" fmla="*/ 2066585 w 2612361"/>
                <a:gd name="connsiteY3" fmla="*/ 2712924 h 6531996"/>
                <a:gd name="connsiteX4" fmla="*/ 2160134 w 2612361"/>
                <a:gd name="connsiteY4" fmla="*/ 3206183 h 6531996"/>
                <a:gd name="connsiteX5" fmla="*/ 782411 w 2612361"/>
                <a:gd name="connsiteY5" fmla="*/ 3529353 h 6531996"/>
                <a:gd name="connsiteX6" fmla="*/ 518773 w 2612361"/>
                <a:gd name="connsiteY6" fmla="*/ 3520848 h 6531996"/>
                <a:gd name="connsiteX7" fmla="*/ 527277 w 2612361"/>
                <a:gd name="connsiteY7" fmla="*/ 3580380 h 6531996"/>
                <a:gd name="connsiteX8" fmla="*/ 782411 w 2612361"/>
                <a:gd name="connsiteY8" fmla="*/ 3597388 h 6531996"/>
                <a:gd name="connsiteX9" fmla="*/ 1224643 w 2612361"/>
                <a:gd name="connsiteY9" fmla="*/ 3486830 h 6531996"/>
                <a:gd name="connsiteX10" fmla="*/ 1250157 w 2612361"/>
                <a:gd name="connsiteY10" fmla="*/ 3546362 h 6531996"/>
                <a:gd name="connsiteX11" fmla="*/ 1352210 w 2612361"/>
                <a:gd name="connsiteY11" fmla="*/ 3639911 h 6531996"/>
                <a:gd name="connsiteX12" fmla="*/ 1411742 w 2612361"/>
                <a:gd name="connsiteY12" fmla="*/ 3554866 h 6531996"/>
                <a:gd name="connsiteX13" fmla="*/ 1318192 w 2612361"/>
                <a:gd name="connsiteY13" fmla="*/ 3503839 h 6531996"/>
                <a:gd name="connsiteX14" fmla="*/ 1318192 w 2612361"/>
                <a:gd name="connsiteY14" fmla="*/ 3461317 h 6531996"/>
                <a:gd name="connsiteX15" fmla="*/ 2194152 w 2612361"/>
                <a:gd name="connsiteY15" fmla="*/ 3257210 h 6531996"/>
                <a:gd name="connsiteX16" fmla="*/ 2530672 w 2612361"/>
                <a:gd name="connsiteY16" fmla="*/ 4669379 h 6531996"/>
                <a:gd name="connsiteX17" fmla="*/ 1889179 w 2612361"/>
                <a:gd name="connsiteY17" fmla="*/ 6449916 h 6531996"/>
                <a:gd name="connsiteX18" fmla="*/ 1443663 w 2612361"/>
                <a:gd name="connsiteY18" fmla="*/ 6450107 h 6531996"/>
                <a:gd name="connsiteX19" fmla="*/ 1442602 w 2612361"/>
                <a:gd name="connsiteY19" fmla="*/ 6531868 h 6531996"/>
                <a:gd name="connsiteX20" fmla="*/ 1951734 w 2612361"/>
                <a:gd name="connsiteY20" fmla="*/ 6531996 h 6531996"/>
                <a:gd name="connsiteX21" fmla="*/ 2612361 w 2612361"/>
                <a:gd name="connsiteY21" fmla="*/ 4686366 h 6531996"/>
                <a:gd name="connsiteX22" fmla="*/ 2143125 w 2612361"/>
                <a:gd name="connsiteY22" fmla="*/ 2721429 h 6531996"/>
                <a:gd name="connsiteX23" fmla="*/ 2143125 w 2612361"/>
                <a:gd name="connsiteY23" fmla="*/ 2721429 h 6531996"/>
                <a:gd name="connsiteX24" fmla="*/ 2211161 w 2612361"/>
                <a:gd name="connsiteY24" fmla="*/ 2653393 h 6531996"/>
                <a:gd name="connsiteX25" fmla="*/ 2126117 w 2612361"/>
                <a:gd name="connsiteY25" fmla="*/ 2661897 h 6531996"/>
                <a:gd name="connsiteX26" fmla="*/ 722880 w 2612361"/>
                <a:gd name="connsiteY26" fmla="*/ 1241652 h 6531996"/>
                <a:gd name="connsiteX27" fmla="*/ 765402 w 2612361"/>
                <a:gd name="connsiteY27" fmla="*/ 1182121 h 6531996"/>
                <a:gd name="connsiteX28" fmla="*/ 1071563 w 2612361"/>
                <a:gd name="connsiteY28" fmla="*/ 884464 h 6531996"/>
                <a:gd name="connsiteX29" fmla="*/ 1071563 w 2612361"/>
                <a:gd name="connsiteY29" fmla="*/ 884464 h 6531996"/>
                <a:gd name="connsiteX30" fmla="*/ 697367 w 2612361"/>
                <a:gd name="connsiteY30" fmla="*/ 1207634 h 6531996"/>
                <a:gd name="connsiteX31" fmla="*/ 127567 w 2612361"/>
                <a:gd name="connsiteY31" fmla="*/ 629330 h 6531996"/>
                <a:gd name="connsiteX32" fmla="*/ 83280 w 2612361"/>
                <a:gd name="connsiteY32" fmla="*/ 190164 h 6531996"/>
                <a:gd name="connsiteX33" fmla="*/ 221893 w 2612361"/>
                <a:gd name="connsiteY33" fmla="*/ 52620 h 6531996"/>
                <a:gd name="connsiteX34" fmla="*/ 161585 w 2612361"/>
                <a:gd name="connsiteY34" fmla="*/ 0 h 653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12361" h="6531996">
                  <a:moveTo>
                    <a:pt x="161585" y="0"/>
                  </a:moveTo>
                  <a:lnTo>
                    <a:pt x="0" y="161585"/>
                  </a:lnTo>
                  <a:lnTo>
                    <a:pt x="42523" y="680357"/>
                  </a:lnTo>
                  <a:lnTo>
                    <a:pt x="2066585" y="2712924"/>
                  </a:lnTo>
                  <a:lnTo>
                    <a:pt x="2160134" y="3206183"/>
                  </a:lnTo>
                  <a:lnTo>
                    <a:pt x="782411" y="3529353"/>
                  </a:lnTo>
                  <a:lnTo>
                    <a:pt x="518773" y="3520848"/>
                  </a:lnTo>
                  <a:lnTo>
                    <a:pt x="527277" y="3580380"/>
                  </a:lnTo>
                  <a:lnTo>
                    <a:pt x="782411" y="3597388"/>
                  </a:lnTo>
                  <a:lnTo>
                    <a:pt x="1224643" y="3486830"/>
                  </a:lnTo>
                  <a:lnTo>
                    <a:pt x="1250157" y="3546362"/>
                  </a:lnTo>
                  <a:lnTo>
                    <a:pt x="1352210" y="3639911"/>
                  </a:lnTo>
                  <a:lnTo>
                    <a:pt x="1411742" y="3554866"/>
                  </a:lnTo>
                  <a:lnTo>
                    <a:pt x="1318192" y="3503839"/>
                  </a:lnTo>
                  <a:lnTo>
                    <a:pt x="1318192" y="3461317"/>
                  </a:lnTo>
                  <a:lnTo>
                    <a:pt x="2194152" y="3257210"/>
                  </a:lnTo>
                  <a:lnTo>
                    <a:pt x="2530672" y="4669379"/>
                  </a:lnTo>
                  <a:lnTo>
                    <a:pt x="1889179" y="6449916"/>
                  </a:lnTo>
                  <a:lnTo>
                    <a:pt x="1443663" y="6450107"/>
                  </a:lnTo>
                  <a:cubicBezTo>
                    <a:pt x="1443310" y="6497722"/>
                    <a:pt x="1442955" y="6484253"/>
                    <a:pt x="1442602" y="6531868"/>
                  </a:cubicBezTo>
                  <a:lnTo>
                    <a:pt x="1951734" y="6531996"/>
                  </a:lnTo>
                  <a:lnTo>
                    <a:pt x="2612361" y="4686366"/>
                  </a:lnTo>
                  <a:lnTo>
                    <a:pt x="2143125" y="2721429"/>
                  </a:lnTo>
                  <a:lnTo>
                    <a:pt x="2143125" y="2721429"/>
                  </a:lnTo>
                  <a:lnTo>
                    <a:pt x="2211161" y="2653393"/>
                  </a:lnTo>
                  <a:lnTo>
                    <a:pt x="2126117" y="2661897"/>
                  </a:lnTo>
                  <a:lnTo>
                    <a:pt x="722880" y="1241652"/>
                  </a:lnTo>
                  <a:lnTo>
                    <a:pt x="765402" y="1182121"/>
                  </a:lnTo>
                  <a:lnTo>
                    <a:pt x="1071563" y="884464"/>
                  </a:lnTo>
                  <a:lnTo>
                    <a:pt x="1071563" y="884464"/>
                  </a:lnTo>
                  <a:lnTo>
                    <a:pt x="697367" y="1207634"/>
                  </a:lnTo>
                  <a:lnTo>
                    <a:pt x="127567" y="629330"/>
                  </a:lnTo>
                  <a:lnTo>
                    <a:pt x="83280" y="190164"/>
                  </a:lnTo>
                  <a:lnTo>
                    <a:pt x="221893" y="52620"/>
                  </a:lnTo>
                  <a:lnTo>
                    <a:pt x="161585" y="0"/>
                  </a:lnTo>
                  <a:close/>
                </a:path>
              </a:pathLst>
            </a:custGeom>
            <a:solidFill>
              <a:schemeClr val="accent3">
                <a:lumMod val="85000"/>
              </a:schemeClr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Text_G018/T103N/T113/T104S">
              <a:extLst>
                <a:ext uri="{FF2B5EF4-FFF2-40B4-BE49-F238E27FC236}">
                  <a16:creationId xmlns:a16="http://schemas.microsoft.com/office/drawing/2014/main" id="{9999D6BB-8546-4E42-B5AB-2461216837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47963" y="6926629"/>
              <a:ext cx="9119" cy="8594"/>
            </a:xfrm>
            <a:prstGeom prst="ellipse">
              <a:avLst/>
            </a:prstGeom>
            <a:solidFill>
              <a:schemeClr val="accent3">
                <a:lumMod val="8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Text_G018/T103N/T113/T104S">
              <a:extLst>
                <a:ext uri="{FF2B5EF4-FFF2-40B4-BE49-F238E27FC236}">
                  <a16:creationId xmlns:a16="http://schemas.microsoft.com/office/drawing/2014/main" id="{68FCB491-6B95-4E3B-909E-313518E92A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84080" y="6855289"/>
              <a:ext cx="9119" cy="8594"/>
            </a:xfrm>
            <a:prstGeom prst="ellipse">
              <a:avLst/>
            </a:prstGeom>
            <a:solidFill>
              <a:schemeClr val="accent3">
                <a:lumMod val="8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G020">
              <a:extLst>
                <a:ext uri="{FF2B5EF4-FFF2-40B4-BE49-F238E27FC236}">
                  <a16:creationId xmlns:a16="http://schemas.microsoft.com/office/drawing/2014/main" id="{638B6C42-9DDC-43B5-8ADB-EE12F8C53E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73299" y="6255242"/>
              <a:ext cx="202538" cy="141458"/>
            </a:xfrm>
            <a:custGeom>
              <a:avLst/>
              <a:gdLst>
                <a:gd name="connsiteX0" fmla="*/ 0 w 936172"/>
                <a:gd name="connsiteY0" fmla="*/ 435429 h 805543"/>
                <a:gd name="connsiteX1" fmla="*/ 740229 w 936172"/>
                <a:gd name="connsiteY1" fmla="*/ 805543 h 805543"/>
                <a:gd name="connsiteX2" fmla="*/ 936172 w 936172"/>
                <a:gd name="connsiteY2" fmla="*/ 337457 h 805543"/>
                <a:gd name="connsiteX3" fmla="*/ 163286 w 936172"/>
                <a:gd name="connsiteY3" fmla="*/ 0 h 805543"/>
                <a:gd name="connsiteX4" fmla="*/ 0 w 936172"/>
                <a:gd name="connsiteY4" fmla="*/ 435429 h 805543"/>
                <a:gd name="connsiteX0" fmla="*/ 0 w 995738"/>
                <a:gd name="connsiteY0" fmla="*/ 421943 h 805543"/>
                <a:gd name="connsiteX1" fmla="*/ 799795 w 995738"/>
                <a:gd name="connsiteY1" fmla="*/ 805543 h 805543"/>
                <a:gd name="connsiteX2" fmla="*/ 995738 w 995738"/>
                <a:gd name="connsiteY2" fmla="*/ 337457 h 805543"/>
                <a:gd name="connsiteX3" fmla="*/ 222852 w 995738"/>
                <a:gd name="connsiteY3" fmla="*/ 0 h 805543"/>
                <a:gd name="connsiteX4" fmla="*/ 0 w 995738"/>
                <a:gd name="connsiteY4" fmla="*/ 421943 h 805543"/>
                <a:gd name="connsiteX0" fmla="*/ 0 w 995738"/>
                <a:gd name="connsiteY0" fmla="*/ 448918 h 832518"/>
                <a:gd name="connsiteX1" fmla="*/ 799795 w 995738"/>
                <a:gd name="connsiteY1" fmla="*/ 832518 h 832518"/>
                <a:gd name="connsiteX2" fmla="*/ 995738 w 995738"/>
                <a:gd name="connsiteY2" fmla="*/ 364432 h 832518"/>
                <a:gd name="connsiteX3" fmla="*/ 171794 w 995738"/>
                <a:gd name="connsiteY3" fmla="*/ 0 h 832518"/>
                <a:gd name="connsiteX4" fmla="*/ 0 w 995738"/>
                <a:gd name="connsiteY4" fmla="*/ 448918 h 832518"/>
                <a:gd name="connsiteX0" fmla="*/ 0 w 983982"/>
                <a:gd name="connsiteY0" fmla="*/ 448918 h 832518"/>
                <a:gd name="connsiteX1" fmla="*/ 799795 w 983982"/>
                <a:gd name="connsiteY1" fmla="*/ 832518 h 832518"/>
                <a:gd name="connsiteX2" fmla="*/ 983982 w 983982"/>
                <a:gd name="connsiteY2" fmla="*/ 364432 h 832518"/>
                <a:gd name="connsiteX3" fmla="*/ 171794 w 983982"/>
                <a:gd name="connsiteY3" fmla="*/ 0 h 832518"/>
                <a:gd name="connsiteX4" fmla="*/ 0 w 983982"/>
                <a:gd name="connsiteY4" fmla="*/ 448918 h 832518"/>
                <a:gd name="connsiteX0" fmla="*/ 0 w 983982"/>
                <a:gd name="connsiteY0" fmla="*/ 448918 h 832518"/>
                <a:gd name="connsiteX1" fmla="*/ 799795 w 983982"/>
                <a:gd name="connsiteY1" fmla="*/ 832518 h 832518"/>
                <a:gd name="connsiteX2" fmla="*/ 983982 w 983982"/>
                <a:gd name="connsiteY2" fmla="*/ 364432 h 832518"/>
                <a:gd name="connsiteX3" fmla="*/ 872581 w 983982"/>
                <a:gd name="connsiteY3" fmla="*/ 318305 h 832518"/>
                <a:gd name="connsiteX4" fmla="*/ 171794 w 983982"/>
                <a:gd name="connsiteY4" fmla="*/ 0 h 832518"/>
                <a:gd name="connsiteX5" fmla="*/ 0 w 983982"/>
                <a:gd name="connsiteY5" fmla="*/ 448918 h 832518"/>
                <a:gd name="connsiteX0" fmla="*/ 0 w 983982"/>
                <a:gd name="connsiteY0" fmla="*/ 448918 h 832518"/>
                <a:gd name="connsiteX1" fmla="*/ 799795 w 983982"/>
                <a:gd name="connsiteY1" fmla="*/ 832518 h 832518"/>
                <a:gd name="connsiteX2" fmla="*/ 983982 w 983982"/>
                <a:gd name="connsiteY2" fmla="*/ 364432 h 832518"/>
                <a:gd name="connsiteX3" fmla="*/ 926656 w 983982"/>
                <a:gd name="connsiteY3" fmla="*/ 343088 h 832518"/>
                <a:gd name="connsiteX4" fmla="*/ 872581 w 983982"/>
                <a:gd name="connsiteY4" fmla="*/ 318305 h 832518"/>
                <a:gd name="connsiteX5" fmla="*/ 171794 w 983982"/>
                <a:gd name="connsiteY5" fmla="*/ 0 h 832518"/>
                <a:gd name="connsiteX6" fmla="*/ 0 w 983982"/>
                <a:gd name="connsiteY6" fmla="*/ 448918 h 832518"/>
                <a:gd name="connsiteX0" fmla="*/ 0 w 983982"/>
                <a:gd name="connsiteY0" fmla="*/ 448918 h 832518"/>
                <a:gd name="connsiteX1" fmla="*/ 799795 w 983982"/>
                <a:gd name="connsiteY1" fmla="*/ 832518 h 832518"/>
                <a:gd name="connsiteX2" fmla="*/ 983982 w 983982"/>
                <a:gd name="connsiteY2" fmla="*/ 364432 h 832518"/>
                <a:gd name="connsiteX3" fmla="*/ 879636 w 983982"/>
                <a:gd name="connsiteY3" fmla="*/ 271220 h 832518"/>
                <a:gd name="connsiteX4" fmla="*/ 872581 w 983982"/>
                <a:gd name="connsiteY4" fmla="*/ 318305 h 832518"/>
                <a:gd name="connsiteX5" fmla="*/ 171794 w 983982"/>
                <a:gd name="connsiteY5" fmla="*/ 0 h 832518"/>
                <a:gd name="connsiteX6" fmla="*/ 0 w 983982"/>
                <a:gd name="connsiteY6" fmla="*/ 448918 h 832518"/>
                <a:gd name="connsiteX0" fmla="*/ 0 w 1002790"/>
                <a:gd name="connsiteY0" fmla="*/ 448918 h 832518"/>
                <a:gd name="connsiteX1" fmla="*/ 799795 w 1002790"/>
                <a:gd name="connsiteY1" fmla="*/ 832518 h 832518"/>
                <a:gd name="connsiteX2" fmla="*/ 1002790 w 1002790"/>
                <a:gd name="connsiteY2" fmla="*/ 329737 h 832518"/>
                <a:gd name="connsiteX3" fmla="*/ 879636 w 1002790"/>
                <a:gd name="connsiteY3" fmla="*/ 271220 h 832518"/>
                <a:gd name="connsiteX4" fmla="*/ 872581 w 1002790"/>
                <a:gd name="connsiteY4" fmla="*/ 318305 h 832518"/>
                <a:gd name="connsiteX5" fmla="*/ 171794 w 1002790"/>
                <a:gd name="connsiteY5" fmla="*/ 0 h 832518"/>
                <a:gd name="connsiteX6" fmla="*/ 0 w 1002790"/>
                <a:gd name="connsiteY6" fmla="*/ 448918 h 832518"/>
                <a:gd name="connsiteX0" fmla="*/ 0 w 1002790"/>
                <a:gd name="connsiteY0" fmla="*/ 448918 h 825083"/>
                <a:gd name="connsiteX1" fmla="*/ 813901 w 1002790"/>
                <a:gd name="connsiteY1" fmla="*/ 825083 h 825083"/>
                <a:gd name="connsiteX2" fmla="*/ 1002790 w 1002790"/>
                <a:gd name="connsiteY2" fmla="*/ 329737 h 825083"/>
                <a:gd name="connsiteX3" fmla="*/ 879636 w 1002790"/>
                <a:gd name="connsiteY3" fmla="*/ 271220 h 825083"/>
                <a:gd name="connsiteX4" fmla="*/ 872581 w 1002790"/>
                <a:gd name="connsiteY4" fmla="*/ 318305 h 825083"/>
                <a:gd name="connsiteX5" fmla="*/ 171794 w 1002790"/>
                <a:gd name="connsiteY5" fmla="*/ 0 h 825083"/>
                <a:gd name="connsiteX6" fmla="*/ 0 w 1002790"/>
                <a:gd name="connsiteY6" fmla="*/ 448918 h 825083"/>
                <a:gd name="connsiteX0" fmla="*/ 0 w 1002790"/>
                <a:gd name="connsiteY0" fmla="*/ 448918 h 825083"/>
                <a:gd name="connsiteX1" fmla="*/ 813901 w 1002790"/>
                <a:gd name="connsiteY1" fmla="*/ 825083 h 825083"/>
                <a:gd name="connsiteX2" fmla="*/ 1002790 w 1002790"/>
                <a:gd name="connsiteY2" fmla="*/ 329737 h 825083"/>
                <a:gd name="connsiteX3" fmla="*/ 886688 w 1002790"/>
                <a:gd name="connsiteY3" fmla="*/ 276177 h 825083"/>
                <a:gd name="connsiteX4" fmla="*/ 872581 w 1002790"/>
                <a:gd name="connsiteY4" fmla="*/ 318305 h 825083"/>
                <a:gd name="connsiteX5" fmla="*/ 171794 w 1002790"/>
                <a:gd name="connsiteY5" fmla="*/ 0 h 825083"/>
                <a:gd name="connsiteX6" fmla="*/ 0 w 1002790"/>
                <a:gd name="connsiteY6" fmla="*/ 448918 h 825083"/>
                <a:gd name="connsiteX0" fmla="*/ 0 w 1009842"/>
                <a:gd name="connsiteY0" fmla="*/ 456353 h 825083"/>
                <a:gd name="connsiteX1" fmla="*/ 820953 w 1009842"/>
                <a:gd name="connsiteY1" fmla="*/ 825083 h 825083"/>
                <a:gd name="connsiteX2" fmla="*/ 1009842 w 1009842"/>
                <a:gd name="connsiteY2" fmla="*/ 329737 h 825083"/>
                <a:gd name="connsiteX3" fmla="*/ 893740 w 1009842"/>
                <a:gd name="connsiteY3" fmla="*/ 276177 h 825083"/>
                <a:gd name="connsiteX4" fmla="*/ 879633 w 1009842"/>
                <a:gd name="connsiteY4" fmla="*/ 318305 h 825083"/>
                <a:gd name="connsiteX5" fmla="*/ 178846 w 1009842"/>
                <a:gd name="connsiteY5" fmla="*/ 0 h 825083"/>
                <a:gd name="connsiteX6" fmla="*/ 0 w 1009842"/>
                <a:gd name="connsiteY6" fmla="*/ 456353 h 82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9842" h="825083">
                  <a:moveTo>
                    <a:pt x="0" y="456353"/>
                  </a:moveTo>
                  <a:lnTo>
                    <a:pt x="820953" y="825083"/>
                  </a:lnTo>
                  <a:lnTo>
                    <a:pt x="1009842" y="329737"/>
                  </a:lnTo>
                  <a:lnTo>
                    <a:pt x="893740" y="276177"/>
                  </a:lnTo>
                  <a:lnTo>
                    <a:pt x="879633" y="318305"/>
                  </a:lnTo>
                  <a:lnTo>
                    <a:pt x="178846" y="0"/>
                  </a:lnTo>
                  <a:lnTo>
                    <a:pt x="0" y="456353"/>
                  </a:lnTo>
                  <a:close/>
                </a:path>
              </a:pathLst>
            </a:custGeom>
            <a:solidFill>
              <a:schemeClr val="bg1"/>
            </a:solidFill>
            <a:ln w="635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T110N_BA1">
              <a:extLst>
                <a:ext uri="{FF2B5EF4-FFF2-40B4-BE49-F238E27FC236}">
                  <a16:creationId xmlns:a16="http://schemas.microsoft.com/office/drawing/2014/main" id="{3835F949-657C-4A2B-8C7B-F32EEFC6FE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73335" y="5726204"/>
              <a:ext cx="183488" cy="348166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5030652 w 5884232"/>
                <a:gd name="connsiteY30" fmla="*/ 4596953 h 6198437"/>
                <a:gd name="connsiteX31" fmla="*/ 5310701 w 5884232"/>
                <a:gd name="connsiteY31" fmla="*/ 3352779 h 6198437"/>
                <a:gd name="connsiteX32" fmla="*/ 4991885 w 5884232"/>
                <a:gd name="connsiteY32" fmla="*/ 2049487 h 6198437"/>
                <a:gd name="connsiteX33" fmla="*/ 4174632 w 5884232"/>
                <a:gd name="connsiteY33" fmla="*/ 1163055 h 6198437"/>
                <a:gd name="connsiteX34" fmla="*/ 2880366 w 5884232"/>
                <a:gd name="connsiteY34" fmla="*/ 761302 h 6198437"/>
                <a:gd name="connsiteX35" fmla="*/ 1882146 w 5884232"/>
                <a:gd name="connsiteY35" fmla="*/ 1081342 h 6198437"/>
                <a:gd name="connsiteX36" fmla="*/ 873226 w 5884232"/>
                <a:gd name="connsiteY36" fmla="*/ 2111591 h 6198437"/>
                <a:gd name="connsiteX37" fmla="*/ 571891 w 5884232"/>
                <a:gd name="connsiteY37" fmla="*/ 3464807 h 6198437"/>
                <a:gd name="connsiteX38" fmla="*/ 932548 w 5884232"/>
                <a:gd name="connsiteY38" fmla="*/ 4771487 h 6198437"/>
                <a:gd name="connsiteX39" fmla="*/ 523257 w 5884232"/>
                <a:gd name="connsiteY39" fmla="*/ 5189370 h 6198437"/>
                <a:gd name="connsiteX40" fmla="*/ 41560 w 5884232"/>
                <a:gd name="connsiteY40" fmla="*/ 3281515 h 6198437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548942 w 5884232"/>
                <a:gd name="connsiteY28" fmla="*/ 4824545 h 5189370"/>
                <a:gd name="connsiteX29" fmla="*/ 5030652 w 5884232"/>
                <a:gd name="connsiteY29" fmla="*/ 4596953 h 5189370"/>
                <a:gd name="connsiteX30" fmla="*/ 5310701 w 5884232"/>
                <a:gd name="connsiteY30" fmla="*/ 3352779 h 5189370"/>
                <a:gd name="connsiteX31" fmla="*/ 4991885 w 5884232"/>
                <a:gd name="connsiteY31" fmla="*/ 2049487 h 5189370"/>
                <a:gd name="connsiteX32" fmla="*/ 4174632 w 5884232"/>
                <a:gd name="connsiteY32" fmla="*/ 1163055 h 5189370"/>
                <a:gd name="connsiteX33" fmla="*/ 2880366 w 5884232"/>
                <a:gd name="connsiteY33" fmla="*/ 761302 h 5189370"/>
                <a:gd name="connsiteX34" fmla="*/ 1882146 w 5884232"/>
                <a:gd name="connsiteY34" fmla="*/ 1081342 h 5189370"/>
                <a:gd name="connsiteX35" fmla="*/ 873226 w 5884232"/>
                <a:gd name="connsiteY35" fmla="*/ 2111591 h 5189370"/>
                <a:gd name="connsiteX36" fmla="*/ 571891 w 5884232"/>
                <a:gd name="connsiteY36" fmla="*/ 3464807 h 5189370"/>
                <a:gd name="connsiteX37" fmla="*/ 932548 w 5884232"/>
                <a:gd name="connsiteY37" fmla="*/ 4771487 h 5189370"/>
                <a:gd name="connsiteX38" fmla="*/ 523257 w 5884232"/>
                <a:gd name="connsiteY38" fmla="*/ 5189370 h 5189370"/>
                <a:gd name="connsiteX39" fmla="*/ 41560 w 5884232"/>
                <a:gd name="connsiteY39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548942 w 5884232"/>
                <a:gd name="connsiteY28" fmla="*/ 4824545 h 5189370"/>
                <a:gd name="connsiteX29" fmla="*/ 5310701 w 5884232"/>
                <a:gd name="connsiteY29" fmla="*/ 3352779 h 5189370"/>
                <a:gd name="connsiteX30" fmla="*/ 4991885 w 5884232"/>
                <a:gd name="connsiteY30" fmla="*/ 2049487 h 5189370"/>
                <a:gd name="connsiteX31" fmla="*/ 4174632 w 5884232"/>
                <a:gd name="connsiteY31" fmla="*/ 1163055 h 5189370"/>
                <a:gd name="connsiteX32" fmla="*/ 2880366 w 5884232"/>
                <a:gd name="connsiteY32" fmla="*/ 761302 h 5189370"/>
                <a:gd name="connsiteX33" fmla="*/ 1882146 w 5884232"/>
                <a:gd name="connsiteY33" fmla="*/ 1081342 h 5189370"/>
                <a:gd name="connsiteX34" fmla="*/ 873226 w 5884232"/>
                <a:gd name="connsiteY34" fmla="*/ 2111591 h 5189370"/>
                <a:gd name="connsiteX35" fmla="*/ 571891 w 5884232"/>
                <a:gd name="connsiteY35" fmla="*/ 3464807 h 5189370"/>
                <a:gd name="connsiteX36" fmla="*/ 932548 w 5884232"/>
                <a:gd name="connsiteY36" fmla="*/ 4771487 h 5189370"/>
                <a:gd name="connsiteX37" fmla="*/ 523257 w 5884232"/>
                <a:gd name="connsiteY37" fmla="*/ 5189370 h 5189370"/>
                <a:gd name="connsiteX38" fmla="*/ 41560 w 5884232"/>
                <a:gd name="connsiteY38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310701 w 5884232"/>
                <a:gd name="connsiteY28" fmla="*/ 3352779 h 5189370"/>
                <a:gd name="connsiteX29" fmla="*/ 4991885 w 5884232"/>
                <a:gd name="connsiteY29" fmla="*/ 2049487 h 5189370"/>
                <a:gd name="connsiteX30" fmla="*/ 4174632 w 5884232"/>
                <a:gd name="connsiteY30" fmla="*/ 1163055 h 5189370"/>
                <a:gd name="connsiteX31" fmla="*/ 2880366 w 5884232"/>
                <a:gd name="connsiteY31" fmla="*/ 761302 h 5189370"/>
                <a:gd name="connsiteX32" fmla="*/ 1882146 w 5884232"/>
                <a:gd name="connsiteY32" fmla="*/ 1081342 h 5189370"/>
                <a:gd name="connsiteX33" fmla="*/ 873226 w 5884232"/>
                <a:gd name="connsiteY33" fmla="*/ 2111591 h 5189370"/>
                <a:gd name="connsiteX34" fmla="*/ 571891 w 5884232"/>
                <a:gd name="connsiteY34" fmla="*/ 3464807 h 5189370"/>
                <a:gd name="connsiteX35" fmla="*/ 932548 w 5884232"/>
                <a:gd name="connsiteY35" fmla="*/ 4771487 h 5189370"/>
                <a:gd name="connsiteX36" fmla="*/ 523257 w 5884232"/>
                <a:gd name="connsiteY36" fmla="*/ 5189370 h 5189370"/>
                <a:gd name="connsiteX37" fmla="*/ 41560 w 5884232"/>
                <a:gd name="connsiteY37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310701 w 5884232"/>
                <a:gd name="connsiteY27" fmla="*/ 3352779 h 5189370"/>
                <a:gd name="connsiteX28" fmla="*/ 4991885 w 5884232"/>
                <a:gd name="connsiteY28" fmla="*/ 2049487 h 5189370"/>
                <a:gd name="connsiteX29" fmla="*/ 4174632 w 5884232"/>
                <a:gd name="connsiteY29" fmla="*/ 1163055 h 5189370"/>
                <a:gd name="connsiteX30" fmla="*/ 2880366 w 5884232"/>
                <a:gd name="connsiteY30" fmla="*/ 761302 h 5189370"/>
                <a:gd name="connsiteX31" fmla="*/ 1882146 w 5884232"/>
                <a:gd name="connsiteY31" fmla="*/ 1081342 h 5189370"/>
                <a:gd name="connsiteX32" fmla="*/ 873226 w 5884232"/>
                <a:gd name="connsiteY32" fmla="*/ 2111591 h 5189370"/>
                <a:gd name="connsiteX33" fmla="*/ 571891 w 5884232"/>
                <a:gd name="connsiteY33" fmla="*/ 3464807 h 5189370"/>
                <a:gd name="connsiteX34" fmla="*/ 932548 w 5884232"/>
                <a:gd name="connsiteY34" fmla="*/ 4771487 h 5189370"/>
                <a:gd name="connsiteX35" fmla="*/ 523257 w 5884232"/>
                <a:gd name="connsiteY35" fmla="*/ 5189370 h 5189370"/>
                <a:gd name="connsiteX36" fmla="*/ 41560 w 5884232"/>
                <a:gd name="connsiteY36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310701 w 5884232"/>
                <a:gd name="connsiteY26" fmla="*/ 3352779 h 5189370"/>
                <a:gd name="connsiteX27" fmla="*/ 4991885 w 5884232"/>
                <a:gd name="connsiteY27" fmla="*/ 2049487 h 5189370"/>
                <a:gd name="connsiteX28" fmla="*/ 4174632 w 5884232"/>
                <a:gd name="connsiteY28" fmla="*/ 1163055 h 5189370"/>
                <a:gd name="connsiteX29" fmla="*/ 2880366 w 5884232"/>
                <a:gd name="connsiteY29" fmla="*/ 761302 h 5189370"/>
                <a:gd name="connsiteX30" fmla="*/ 1882146 w 5884232"/>
                <a:gd name="connsiteY30" fmla="*/ 1081342 h 5189370"/>
                <a:gd name="connsiteX31" fmla="*/ 873226 w 5884232"/>
                <a:gd name="connsiteY31" fmla="*/ 2111591 h 5189370"/>
                <a:gd name="connsiteX32" fmla="*/ 571891 w 5884232"/>
                <a:gd name="connsiteY32" fmla="*/ 3464807 h 5189370"/>
                <a:gd name="connsiteX33" fmla="*/ 932548 w 5884232"/>
                <a:gd name="connsiteY33" fmla="*/ 4771487 h 5189370"/>
                <a:gd name="connsiteX34" fmla="*/ 523257 w 5884232"/>
                <a:gd name="connsiteY34" fmla="*/ 5189370 h 5189370"/>
                <a:gd name="connsiteX35" fmla="*/ 41560 w 5884232"/>
                <a:gd name="connsiteY35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310701 w 5884232"/>
                <a:gd name="connsiteY25" fmla="*/ 3352779 h 5189370"/>
                <a:gd name="connsiteX26" fmla="*/ 4991885 w 5884232"/>
                <a:gd name="connsiteY26" fmla="*/ 2049487 h 5189370"/>
                <a:gd name="connsiteX27" fmla="*/ 4174632 w 5884232"/>
                <a:gd name="connsiteY27" fmla="*/ 1163055 h 5189370"/>
                <a:gd name="connsiteX28" fmla="*/ 2880366 w 5884232"/>
                <a:gd name="connsiteY28" fmla="*/ 761302 h 5189370"/>
                <a:gd name="connsiteX29" fmla="*/ 1882146 w 5884232"/>
                <a:gd name="connsiteY29" fmla="*/ 1081342 h 5189370"/>
                <a:gd name="connsiteX30" fmla="*/ 873226 w 5884232"/>
                <a:gd name="connsiteY30" fmla="*/ 2111591 h 5189370"/>
                <a:gd name="connsiteX31" fmla="*/ 571891 w 5884232"/>
                <a:gd name="connsiteY31" fmla="*/ 3464807 h 5189370"/>
                <a:gd name="connsiteX32" fmla="*/ 932548 w 5884232"/>
                <a:gd name="connsiteY32" fmla="*/ 4771487 h 5189370"/>
                <a:gd name="connsiteX33" fmla="*/ 523257 w 5884232"/>
                <a:gd name="connsiteY33" fmla="*/ 5189370 h 5189370"/>
                <a:gd name="connsiteX34" fmla="*/ 41560 w 5884232"/>
                <a:gd name="connsiteY34" fmla="*/ 3281515 h 5189370"/>
                <a:gd name="connsiteX0" fmla="*/ 41560 w 5462129"/>
                <a:gd name="connsiteY0" fmla="*/ 3281515 h 5189370"/>
                <a:gd name="connsiteX1" fmla="*/ 250907 w 5462129"/>
                <a:gd name="connsiteY1" fmla="*/ 2374266 h 5189370"/>
                <a:gd name="connsiteX2" fmla="*/ 218176 w 5462129"/>
                <a:gd name="connsiteY2" fmla="*/ 2331944 h 5189370"/>
                <a:gd name="connsiteX3" fmla="*/ 290433 w 5462129"/>
                <a:gd name="connsiteY3" fmla="*/ 2067448 h 5189370"/>
                <a:gd name="connsiteX4" fmla="*/ 326149 w 5462129"/>
                <a:gd name="connsiteY4" fmla="*/ 2050403 h 5189370"/>
                <a:gd name="connsiteX5" fmla="*/ 1333506 w 5462129"/>
                <a:gd name="connsiteY5" fmla="*/ 647002 h 5189370"/>
                <a:gd name="connsiteX6" fmla="*/ 1546422 w 5462129"/>
                <a:gd name="connsiteY6" fmla="*/ 547251 h 5189370"/>
                <a:gd name="connsiteX7" fmla="*/ 1526361 w 5462129"/>
                <a:gd name="connsiteY7" fmla="*/ 432260 h 5189370"/>
                <a:gd name="connsiteX8" fmla="*/ 1722126 w 5462129"/>
                <a:gd name="connsiteY8" fmla="*/ 380302 h 5189370"/>
                <a:gd name="connsiteX9" fmla="*/ 1739499 w 5462129"/>
                <a:gd name="connsiteY9" fmla="*/ 481442 h 5189370"/>
                <a:gd name="connsiteX10" fmla="*/ 1866574 w 5462129"/>
                <a:gd name="connsiteY10" fmla="*/ 442651 h 5189370"/>
                <a:gd name="connsiteX11" fmla="*/ 1897053 w 5462129"/>
                <a:gd name="connsiteY11" fmla="*/ 393463 h 5189370"/>
                <a:gd name="connsiteX12" fmla="*/ 2132940 w 5462129"/>
                <a:gd name="connsiteY12" fmla="*/ 319342 h 5189370"/>
                <a:gd name="connsiteX13" fmla="*/ 2173395 w 5462129"/>
                <a:gd name="connsiteY13" fmla="*/ 352592 h 5189370"/>
                <a:gd name="connsiteX14" fmla="*/ 2369937 w 5462129"/>
                <a:gd name="connsiteY14" fmla="*/ 288171 h 5189370"/>
                <a:gd name="connsiteX15" fmla="*/ 2329149 w 5462129"/>
                <a:gd name="connsiteY15" fmla="*/ 119840 h 5189370"/>
                <a:gd name="connsiteX16" fmla="*/ 2712392 w 5462129"/>
                <a:gd name="connsiteY16" fmla="*/ 0 h 5189370"/>
                <a:gd name="connsiteX17" fmla="*/ 2760690 w 5462129"/>
                <a:gd name="connsiteY17" fmla="*/ 165560 h 5189370"/>
                <a:gd name="connsiteX18" fmla="*/ 4524241 w 5462129"/>
                <a:gd name="connsiteY18" fmla="*/ 680900 h 5189370"/>
                <a:gd name="connsiteX19" fmla="*/ 5074371 w 5462129"/>
                <a:gd name="connsiteY19" fmla="*/ 1291242 h 5189370"/>
                <a:gd name="connsiteX20" fmla="*/ 5135775 w 5462129"/>
                <a:gd name="connsiteY20" fmla="*/ 1298860 h 5189370"/>
                <a:gd name="connsiteX21" fmla="*/ 5300616 w 5462129"/>
                <a:gd name="connsiteY21" fmla="*/ 1479661 h 5189370"/>
                <a:gd name="connsiteX22" fmla="*/ 5300839 w 5462129"/>
                <a:gd name="connsiteY22" fmla="*/ 1535080 h 5189370"/>
                <a:gd name="connsiteX23" fmla="*/ 5462103 w 5462129"/>
                <a:gd name="connsiteY23" fmla="*/ 1726990 h 5189370"/>
                <a:gd name="connsiteX24" fmla="*/ 5310701 w 5462129"/>
                <a:gd name="connsiteY24" fmla="*/ 3352779 h 5189370"/>
                <a:gd name="connsiteX25" fmla="*/ 4991885 w 5462129"/>
                <a:gd name="connsiteY25" fmla="*/ 2049487 h 5189370"/>
                <a:gd name="connsiteX26" fmla="*/ 4174632 w 5462129"/>
                <a:gd name="connsiteY26" fmla="*/ 1163055 h 5189370"/>
                <a:gd name="connsiteX27" fmla="*/ 2880366 w 5462129"/>
                <a:gd name="connsiteY27" fmla="*/ 761302 h 5189370"/>
                <a:gd name="connsiteX28" fmla="*/ 1882146 w 5462129"/>
                <a:gd name="connsiteY28" fmla="*/ 1081342 h 5189370"/>
                <a:gd name="connsiteX29" fmla="*/ 873226 w 5462129"/>
                <a:gd name="connsiteY29" fmla="*/ 2111591 h 5189370"/>
                <a:gd name="connsiteX30" fmla="*/ 571891 w 5462129"/>
                <a:gd name="connsiteY30" fmla="*/ 3464807 h 5189370"/>
                <a:gd name="connsiteX31" fmla="*/ 932548 w 5462129"/>
                <a:gd name="connsiteY31" fmla="*/ 4771487 h 5189370"/>
                <a:gd name="connsiteX32" fmla="*/ 523257 w 5462129"/>
                <a:gd name="connsiteY32" fmla="*/ 5189370 h 5189370"/>
                <a:gd name="connsiteX33" fmla="*/ 41560 w 5462129"/>
                <a:gd name="connsiteY33" fmla="*/ 3281515 h 5189370"/>
                <a:gd name="connsiteX0" fmla="*/ 41560 w 5462103"/>
                <a:gd name="connsiteY0" fmla="*/ 3281515 h 5189370"/>
                <a:gd name="connsiteX1" fmla="*/ 250907 w 5462103"/>
                <a:gd name="connsiteY1" fmla="*/ 2374266 h 5189370"/>
                <a:gd name="connsiteX2" fmla="*/ 218176 w 5462103"/>
                <a:gd name="connsiteY2" fmla="*/ 2331944 h 5189370"/>
                <a:gd name="connsiteX3" fmla="*/ 290433 w 5462103"/>
                <a:gd name="connsiteY3" fmla="*/ 2067448 h 5189370"/>
                <a:gd name="connsiteX4" fmla="*/ 326149 w 5462103"/>
                <a:gd name="connsiteY4" fmla="*/ 2050403 h 5189370"/>
                <a:gd name="connsiteX5" fmla="*/ 1333506 w 5462103"/>
                <a:gd name="connsiteY5" fmla="*/ 647002 h 5189370"/>
                <a:gd name="connsiteX6" fmla="*/ 1546422 w 5462103"/>
                <a:gd name="connsiteY6" fmla="*/ 547251 h 5189370"/>
                <a:gd name="connsiteX7" fmla="*/ 1526361 w 5462103"/>
                <a:gd name="connsiteY7" fmla="*/ 432260 h 5189370"/>
                <a:gd name="connsiteX8" fmla="*/ 1722126 w 5462103"/>
                <a:gd name="connsiteY8" fmla="*/ 380302 h 5189370"/>
                <a:gd name="connsiteX9" fmla="*/ 1739499 w 5462103"/>
                <a:gd name="connsiteY9" fmla="*/ 481442 h 5189370"/>
                <a:gd name="connsiteX10" fmla="*/ 1866574 w 5462103"/>
                <a:gd name="connsiteY10" fmla="*/ 442651 h 5189370"/>
                <a:gd name="connsiteX11" fmla="*/ 1897053 w 5462103"/>
                <a:gd name="connsiteY11" fmla="*/ 393463 h 5189370"/>
                <a:gd name="connsiteX12" fmla="*/ 2132940 w 5462103"/>
                <a:gd name="connsiteY12" fmla="*/ 319342 h 5189370"/>
                <a:gd name="connsiteX13" fmla="*/ 2173395 w 5462103"/>
                <a:gd name="connsiteY13" fmla="*/ 352592 h 5189370"/>
                <a:gd name="connsiteX14" fmla="*/ 2369937 w 5462103"/>
                <a:gd name="connsiteY14" fmla="*/ 288171 h 5189370"/>
                <a:gd name="connsiteX15" fmla="*/ 2329149 w 5462103"/>
                <a:gd name="connsiteY15" fmla="*/ 119840 h 5189370"/>
                <a:gd name="connsiteX16" fmla="*/ 2712392 w 5462103"/>
                <a:gd name="connsiteY16" fmla="*/ 0 h 5189370"/>
                <a:gd name="connsiteX17" fmla="*/ 2760690 w 5462103"/>
                <a:gd name="connsiteY17" fmla="*/ 165560 h 5189370"/>
                <a:gd name="connsiteX18" fmla="*/ 4524241 w 5462103"/>
                <a:gd name="connsiteY18" fmla="*/ 680900 h 5189370"/>
                <a:gd name="connsiteX19" fmla="*/ 5074371 w 5462103"/>
                <a:gd name="connsiteY19" fmla="*/ 1291242 h 5189370"/>
                <a:gd name="connsiteX20" fmla="*/ 5135775 w 5462103"/>
                <a:gd name="connsiteY20" fmla="*/ 1298860 h 5189370"/>
                <a:gd name="connsiteX21" fmla="*/ 5300616 w 5462103"/>
                <a:gd name="connsiteY21" fmla="*/ 1479661 h 5189370"/>
                <a:gd name="connsiteX22" fmla="*/ 5300839 w 5462103"/>
                <a:gd name="connsiteY22" fmla="*/ 1535080 h 5189370"/>
                <a:gd name="connsiteX23" fmla="*/ 5462103 w 5462103"/>
                <a:gd name="connsiteY23" fmla="*/ 1726990 h 5189370"/>
                <a:gd name="connsiteX24" fmla="*/ 4991885 w 5462103"/>
                <a:gd name="connsiteY24" fmla="*/ 2049487 h 5189370"/>
                <a:gd name="connsiteX25" fmla="*/ 4174632 w 5462103"/>
                <a:gd name="connsiteY25" fmla="*/ 1163055 h 5189370"/>
                <a:gd name="connsiteX26" fmla="*/ 2880366 w 5462103"/>
                <a:gd name="connsiteY26" fmla="*/ 761302 h 5189370"/>
                <a:gd name="connsiteX27" fmla="*/ 1882146 w 5462103"/>
                <a:gd name="connsiteY27" fmla="*/ 1081342 h 5189370"/>
                <a:gd name="connsiteX28" fmla="*/ 873226 w 5462103"/>
                <a:gd name="connsiteY28" fmla="*/ 2111591 h 5189370"/>
                <a:gd name="connsiteX29" fmla="*/ 571891 w 5462103"/>
                <a:gd name="connsiteY29" fmla="*/ 3464807 h 5189370"/>
                <a:gd name="connsiteX30" fmla="*/ 932548 w 5462103"/>
                <a:gd name="connsiteY30" fmla="*/ 4771487 h 5189370"/>
                <a:gd name="connsiteX31" fmla="*/ 523257 w 5462103"/>
                <a:gd name="connsiteY31" fmla="*/ 5189370 h 5189370"/>
                <a:gd name="connsiteX32" fmla="*/ 41560 w 5462103"/>
                <a:gd name="connsiteY32" fmla="*/ 3281515 h 5189370"/>
                <a:gd name="connsiteX0" fmla="*/ 41560 w 5462103"/>
                <a:gd name="connsiteY0" fmla="*/ 3281515 h 5189370"/>
                <a:gd name="connsiteX1" fmla="*/ 250907 w 5462103"/>
                <a:gd name="connsiteY1" fmla="*/ 2374266 h 5189370"/>
                <a:gd name="connsiteX2" fmla="*/ 218176 w 5462103"/>
                <a:gd name="connsiteY2" fmla="*/ 2331944 h 5189370"/>
                <a:gd name="connsiteX3" fmla="*/ 290433 w 5462103"/>
                <a:gd name="connsiteY3" fmla="*/ 2067448 h 5189370"/>
                <a:gd name="connsiteX4" fmla="*/ 326149 w 5462103"/>
                <a:gd name="connsiteY4" fmla="*/ 2050403 h 5189370"/>
                <a:gd name="connsiteX5" fmla="*/ 1333506 w 5462103"/>
                <a:gd name="connsiteY5" fmla="*/ 647002 h 5189370"/>
                <a:gd name="connsiteX6" fmla="*/ 1546422 w 5462103"/>
                <a:gd name="connsiteY6" fmla="*/ 547251 h 5189370"/>
                <a:gd name="connsiteX7" fmla="*/ 1526361 w 5462103"/>
                <a:gd name="connsiteY7" fmla="*/ 432260 h 5189370"/>
                <a:gd name="connsiteX8" fmla="*/ 1722126 w 5462103"/>
                <a:gd name="connsiteY8" fmla="*/ 380302 h 5189370"/>
                <a:gd name="connsiteX9" fmla="*/ 1739499 w 5462103"/>
                <a:gd name="connsiteY9" fmla="*/ 481442 h 5189370"/>
                <a:gd name="connsiteX10" fmla="*/ 1866574 w 5462103"/>
                <a:gd name="connsiteY10" fmla="*/ 442651 h 5189370"/>
                <a:gd name="connsiteX11" fmla="*/ 1897053 w 5462103"/>
                <a:gd name="connsiteY11" fmla="*/ 393463 h 5189370"/>
                <a:gd name="connsiteX12" fmla="*/ 2132940 w 5462103"/>
                <a:gd name="connsiteY12" fmla="*/ 319342 h 5189370"/>
                <a:gd name="connsiteX13" fmla="*/ 2173395 w 5462103"/>
                <a:gd name="connsiteY13" fmla="*/ 352592 h 5189370"/>
                <a:gd name="connsiteX14" fmla="*/ 2369937 w 5462103"/>
                <a:gd name="connsiteY14" fmla="*/ 288171 h 5189370"/>
                <a:gd name="connsiteX15" fmla="*/ 2329149 w 5462103"/>
                <a:gd name="connsiteY15" fmla="*/ 119840 h 5189370"/>
                <a:gd name="connsiteX16" fmla="*/ 2712392 w 5462103"/>
                <a:gd name="connsiteY16" fmla="*/ 0 h 5189370"/>
                <a:gd name="connsiteX17" fmla="*/ 2760690 w 5462103"/>
                <a:gd name="connsiteY17" fmla="*/ 165560 h 5189370"/>
                <a:gd name="connsiteX18" fmla="*/ 4524241 w 5462103"/>
                <a:gd name="connsiteY18" fmla="*/ 680900 h 5189370"/>
                <a:gd name="connsiteX19" fmla="*/ 5074371 w 5462103"/>
                <a:gd name="connsiteY19" fmla="*/ 1291242 h 5189370"/>
                <a:gd name="connsiteX20" fmla="*/ 5135775 w 5462103"/>
                <a:gd name="connsiteY20" fmla="*/ 1298860 h 5189370"/>
                <a:gd name="connsiteX21" fmla="*/ 5300616 w 5462103"/>
                <a:gd name="connsiteY21" fmla="*/ 1479661 h 5189370"/>
                <a:gd name="connsiteX22" fmla="*/ 5300839 w 5462103"/>
                <a:gd name="connsiteY22" fmla="*/ 1535080 h 5189370"/>
                <a:gd name="connsiteX23" fmla="*/ 5462103 w 5462103"/>
                <a:gd name="connsiteY23" fmla="*/ 1726990 h 5189370"/>
                <a:gd name="connsiteX24" fmla="*/ 4174632 w 5462103"/>
                <a:gd name="connsiteY24" fmla="*/ 1163055 h 5189370"/>
                <a:gd name="connsiteX25" fmla="*/ 2880366 w 5462103"/>
                <a:gd name="connsiteY25" fmla="*/ 761302 h 5189370"/>
                <a:gd name="connsiteX26" fmla="*/ 1882146 w 5462103"/>
                <a:gd name="connsiteY26" fmla="*/ 1081342 h 5189370"/>
                <a:gd name="connsiteX27" fmla="*/ 873226 w 5462103"/>
                <a:gd name="connsiteY27" fmla="*/ 2111591 h 5189370"/>
                <a:gd name="connsiteX28" fmla="*/ 571891 w 5462103"/>
                <a:gd name="connsiteY28" fmla="*/ 3464807 h 5189370"/>
                <a:gd name="connsiteX29" fmla="*/ 932548 w 5462103"/>
                <a:gd name="connsiteY29" fmla="*/ 4771487 h 5189370"/>
                <a:gd name="connsiteX30" fmla="*/ 523257 w 5462103"/>
                <a:gd name="connsiteY30" fmla="*/ 5189370 h 5189370"/>
                <a:gd name="connsiteX31" fmla="*/ 41560 w 5462103"/>
                <a:gd name="connsiteY31" fmla="*/ 3281515 h 5189370"/>
                <a:gd name="connsiteX0" fmla="*/ 41560 w 5300839"/>
                <a:gd name="connsiteY0" fmla="*/ 3281515 h 5189370"/>
                <a:gd name="connsiteX1" fmla="*/ 250907 w 5300839"/>
                <a:gd name="connsiteY1" fmla="*/ 2374266 h 5189370"/>
                <a:gd name="connsiteX2" fmla="*/ 218176 w 5300839"/>
                <a:gd name="connsiteY2" fmla="*/ 2331944 h 5189370"/>
                <a:gd name="connsiteX3" fmla="*/ 290433 w 5300839"/>
                <a:gd name="connsiteY3" fmla="*/ 2067448 h 5189370"/>
                <a:gd name="connsiteX4" fmla="*/ 326149 w 5300839"/>
                <a:gd name="connsiteY4" fmla="*/ 2050403 h 5189370"/>
                <a:gd name="connsiteX5" fmla="*/ 1333506 w 5300839"/>
                <a:gd name="connsiteY5" fmla="*/ 647002 h 5189370"/>
                <a:gd name="connsiteX6" fmla="*/ 1546422 w 5300839"/>
                <a:gd name="connsiteY6" fmla="*/ 547251 h 5189370"/>
                <a:gd name="connsiteX7" fmla="*/ 1526361 w 5300839"/>
                <a:gd name="connsiteY7" fmla="*/ 432260 h 5189370"/>
                <a:gd name="connsiteX8" fmla="*/ 1722126 w 5300839"/>
                <a:gd name="connsiteY8" fmla="*/ 380302 h 5189370"/>
                <a:gd name="connsiteX9" fmla="*/ 1739499 w 5300839"/>
                <a:gd name="connsiteY9" fmla="*/ 481442 h 5189370"/>
                <a:gd name="connsiteX10" fmla="*/ 1866574 w 5300839"/>
                <a:gd name="connsiteY10" fmla="*/ 442651 h 5189370"/>
                <a:gd name="connsiteX11" fmla="*/ 1897053 w 5300839"/>
                <a:gd name="connsiteY11" fmla="*/ 393463 h 5189370"/>
                <a:gd name="connsiteX12" fmla="*/ 2132940 w 5300839"/>
                <a:gd name="connsiteY12" fmla="*/ 319342 h 5189370"/>
                <a:gd name="connsiteX13" fmla="*/ 2173395 w 5300839"/>
                <a:gd name="connsiteY13" fmla="*/ 352592 h 5189370"/>
                <a:gd name="connsiteX14" fmla="*/ 2369937 w 5300839"/>
                <a:gd name="connsiteY14" fmla="*/ 288171 h 5189370"/>
                <a:gd name="connsiteX15" fmla="*/ 2329149 w 5300839"/>
                <a:gd name="connsiteY15" fmla="*/ 119840 h 5189370"/>
                <a:gd name="connsiteX16" fmla="*/ 2712392 w 5300839"/>
                <a:gd name="connsiteY16" fmla="*/ 0 h 5189370"/>
                <a:gd name="connsiteX17" fmla="*/ 2760690 w 5300839"/>
                <a:gd name="connsiteY17" fmla="*/ 165560 h 5189370"/>
                <a:gd name="connsiteX18" fmla="*/ 4524241 w 5300839"/>
                <a:gd name="connsiteY18" fmla="*/ 680900 h 5189370"/>
                <a:gd name="connsiteX19" fmla="*/ 5074371 w 5300839"/>
                <a:gd name="connsiteY19" fmla="*/ 1291242 h 5189370"/>
                <a:gd name="connsiteX20" fmla="*/ 5135775 w 5300839"/>
                <a:gd name="connsiteY20" fmla="*/ 1298860 h 5189370"/>
                <a:gd name="connsiteX21" fmla="*/ 5300616 w 5300839"/>
                <a:gd name="connsiteY21" fmla="*/ 1479661 h 5189370"/>
                <a:gd name="connsiteX22" fmla="*/ 5300839 w 5300839"/>
                <a:gd name="connsiteY22" fmla="*/ 1535080 h 5189370"/>
                <a:gd name="connsiteX23" fmla="*/ 4174632 w 5300839"/>
                <a:gd name="connsiteY23" fmla="*/ 1163055 h 5189370"/>
                <a:gd name="connsiteX24" fmla="*/ 2880366 w 5300839"/>
                <a:gd name="connsiteY24" fmla="*/ 761302 h 5189370"/>
                <a:gd name="connsiteX25" fmla="*/ 1882146 w 5300839"/>
                <a:gd name="connsiteY25" fmla="*/ 1081342 h 5189370"/>
                <a:gd name="connsiteX26" fmla="*/ 873226 w 5300839"/>
                <a:gd name="connsiteY26" fmla="*/ 2111591 h 5189370"/>
                <a:gd name="connsiteX27" fmla="*/ 571891 w 5300839"/>
                <a:gd name="connsiteY27" fmla="*/ 3464807 h 5189370"/>
                <a:gd name="connsiteX28" fmla="*/ 932548 w 5300839"/>
                <a:gd name="connsiteY28" fmla="*/ 4771487 h 5189370"/>
                <a:gd name="connsiteX29" fmla="*/ 523257 w 5300839"/>
                <a:gd name="connsiteY29" fmla="*/ 5189370 h 5189370"/>
                <a:gd name="connsiteX30" fmla="*/ 41560 w 5300839"/>
                <a:gd name="connsiteY30" fmla="*/ 3281515 h 5189370"/>
                <a:gd name="connsiteX0" fmla="*/ 41560 w 5300616"/>
                <a:gd name="connsiteY0" fmla="*/ 3281515 h 5189370"/>
                <a:gd name="connsiteX1" fmla="*/ 250907 w 5300616"/>
                <a:gd name="connsiteY1" fmla="*/ 2374266 h 5189370"/>
                <a:gd name="connsiteX2" fmla="*/ 218176 w 5300616"/>
                <a:gd name="connsiteY2" fmla="*/ 2331944 h 5189370"/>
                <a:gd name="connsiteX3" fmla="*/ 290433 w 5300616"/>
                <a:gd name="connsiteY3" fmla="*/ 2067448 h 5189370"/>
                <a:gd name="connsiteX4" fmla="*/ 326149 w 5300616"/>
                <a:gd name="connsiteY4" fmla="*/ 2050403 h 5189370"/>
                <a:gd name="connsiteX5" fmla="*/ 1333506 w 5300616"/>
                <a:gd name="connsiteY5" fmla="*/ 647002 h 5189370"/>
                <a:gd name="connsiteX6" fmla="*/ 1546422 w 5300616"/>
                <a:gd name="connsiteY6" fmla="*/ 547251 h 5189370"/>
                <a:gd name="connsiteX7" fmla="*/ 1526361 w 5300616"/>
                <a:gd name="connsiteY7" fmla="*/ 432260 h 5189370"/>
                <a:gd name="connsiteX8" fmla="*/ 1722126 w 5300616"/>
                <a:gd name="connsiteY8" fmla="*/ 380302 h 5189370"/>
                <a:gd name="connsiteX9" fmla="*/ 1739499 w 5300616"/>
                <a:gd name="connsiteY9" fmla="*/ 481442 h 5189370"/>
                <a:gd name="connsiteX10" fmla="*/ 1866574 w 5300616"/>
                <a:gd name="connsiteY10" fmla="*/ 442651 h 5189370"/>
                <a:gd name="connsiteX11" fmla="*/ 1897053 w 5300616"/>
                <a:gd name="connsiteY11" fmla="*/ 393463 h 5189370"/>
                <a:gd name="connsiteX12" fmla="*/ 2132940 w 5300616"/>
                <a:gd name="connsiteY12" fmla="*/ 319342 h 5189370"/>
                <a:gd name="connsiteX13" fmla="*/ 2173395 w 5300616"/>
                <a:gd name="connsiteY13" fmla="*/ 352592 h 5189370"/>
                <a:gd name="connsiteX14" fmla="*/ 2369937 w 5300616"/>
                <a:gd name="connsiteY14" fmla="*/ 288171 h 5189370"/>
                <a:gd name="connsiteX15" fmla="*/ 2329149 w 5300616"/>
                <a:gd name="connsiteY15" fmla="*/ 119840 h 5189370"/>
                <a:gd name="connsiteX16" fmla="*/ 2712392 w 5300616"/>
                <a:gd name="connsiteY16" fmla="*/ 0 h 5189370"/>
                <a:gd name="connsiteX17" fmla="*/ 2760690 w 5300616"/>
                <a:gd name="connsiteY17" fmla="*/ 165560 h 5189370"/>
                <a:gd name="connsiteX18" fmla="*/ 4524241 w 5300616"/>
                <a:gd name="connsiteY18" fmla="*/ 680900 h 5189370"/>
                <a:gd name="connsiteX19" fmla="*/ 5074371 w 5300616"/>
                <a:gd name="connsiteY19" fmla="*/ 1291242 h 5189370"/>
                <a:gd name="connsiteX20" fmla="*/ 5135775 w 5300616"/>
                <a:gd name="connsiteY20" fmla="*/ 1298860 h 5189370"/>
                <a:gd name="connsiteX21" fmla="*/ 5300616 w 5300616"/>
                <a:gd name="connsiteY21" fmla="*/ 1479661 h 5189370"/>
                <a:gd name="connsiteX22" fmla="*/ 4174632 w 5300616"/>
                <a:gd name="connsiteY22" fmla="*/ 1163055 h 5189370"/>
                <a:gd name="connsiteX23" fmla="*/ 2880366 w 5300616"/>
                <a:gd name="connsiteY23" fmla="*/ 761302 h 5189370"/>
                <a:gd name="connsiteX24" fmla="*/ 1882146 w 5300616"/>
                <a:gd name="connsiteY24" fmla="*/ 1081342 h 5189370"/>
                <a:gd name="connsiteX25" fmla="*/ 873226 w 5300616"/>
                <a:gd name="connsiteY25" fmla="*/ 2111591 h 5189370"/>
                <a:gd name="connsiteX26" fmla="*/ 571891 w 5300616"/>
                <a:gd name="connsiteY26" fmla="*/ 3464807 h 5189370"/>
                <a:gd name="connsiteX27" fmla="*/ 932548 w 5300616"/>
                <a:gd name="connsiteY27" fmla="*/ 4771487 h 5189370"/>
                <a:gd name="connsiteX28" fmla="*/ 523257 w 5300616"/>
                <a:gd name="connsiteY28" fmla="*/ 5189370 h 5189370"/>
                <a:gd name="connsiteX29" fmla="*/ 41560 w 5300616"/>
                <a:gd name="connsiteY29" fmla="*/ 3281515 h 5189370"/>
                <a:gd name="connsiteX0" fmla="*/ 41560 w 5135775"/>
                <a:gd name="connsiteY0" fmla="*/ 3281515 h 5189370"/>
                <a:gd name="connsiteX1" fmla="*/ 250907 w 5135775"/>
                <a:gd name="connsiteY1" fmla="*/ 2374266 h 5189370"/>
                <a:gd name="connsiteX2" fmla="*/ 218176 w 5135775"/>
                <a:gd name="connsiteY2" fmla="*/ 2331944 h 5189370"/>
                <a:gd name="connsiteX3" fmla="*/ 290433 w 5135775"/>
                <a:gd name="connsiteY3" fmla="*/ 2067448 h 5189370"/>
                <a:gd name="connsiteX4" fmla="*/ 326149 w 5135775"/>
                <a:gd name="connsiteY4" fmla="*/ 2050403 h 5189370"/>
                <a:gd name="connsiteX5" fmla="*/ 1333506 w 5135775"/>
                <a:gd name="connsiteY5" fmla="*/ 647002 h 5189370"/>
                <a:gd name="connsiteX6" fmla="*/ 1546422 w 5135775"/>
                <a:gd name="connsiteY6" fmla="*/ 547251 h 5189370"/>
                <a:gd name="connsiteX7" fmla="*/ 1526361 w 5135775"/>
                <a:gd name="connsiteY7" fmla="*/ 432260 h 5189370"/>
                <a:gd name="connsiteX8" fmla="*/ 1722126 w 5135775"/>
                <a:gd name="connsiteY8" fmla="*/ 380302 h 5189370"/>
                <a:gd name="connsiteX9" fmla="*/ 1739499 w 5135775"/>
                <a:gd name="connsiteY9" fmla="*/ 481442 h 5189370"/>
                <a:gd name="connsiteX10" fmla="*/ 1866574 w 5135775"/>
                <a:gd name="connsiteY10" fmla="*/ 442651 h 5189370"/>
                <a:gd name="connsiteX11" fmla="*/ 1897053 w 5135775"/>
                <a:gd name="connsiteY11" fmla="*/ 393463 h 5189370"/>
                <a:gd name="connsiteX12" fmla="*/ 2132940 w 5135775"/>
                <a:gd name="connsiteY12" fmla="*/ 319342 h 5189370"/>
                <a:gd name="connsiteX13" fmla="*/ 2173395 w 5135775"/>
                <a:gd name="connsiteY13" fmla="*/ 352592 h 5189370"/>
                <a:gd name="connsiteX14" fmla="*/ 2369937 w 5135775"/>
                <a:gd name="connsiteY14" fmla="*/ 288171 h 5189370"/>
                <a:gd name="connsiteX15" fmla="*/ 2329149 w 5135775"/>
                <a:gd name="connsiteY15" fmla="*/ 119840 h 5189370"/>
                <a:gd name="connsiteX16" fmla="*/ 2712392 w 5135775"/>
                <a:gd name="connsiteY16" fmla="*/ 0 h 5189370"/>
                <a:gd name="connsiteX17" fmla="*/ 2760690 w 5135775"/>
                <a:gd name="connsiteY17" fmla="*/ 165560 h 5189370"/>
                <a:gd name="connsiteX18" fmla="*/ 4524241 w 5135775"/>
                <a:gd name="connsiteY18" fmla="*/ 680900 h 5189370"/>
                <a:gd name="connsiteX19" fmla="*/ 5074371 w 5135775"/>
                <a:gd name="connsiteY19" fmla="*/ 1291242 h 5189370"/>
                <a:gd name="connsiteX20" fmla="*/ 5135775 w 5135775"/>
                <a:gd name="connsiteY20" fmla="*/ 1298860 h 5189370"/>
                <a:gd name="connsiteX21" fmla="*/ 4174632 w 5135775"/>
                <a:gd name="connsiteY21" fmla="*/ 1163055 h 5189370"/>
                <a:gd name="connsiteX22" fmla="*/ 2880366 w 5135775"/>
                <a:gd name="connsiteY22" fmla="*/ 761302 h 5189370"/>
                <a:gd name="connsiteX23" fmla="*/ 1882146 w 5135775"/>
                <a:gd name="connsiteY23" fmla="*/ 1081342 h 5189370"/>
                <a:gd name="connsiteX24" fmla="*/ 873226 w 5135775"/>
                <a:gd name="connsiteY24" fmla="*/ 2111591 h 5189370"/>
                <a:gd name="connsiteX25" fmla="*/ 571891 w 5135775"/>
                <a:gd name="connsiteY25" fmla="*/ 3464807 h 5189370"/>
                <a:gd name="connsiteX26" fmla="*/ 932548 w 5135775"/>
                <a:gd name="connsiteY26" fmla="*/ 4771487 h 5189370"/>
                <a:gd name="connsiteX27" fmla="*/ 523257 w 5135775"/>
                <a:gd name="connsiteY27" fmla="*/ 5189370 h 5189370"/>
                <a:gd name="connsiteX28" fmla="*/ 41560 w 5135775"/>
                <a:gd name="connsiteY28" fmla="*/ 3281515 h 5189370"/>
                <a:gd name="connsiteX0" fmla="*/ 41560 w 5074371"/>
                <a:gd name="connsiteY0" fmla="*/ 3281515 h 5189370"/>
                <a:gd name="connsiteX1" fmla="*/ 250907 w 5074371"/>
                <a:gd name="connsiteY1" fmla="*/ 2374266 h 5189370"/>
                <a:gd name="connsiteX2" fmla="*/ 218176 w 5074371"/>
                <a:gd name="connsiteY2" fmla="*/ 2331944 h 5189370"/>
                <a:gd name="connsiteX3" fmla="*/ 290433 w 5074371"/>
                <a:gd name="connsiteY3" fmla="*/ 2067448 h 5189370"/>
                <a:gd name="connsiteX4" fmla="*/ 326149 w 5074371"/>
                <a:gd name="connsiteY4" fmla="*/ 2050403 h 5189370"/>
                <a:gd name="connsiteX5" fmla="*/ 1333506 w 5074371"/>
                <a:gd name="connsiteY5" fmla="*/ 647002 h 5189370"/>
                <a:gd name="connsiteX6" fmla="*/ 1546422 w 5074371"/>
                <a:gd name="connsiteY6" fmla="*/ 547251 h 5189370"/>
                <a:gd name="connsiteX7" fmla="*/ 1526361 w 5074371"/>
                <a:gd name="connsiteY7" fmla="*/ 432260 h 5189370"/>
                <a:gd name="connsiteX8" fmla="*/ 1722126 w 5074371"/>
                <a:gd name="connsiteY8" fmla="*/ 380302 h 5189370"/>
                <a:gd name="connsiteX9" fmla="*/ 1739499 w 5074371"/>
                <a:gd name="connsiteY9" fmla="*/ 481442 h 5189370"/>
                <a:gd name="connsiteX10" fmla="*/ 1866574 w 5074371"/>
                <a:gd name="connsiteY10" fmla="*/ 442651 h 5189370"/>
                <a:gd name="connsiteX11" fmla="*/ 1897053 w 5074371"/>
                <a:gd name="connsiteY11" fmla="*/ 393463 h 5189370"/>
                <a:gd name="connsiteX12" fmla="*/ 2132940 w 5074371"/>
                <a:gd name="connsiteY12" fmla="*/ 319342 h 5189370"/>
                <a:gd name="connsiteX13" fmla="*/ 2173395 w 5074371"/>
                <a:gd name="connsiteY13" fmla="*/ 352592 h 5189370"/>
                <a:gd name="connsiteX14" fmla="*/ 2369937 w 5074371"/>
                <a:gd name="connsiteY14" fmla="*/ 288171 h 5189370"/>
                <a:gd name="connsiteX15" fmla="*/ 2329149 w 5074371"/>
                <a:gd name="connsiteY15" fmla="*/ 119840 h 5189370"/>
                <a:gd name="connsiteX16" fmla="*/ 2712392 w 5074371"/>
                <a:gd name="connsiteY16" fmla="*/ 0 h 5189370"/>
                <a:gd name="connsiteX17" fmla="*/ 2760690 w 5074371"/>
                <a:gd name="connsiteY17" fmla="*/ 165560 h 5189370"/>
                <a:gd name="connsiteX18" fmla="*/ 4524241 w 5074371"/>
                <a:gd name="connsiteY18" fmla="*/ 680900 h 5189370"/>
                <a:gd name="connsiteX19" fmla="*/ 5074371 w 5074371"/>
                <a:gd name="connsiteY19" fmla="*/ 1291242 h 5189370"/>
                <a:gd name="connsiteX20" fmla="*/ 4174632 w 5074371"/>
                <a:gd name="connsiteY20" fmla="*/ 1163055 h 5189370"/>
                <a:gd name="connsiteX21" fmla="*/ 2880366 w 5074371"/>
                <a:gd name="connsiteY21" fmla="*/ 761302 h 5189370"/>
                <a:gd name="connsiteX22" fmla="*/ 1882146 w 5074371"/>
                <a:gd name="connsiteY22" fmla="*/ 1081342 h 5189370"/>
                <a:gd name="connsiteX23" fmla="*/ 873226 w 5074371"/>
                <a:gd name="connsiteY23" fmla="*/ 2111591 h 5189370"/>
                <a:gd name="connsiteX24" fmla="*/ 571891 w 5074371"/>
                <a:gd name="connsiteY24" fmla="*/ 3464807 h 5189370"/>
                <a:gd name="connsiteX25" fmla="*/ 932548 w 5074371"/>
                <a:gd name="connsiteY25" fmla="*/ 4771487 h 5189370"/>
                <a:gd name="connsiteX26" fmla="*/ 523257 w 5074371"/>
                <a:gd name="connsiteY26" fmla="*/ 5189370 h 5189370"/>
                <a:gd name="connsiteX27" fmla="*/ 41560 w 5074371"/>
                <a:gd name="connsiteY27" fmla="*/ 3281515 h 5189370"/>
                <a:gd name="connsiteX0" fmla="*/ 41560 w 4524241"/>
                <a:gd name="connsiteY0" fmla="*/ 3281515 h 5189370"/>
                <a:gd name="connsiteX1" fmla="*/ 250907 w 4524241"/>
                <a:gd name="connsiteY1" fmla="*/ 2374266 h 5189370"/>
                <a:gd name="connsiteX2" fmla="*/ 218176 w 4524241"/>
                <a:gd name="connsiteY2" fmla="*/ 2331944 h 5189370"/>
                <a:gd name="connsiteX3" fmla="*/ 290433 w 4524241"/>
                <a:gd name="connsiteY3" fmla="*/ 2067448 h 5189370"/>
                <a:gd name="connsiteX4" fmla="*/ 326149 w 4524241"/>
                <a:gd name="connsiteY4" fmla="*/ 2050403 h 5189370"/>
                <a:gd name="connsiteX5" fmla="*/ 1333506 w 4524241"/>
                <a:gd name="connsiteY5" fmla="*/ 647002 h 5189370"/>
                <a:gd name="connsiteX6" fmla="*/ 1546422 w 4524241"/>
                <a:gd name="connsiteY6" fmla="*/ 547251 h 5189370"/>
                <a:gd name="connsiteX7" fmla="*/ 1526361 w 4524241"/>
                <a:gd name="connsiteY7" fmla="*/ 432260 h 5189370"/>
                <a:gd name="connsiteX8" fmla="*/ 1722126 w 4524241"/>
                <a:gd name="connsiteY8" fmla="*/ 380302 h 5189370"/>
                <a:gd name="connsiteX9" fmla="*/ 1739499 w 4524241"/>
                <a:gd name="connsiteY9" fmla="*/ 481442 h 5189370"/>
                <a:gd name="connsiteX10" fmla="*/ 1866574 w 4524241"/>
                <a:gd name="connsiteY10" fmla="*/ 442651 h 5189370"/>
                <a:gd name="connsiteX11" fmla="*/ 1897053 w 4524241"/>
                <a:gd name="connsiteY11" fmla="*/ 393463 h 5189370"/>
                <a:gd name="connsiteX12" fmla="*/ 2132940 w 4524241"/>
                <a:gd name="connsiteY12" fmla="*/ 319342 h 5189370"/>
                <a:gd name="connsiteX13" fmla="*/ 2173395 w 4524241"/>
                <a:gd name="connsiteY13" fmla="*/ 352592 h 5189370"/>
                <a:gd name="connsiteX14" fmla="*/ 2369937 w 4524241"/>
                <a:gd name="connsiteY14" fmla="*/ 288171 h 5189370"/>
                <a:gd name="connsiteX15" fmla="*/ 2329149 w 4524241"/>
                <a:gd name="connsiteY15" fmla="*/ 119840 h 5189370"/>
                <a:gd name="connsiteX16" fmla="*/ 2712392 w 4524241"/>
                <a:gd name="connsiteY16" fmla="*/ 0 h 5189370"/>
                <a:gd name="connsiteX17" fmla="*/ 2760690 w 4524241"/>
                <a:gd name="connsiteY17" fmla="*/ 165560 h 5189370"/>
                <a:gd name="connsiteX18" fmla="*/ 4524241 w 4524241"/>
                <a:gd name="connsiteY18" fmla="*/ 680900 h 5189370"/>
                <a:gd name="connsiteX19" fmla="*/ 4174632 w 4524241"/>
                <a:gd name="connsiteY19" fmla="*/ 1163055 h 5189370"/>
                <a:gd name="connsiteX20" fmla="*/ 2880366 w 4524241"/>
                <a:gd name="connsiteY20" fmla="*/ 761302 h 5189370"/>
                <a:gd name="connsiteX21" fmla="*/ 1882146 w 4524241"/>
                <a:gd name="connsiteY21" fmla="*/ 1081342 h 5189370"/>
                <a:gd name="connsiteX22" fmla="*/ 873226 w 4524241"/>
                <a:gd name="connsiteY22" fmla="*/ 2111591 h 5189370"/>
                <a:gd name="connsiteX23" fmla="*/ 571891 w 4524241"/>
                <a:gd name="connsiteY23" fmla="*/ 3464807 h 5189370"/>
                <a:gd name="connsiteX24" fmla="*/ 932548 w 4524241"/>
                <a:gd name="connsiteY24" fmla="*/ 4771487 h 5189370"/>
                <a:gd name="connsiteX25" fmla="*/ 523257 w 4524241"/>
                <a:gd name="connsiteY25" fmla="*/ 5189370 h 5189370"/>
                <a:gd name="connsiteX26" fmla="*/ 41560 w 4524241"/>
                <a:gd name="connsiteY26" fmla="*/ 3281515 h 5189370"/>
                <a:gd name="connsiteX0" fmla="*/ 41560 w 4524241"/>
                <a:gd name="connsiteY0" fmla="*/ 3281515 h 5189370"/>
                <a:gd name="connsiteX1" fmla="*/ 250907 w 4524241"/>
                <a:gd name="connsiteY1" fmla="*/ 2374266 h 5189370"/>
                <a:gd name="connsiteX2" fmla="*/ 218176 w 4524241"/>
                <a:gd name="connsiteY2" fmla="*/ 2331944 h 5189370"/>
                <a:gd name="connsiteX3" fmla="*/ 290433 w 4524241"/>
                <a:gd name="connsiteY3" fmla="*/ 2067448 h 5189370"/>
                <a:gd name="connsiteX4" fmla="*/ 326149 w 4524241"/>
                <a:gd name="connsiteY4" fmla="*/ 2050403 h 5189370"/>
                <a:gd name="connsiteX5" fmla="*/ 1333506 w 4524241"/>
                <a:gd name="connsiteY5" fmla="*/ 647002 h 5189370"/>
                <a:gd name="connsiteX6" fmla="*/ 1546422 w 4524241"/>
                <a:gd name="connsiteY6" fmla="*/ 547251 h 5189370"/>
                <a:gd name="connsiteX7" fmla="*/ 1526361 w 4524241"/>
                <a:gd name="connsiteY7" fmla="*/ 432260 h 5189370"/>
                <a:gd name="connsiteX8" fmla="*/ 1722126 w 4524241"/>
                <a:gd name="connsiteY8" fmla="*/ 380302 h 5189370"/>
                <a:gd name="connsiteX9" fmla="*/ 1739499 w 4524241"/>
                <a:gd name="connsiteY9" fmla="*/ 481442 h 5189370"/>
                <a:gd name="connsiteX10" fmla="*/ 1866574 w 4524241"/>
                <a:gd name="connsiteY10" fmla="*/ 442651 h 5189370"/>
                <a:gd name="connsiteX11" fmla="*/ 1897053 w 4524241"/>
                <a:gd name="connsiteY11" fmla="*/ 393463 h 5189370"/>
                <a:gd name="connsiteX12" fmla="*/ 2132940 w 4524241"/>
                <a:gd name="connsiteY12" fmla="*/ 319342 h 5189370"/>
                <a:gd name="connsiteX13" fmla="*/ 2173395 w 4524241"/>
                <a:gd name="connsiteY13" fmla="*/ 352592 h 5189370"/>
                <a:gd name="connsiteX14" fmla="*/ 2369937 w 4524241"/>
                <a:gd name="connsiteY14" fmla="*/ 288171 h 5189370"/>
                <a:gd name="connsiteX15" fmla="*/ 2329149 w 4524241"/>
                <a:gd name="connsiteY15" fmla="*/ 119840 h 5189370"/>
                <a:gd name="connsiteX16" fmla="*/ 2712392 w 4524241"/>
                <a:gd name="connsiteY16" fmla="*/ 0 h 5189370"/>
                <a:gd name="connsiteX17" fmla="*/ 2760690 w 4524241"/>
                <a:gd name="connsiteY17" fmla="*/ 165560 h 5189370"/>
                <a:gd name="connsiteX18" fmla="*/ 4524241 w 4524241"/>
                <a:gd name="connsiteY18" fmla="*/ 680900 h 5189370"/>
                <a:gd name="connsiteX19" fmla="*/ 2880366 w 4524241"/>
                <a:gd name="connsiteY19" fmla="*/ 761302 h 5189370"/>
                <a:gd name="connsiteX20" fmla="*/ 1882146 w 4524241"/>
                <a:gd name="connsiteY20" fmla="*/ 1081342 h 5189370"/>
                <a:gd name="connsiteX21" fmla="*/ 873226 w 4524241"/>
                <a:gd name="connsiteY21" fmla="*/ 2111591 h 5189370"/>
                <a:gd name="connsiteX22" fmla="*/ 571891 w 4524241"/>
                <a:gd name="connsiteY22" fmla="*/ 3464807 h 5189370"/>
                <a:gd name="connsiteX23" fmla="*/ 932548 w 4524241"/>
                <a:gd name="connsiteY23" fmla="*/ 4771487 h 5189370"/>
                <a:gd name="connsiteX24" fmla="*/ 523257 w 4524241"/>
                <a:gd name="connsiteY24" fmla="*/ 5189370 h 5189370"/>
                <a:gd name="connsiteX25" fmla="*/ 41560 w 4524241"/>
                <a:gd name="connsiteY25" fmla="*/ 3281515 h 5189370"/>
                <a:gd name="connsiteX0" fmla="*/ 41560 w 2927611"/>
                <a:gd name="connsiteY0" fmla="*/ 3281515 h 5189370"/>
                <a:gd name="connsiteX1" fmla="*/ 250907 w 2927611"/>
                <a:gd name="connsiteY1" fmla="*/ 2374266 h 5189370"/>
                <a:gd name="connsiteX2" fmla="*/ 218176 w 2927611"/>
                <a:gd name="connsiteY2" fmla="*/ 2331944 h 5189370"/>
                <a:gd name="connsiteX3" fmla="*/ 290433 w 2927611"/>
                <a:gd name="connsiteY3" fmla="*/ 2067448 h 5189370"/>
                <a:gd name="connsiteX4" fmla="*/ 326149 w 2927611"/>
                <a:gd name="connsiteY4" fmla="*/ 2050403 h 5189370"/>
                <a:gd name="connsiteX5" fmla="*/ 1333506 w 2927611"/>
                <a:gd name="connsiteY5" fmla="*/ 647002 h 5189370"/>
                <a:gd name="connsiteX6" fmla="*/ 1546422 w 2927611"/>
                <a:gd name="connsiteY6" fmla="*/ 547251 h 5189370"/>
                <a:gd name="connsiteX7" fmla="*/ 1526361 w 2927611"/>
                <a:gd name="connsiteY7" fmla="*/ 432260 h 5189370"/>
                <a:gd name="connsiteX8" fmla="*/ 1722126 w 2927611"/>
                <a:gd name="connsiteY8" fmla="*/ 380302 h 5189370"/>
                <a:gd name="connsiteX9" fmla="*/ 1739499 w 2927611"/>
                <a:gd name="connsiteY9" fmla="*/ 481442 h 5189370"/>
                <a:gd name="connsiteX10" fmla="*/ 1866574 w 2927611"/>
                <a:gd name="connsiteY10" fmla="*/ 442651 h 5189370"/>
                <a:gd name="connsiteX11" fmla="*/ 1897053 w 2927611"/>
                <a:gd name="connsiteY11" fmla="*/ 393463 h 5189370"/>
                <a:gd name="connsiteX12" fmla="*/ 2132940 w 2927611"/>
                <a:gd name="connsiteY12" fmla="*/ 319342 h 5189370"/>
                <a:gd name="connsiteX13" fmla="*/ 2173395 w 2927611"/>
                <a:gd name="connsiteY13" fmla="*/ 352592 h 5189370"/>
                <a:gd name="connsiteX14" fmla="*/ 2369937 w 2927611"/>
                <a:gd name="connsiteY14" fmla="*/ 288171 h 5189370"/>
                <a:gd name="connsiteX15" fmla="*/ 2329149 w 2927611"/>
                <a:gd name="connsiteY15" fmla="*/ 119840 h 5189370"/>
                <a:gd name="connsiteX16" fmla="*/ 2712392 w 2927611"/>
                <a:gd name="connsiteY16" fmla="*/ 0 h 5189370"/>
                <a:gd name="connsiteX17" fmla="*/ 2760690 w 2927611"/>
                <a:gd name="connsiteY17" fmla="*/ 165560 h 5189370"/>
                <a:gd name="connsiteX18" fmla="*/ 2880366 w 2927611"/>
                <a:gd name="connsiteY18" fmla="*/ 761302 h 5189370"/>
                <a:gd name="connsiteX19" fmla="*/ 1882146 w 2927611"/>
                <a:gd name="connsiteY19" fmla="*/ 1081342 h 5189370"/>
                <a:gd name="connsiteX20" fmla="*/ 873226 w 2927611"/>
                <a:gd name="connsiteY20" fmla="*/ 2111591 h 5189370"/>
                <a:gd name="connsiteX21" fmla="*/ 571891 w 2927611"/>
                <a:gd name="connsiteY21" fmla="*/ 3464807 h 5189370"/>
                <a:gd name="connsiteX22" fmla="*/ 932548 w 2927611"/>
                <a:gd name="connsiteY22" fmla="*/ 4771487 h 5189370"/>
                <a:gd name="connsiteX23" fmla="*/ 523257 w 2927611"/>
                <a:gd name="connsiteY23" fmla="*/ 5189370 h 5189370"/>
                <a:gd name="connsiteX24" fmla="*/ 41560 w 2927611"/>
                <a:gd name="connsiteY24" fmla="*/ 3281515 h 5189370"/>
                <a:gd name="connsiteX0" fmla="*/ 41560 w 2880366"/>
                <a:gd name="connsiteY0" fmla="*/ 3281515 h 5189370"/>
                <a:gd name="connsiteX1" fmla="*/ 250907 w 2880366"/>
                <a:gd name="connsiteY1" fmla="*/ 2374266 h 5189370"/>
                <a:gd name="connsiteX2" fmla="*/ 218176 w 2880366"/>
                <a:gd name="connsiteY2" fmla="*/ 2331944 h 5189370"/>
                <a:gd name="connsiteX3" fmla="*/ 290433 w 2880366"/>
                <a:gd name="connsiteY3" fmla="*/ 2067448 h 5189370"/>
                <a:gd name="connsiteX4" fmla="*/ 326149 w 2880366"/>
                <a:gd name="connsiteY4" fmla="*/ 2050403 h 5189370"/>
                <a:gd name="connsiteX5" fmla="*/ 1333506 w 2880366"/>
                <a:gd name="connsiteY5" fmla="*/ 647002 h 5189370"/>
                <a:gd name="connsiteX6" fmla="*/ 1546422 w 2880366"/>
                <a:gd name="connsiteY6" fmla="*/ 547251 h 5189370"/>
                <a:gd name="connsiteX7" fmla="*/ 1526361 w 2880366"/>
                <a:gd name="connsiteY7" fmla="*/ 432260 h 5189370"/>
                <a:gd name="connsiteX8" fmla="*/ 1722126 w 2880366"/>
                <a:gd name="connsiteY8" fmla="*/ 380302 h 5189370"/>
                <a:gd name="connsiteX9" fmla="*/ 1739499 w 2880366"/>
                <a:gd name="connsiteY9" fmla="*/ 481442 h 5189370"/>
                <a:gd name="connsiteX10" fmla="*/ 1866574 w 2880366"/>
                <a:gd name="connsiteY10" fmla="*/ 442651 h 5189370"/>
                <a:gd name="connsiteX11" fmla="*/ 1897053 w 2880366"/>
                <a:gd name="connsiteY11" fmla="*/ 393463 h 5189370"/>
                <a:gd name="connsiteX12" fmla="*/ 2132940 w 2880366"/>
                <a:gd name="connsiteY12" fmla="*/ 319342 h 5189370"/>
                <a:gd name="connsiteX13" fmla="*/ 2173395 w 2880366"/>
                <a:gd name="connsiteY13" fmla="*/ 352592 h 5189370"/>
                <a:gd name="connsiteX14" fmla="*/ 2369937 w 2880366"/>
                <a:gd name="connsiteY14" fmla="*/ 288171 h 5189370"/>
                <a:gd name="connsiteX15" fmla="*/ 2329149 w 2880366"/>
                <a:gd name="connsiteY15" fmla="*/ 119840 h 5189370"/>
                <a:gd name="connsiteX16" fmla="*/ 2712392 w 2880366"/>
                <a:gd name="connsiteY16" fmla="*/ 0 h 5189370"/>
                <a:gd name="connsiteX17" fmla="*/ 2880366 w 2880366"/>
                <a:gd name="connsiteY17" fmla="*/ 761302 h 5189370"/>
                <a:gd name="connsiteX18" fmla="*/ 1882146 w 2880366"/>
                <a:gd name="connsiteY18" fmla="*/ 1081342 h 5189370"/>
                <a:gd name="connsiteX19" fmla="*/ 873226 w 2880366"/>
                <a:gd name="connsiteY19" fmla="*/ 2111591 h 5189370"/>
                <a:gd name="connsiteX20" fmla="*/ 571891 w 2880366"/>
                <a:gd name="connsiteY20" fmla="*/ 3464807 h 5189370"/>
                <a:gd name="connsiteX21" fmla="*/ 932548 w 2880366"/>
                <a:gd name="connsiteY21" fmla="*/ 4771487 h 5189370"/>
                <a:gd name="connsiteX22" fmla="*/ 523257 w 2880366"/>
                <a:gd name="connsiteY22" fmla="*/ 5189370 h 5189370"/>
                <a:gd name="connsiteX23" fmla="*/ 41560 w 2880366"/>
                <a:gd name="connsiteY23" fmla="*/ 3281515 h 5189370"/>
                <a:gd name="connsiteX0" fmla="*/ 41560 w 2712392"/>
                <a:gd name="connsiteY0" fmla="*/ 3281515 h 5189370"/>
                <a:gd name="connsiteX1" fmla="*/ 250907 w 2712392"/>
                <a:gd name="connsiteY1" fmla="*/ 2374266 h 5189370"/>
                <a:gd name="connsiteX2" fmla="*/ 218176 w 2712392"/>
                <a:gd name="connsiteY2" fmla="*/ 2331944 h 5189370"/>
                <a:gd name="connsiteX3" fmla="*/ 290433 w 2712392"/>
                <a:gd name="connsiteY3" fmla="*/ 2067448 h 5189370"/>
                <a:gd name="connsiteX4" fmla="*/ 326149 w 2712392"/>
                <a:gd name="connsiteY4" fmla="*/ 2050403 h 5189370"/>
                <a:gd name="connsiteX5" fmla="*/ 1333506 w 2712392"/>
                <a:gd name="connsiteY5" fmla="*/ 647002 h 5189370"/>
                <a:gd name="connsiteX6" fmla="*/ 1546422 w 2712392"/>
                <a:gd name="connsiteY6" fmla="*/ 547251 h 5189370"/>
                <a:gd name="connsiteX7" fmla="*/ 1526361 w 2712392"/>
                <a:gd name="connsiteY7" fmla="*/ 432260 h 5189370"/>
                <a:gd name="connsiteX8" fmla="*/ 1722126 w 2712392"/>
                <a:gd name="connsiteY8" fmla="*/ 380302 h 5189370"/>
                <a:gd name="connsiteX9" fmla="*/ 1739499 w 2712392"/>
                <a:gd name="connsiteY9" fmla="*/ 481442 h 5189370"/>
                <a:gd name="connsiteX10" fmla="*/ 1866574 w 2712392"/>
                <a:gd name="connsiteY10" fmla="*/ 442651 h 5189370"/>
                <a:gd name="connsiteX11" fmla="*/ 1897053 w 2712392"/>
                <a:gd name="connsiteY11" fmla="*/ 393463 h 5189370"/>
                <a:gd name="connsiteX12" fmla="*/ 2132940 w 2712392"/>
                <a:gd name="connsiteY12" fmla="*/ 319342 h 5189370"/>
                <a:gd name="connsiteX13" fmla="*/ 2173395 w 2712392"/>
                <a:gd name="connsiteY13" fmla="*/ 352592 h 5189370"/>
                <a:gd name="connsiteX14" fmla="*/ 2369937 w 2712392"/>
                <a:gd name="connsiteY14" fmla="*/ 288171 h 5189370"/>
                <a:gd name="connsiteX15" fmla="*/ 2329149 w 2712392"/>
                <a:gd name="connsiteY15" fmla="*/ 119840 h 5189370"/>
                <a:gd name="connsiteX16" fmla="*/ 2712392 w 2712392"/>
                <a:gd name="connsiteY16" fmla="*/ 0 h 5189370"/>
                <a:gd name="connsiteX17" fmla="*/ 1882146 w 2712392"/>
                <a:gd name="connsiteY17" fmla="*/ 1081342 h 5189370"/>
                <a:gd name="connsiteX18" fmla="*/ 873226 w 2712392"/>
                <a:gd name="connsiteY18" fmla="*/ 2111591 h 5189370"/>
                <a:gd name="connsiteX19" fmla="*/ 571891 w 2712392"/>
                <a:gd name="connsiteY19" fmla="*/ 3464807 h 5189370"/>
                <a:gd name="connsiteX20" fmla="*/ 932548 w 2712392"/>
                <a:gd name="connsiteY20" fmla="*/ 4771487 h 5189370"/>
                <a:gd name="connsiteX21" fmla="*/ 523257 w 2712392"/>
                <a:gd name="connsiteY21" fmla="*/ 5189370 h 5189370"/>
                <a:gd name="connsiteX22" fmla="*/ 41560 w 2712392"/>
                <a:gd name="connsiteY22" fmla="*/ 3281515 h 5189370"/>
                <a:gd name="connsiteX0" fmla="*/ 41560 w 2369937"/>
                <a:gd name="connsiteY0" fmla="*/ 3161675 h 5069530"/>
                <a:gd name="connsiteX1" fmla="*/ 250907 w 2369937"/>
                <a:gd name="connsiteY1" fmla="*/ 2254426 h 5069530"/>
                <a:gd name="connsiteX2" fmla="*/ 218176 w 2369937"/>
                <a:gd name="connsiteY2" fmla="*/ 2212104 h 5069530"/>
                <a:gd name="connsiteX3" fmla="*/ 290433 w 2369937"/>
                <a:gd name="connsiteY3" fmla="*/ 1947608 h 5069530"/>
                <a:gd name="connsiteX4" fmla="*/ 326149 w 2369937"/>
                <a:gd name="connsiteY4" fmla="*/ 1930563 h 5069530"/>
                <a:gd name="connsiteX5" fmla="*/ 1333506 w 2369937"/>
                <a:gd name="connsiteY5" fmla="*/ 527162 h 5069530"/>
                <a:gd name="connsiteX6" fmla="*/ 1546422 w 2369937"/>
                <a:gd name="connsiteY6" fmla="*/ 427411 h 5069530"/>
                <a:gd name="connsiteX7" fmla="*/ 1526361 w 2369937"/>
                <a:gd name="connsiteY7" fmla="*/ 312420 h 5069530"/>
                <a:gd name="connsiteX8" fmla="*/ 1722126 w 2369937"/>
                <a:gd name="connsiteY8" fmla="*/ 260462 h 5069530"/>
                <a:gd name="connsiteX9" fmla="*/ 1739499 w 2369937"/>
                <a:gd name="connsiteY9" fmla="*/ 361602 h 5069530"/>
                <a:gd name="connsiteX10" fmla="*/ 1866574 w 2369937"/>
                <a:gd name="connsiteY10" fmla="*/ 322811 h 5069530"/>
                <a:gd name="connsiteX11" fmla="*/ 1897053 w 2369937"/>
                <a:gd name="connsiteY11" fmla="*/ 273623 h 5069530"/>
                <a:gd name="connsiteX12" fmla="*/ 2132940 w 2369937"/>
                <a:gd name="connsiteY12" fmla="*/ 199502 h 5069530"/>
                <a:gd name="connsiteX13" fmla="*/ 2173395 w 2369937"/>
                <a:gd name="connsiteY13" fmla="*/ 232752 h 5069530"/>
                <a:gd name="connsiteX14" fmla="*/ 2369937 w 2369937"/>
                <a:gd name="connsiteY14" fmla="*/ 168331 h 5069530"/>
                <a:gd name="connsiteX15" fmla="*/ 2329149 w 2369937"/>
                <a:gd name="connsiteY15" fmla="*/ 0 h 5069530"/>
                <a:gd name="connsiteX16" fmla="*/ 1882146 w 2369937"/>
                <a:gd name="connsiteY16" fmla="*/ 961502 h 5069530"/>
                <a:gd name="connsiteX17" fmla="*/ 873226 w 2369937"/>
                <a:gd name="connsiteY17" fmla="*/ 1991751 h 5069530"/>
                <a:gd name="connsiteX18" fmla="*/ 571891 w 2369937"/>
                <a:gd name="connsiteY18" fmla="*/ 3344967 h 5069530"/>
                <a:gd name="connsiteX19" fmla="*/ 932548 w 2369937"/>
                <a:gd name="connsiteY19" fmla="*/ 4651647 h 5069530"/>
                <a:gd name="connsiteX20" fmla="*/ 523257 w 2369937"/>
                <a:gd name="connsiteY20" fmla="*/ 5069530 h 5069530"/>
                <a:gd name="connsiteX21" fmla="*/ 41560 w 2369937"/>
                <a:gd name="connsiteY21" fmla="*/ 3161675 h 5069530"/>
                <a:gd name="connsiteX0" fmla="*/ 41560 w 2369937"/>
                <a:gd name="connsiteY0" fmla="*/ 2993344 h 4901199"/>
                <a:gd name="connsiteX1" fmla="*/ 250907 w 2369937"/>
                <a:gd name="connsiteY1" fmla="*/ 2086095 h 4901199"/>
                <a:gd name="connsiteX2" fmla="*/ 218176 w 2369937"/>
                <a:gd name="connsiteY2" fmla="*/ 2043773 h 4901199"/>
                <a:gd name="connsiteX3" fmla="*/ 290433 w 2369937"/>
                <a:gd name="connsiteY3" fmla="*/ 1779277 h 4901199"/>
                <a:gd name="connsiteX4" fmla="*/ 326149 w 2369937"/>
                <a:gd name="connsiteY4" fmla="*/ 1762232 h 4901199"/>
                <a:gd name="connsiteX5" fmla="*/ 1333506 w 2369937"/>
                <a:gd name="connsiteY5" fmla="*/ 358831 h 4901199"/>
                <a:gd name="connsiteX6" fmla="*/ 1546422 w 2369937"/>
                <a:gd name="connsiteY6" fmla="*/ 259080 h 4901199"/>
                <a:gd name="connsiteX7" fmla="*/ 1526361 w 2369937"/>
                <a:gd name="connsiteY7" fmla="*/ 144089 h 4901199"/>
                <a:gd name="connsiteX8" fmla="*/ 1722126 w 2369937"/>
                <a:gd name="connsiteY8" fmla="*/ 92131 h 4901199"/>
                <a:gd name="connsiteX9" fmla="*/ 1739499 w 2369937"/>
                <a:gd name="connsiteY9" fmla="*/ 193271 h 4901199"/>
                <a:gd name="connsiteX10" fmla="*/ 1866574 w 2369937"/>
                <a:gd name="connsiteY10" fmla="*/ 154480 h 4901199"/>
                <a:gd name="connsiteX11" fmla="*/ 1897053 w 2369937"/>
                <a:gd name="connsiteY11" fmla="*/ 105292 h 4901199"/>
                <a:gd name="connsiteX12" fmla="*/ 2132940 w 2369937"/>
                <a:gd name="connsiteY12" fmla="*/ 31171 h 4901199"/>
                <a:gd name="connsiteX13" fmla="*/ 2173395 w 2369937"/>
                <a:gd name="connsiteY13" fmla="*/ 64421 h 4901199"/>
                <a:gd name="connsiteX14" fmla="*/ 2369937 w 2369937"/>
                <a:gd name="connsiteY14" fmla="*/ 0 h 4901199"/>
                <a:gd name="connsiteX15" fmla="*/ 1882146 w 2369937"/>
                <a:gd name="connsiteY15" fmla="*/ 793171 h 4901199"/>
                <a:gd name="connsiteX16" fmla="*/ 873226 w 2369937"/>
                <a:gd name="connsiteY16" fmla="*/ 1823420 h 4901199"/>
                <a:gd name="connsiteX17" fmla="*/ 571891 w 2369937"/>
                <a:gd name="connsiteY17" fmla="*/ 3176636 h 4901199"/>
                <a:gd name="connsiteX18" fmla="*/ 932548 w 2369937"/>
                <a:gd name="connsiteY18" fmla="*/ 4483316 h 4901199"/>
                <a:gd name="connsiteX19" fmla="*/ 523257 w 2369937"/>
                <a:gd name="connsiteY19" fmla="*/ 4901199 h 4901199"/>
                <a:gd name="connsiteX20" fmla="*/ 41560 w 2369937"/>
                <a:gd name="connsiteY20" fmla="*/ 2993344 h 4901199"/>
                <a:gd name="connsiteX0" fmla="*/ 41560 w 2173395"/>
                <a:gd name="connsiteY0" fmla="*/ 2962173 h 4870028"/>
                <a:gd name="connsiteX1" fmla="*/ 250907 w 2173395"/>
                <a:gd name="connsiteY1" fmla="*/ 2054924 h 4870028"/>
                <a:gd name="connsiteX2" fmla="*/ 218176 w 2173395"/>
                <a:gd name="connsiteY2" fmla="*/ 2012602 h 4870028"/>
                <a:gd name="connsiteX3" fmla="*/ 290433 w 2173395"/>
                <a:gd name="connsiteY3" fmla="*/ 1748106 h 4870028"/>
                <a:gd name="connsiteX4" fmla="*/ 326149 w 2173395"/>
                <a:gd name="connsiteY4" fmla="*/ 1731061 h 4870028"/>
                <a:gd name="connsiteX5" fmla="*/ 1333506 w 2173395"/>
                <a:gd name="connsiteY5" fmla="*/ 327660 h 4870028"/>
                <a:gd name="connsiteX6" fmla="*/ 1546422 w 2173395"/>
                <a:gd name="connsiteY6" fmla="*/ 227909 h 4870028"/>
                <a:gd name="connsiteX7" fmla="*/ 1526361 w 2173395"/>
                <a:gd name="connsiteY7" fmla="*/ 112918 h 4870028"/>
                <a:gd name="connsiteX8" fmla="*/ 1722126 w 2173395"/>
                <a:gd name="connsiteY8" fmla="*/ 60960 h 4870028"/>
                <a:gd name="connsiteX9" fmla="*/ 1739499 w 2173395"/>
                <a:gd name="connsiteY9" fmla="*/ 162100 h 4870028"/>
                <a:gd name="connsiteX10" fmla="*/ 1866574 w 2173395"/>
                <a:gd name="connsiteY10" fmla="*/ 123309 h 4870028"/>
                <a:gd name="connsiteX11" fmla="*/ 1897053 w 2173395"/>
                <a:gd name="connsiteY11" fmla="*/ 74121 h 4870028"/>
                <a:gd name="connsiteX12" fmla="*/ 2132940 w 2173395"/>
                <a:gd name="connsiteY12" fmla="*/ 0 h 4870028"/>
                <a:gd name="connsiteX13" fmla="*/ 2173395 w 2173395"/>
                <a:gd name="connsiteY13" fmla="*/ 33250 h 4870028"/>
                <a:gd name="connsiteX14" fmla="*/ 1882146 w 2173395"/>
                <a:gd name="connsiteY14" fmla="*/ 762000 h 4870028"/>
                <a:gd name="connsiteX15" fmla="*/ 873226 w 2173395"/>
                <a:gd name="connsiteY15" fmla="*/ 1792249 h 4870028"/>
                <a:gd name="connsiteX16" fmla="*/ 571891 w 2173395"/>
                <a:gd name="connsiteY16" fmla="*/ 3145465 h 4870028"/>
                <a:gd name="connsiteX17" fmla="*/ 932548 w 2173395"/>
                <a:gd name="connsiteY17" fmla="*/ 4452145 h 4870028"/>
                <a:gd name="connsiteX18" fmla="*/ 523257 w 2173395"/>
                <a:gd name="connsiteY18" fmla="*/ 4870028 h 4870028"/>
                <a:gd name="connsiteX19" fmla="*/ 41560 w 2173395"/>
                <a:gd name="connsiteY19" fmla="*/ 2962173 h 4870028"/>
                <a:gd name="connsiteX0" fmla="*/ 41560 w 2132940"/>
                <a:gd name="connsiteY0" fmla="*/ 2962173 h 4870028"/>
                <a:gd name="connsiteX1" fmla="*/ 250907 w 2132940"/>
                <a:gd name="connsiteY1" fmla="*/ 2054924 h 4870028"/>
                <a:gd name="connsiteX2" fmla="*/ 218176 w 2132940"/>
                <a:gd name="connsiteY2" fmla="*/ 2012602 h 4870028"/>
                <a:gd name="connsiteX3" fmla="*/ 290433 w 2132940"/>
                <a:gd name="connsiteY3" fmla="*/ 1748106 h 4870028"/>
                <a:gd name="connsiteX4" fmla="*/ 326149 w 2132940"/>
                <a:gd name="connsiteY4" fmla="*/ 1731061 h 4870028"/>
                <a:gd name="connsiteX5" fmla="*/ 1333506 w 2132940"/>
                <a:gd name="connsiteY5" fmla="*/ 327660 h 4870028"/>
                <a:gd name="connsiteX6" fmla="*/ 1546422 w 2132940"/>
                <a:gd name="connsiteY6" fmla="*/ 227909 h 4870028"/>
                <a:gd name="connsiteX7" fmla="*/ 1526361 w 2132940"/>
                <a:gd name="connsiteY7" fmla="*/ 112918 h 4870028"/>
                <a:gd name="connsiteX8" fmla="*/ 1722126 w 2132940"/>
                <a:gd name="connsiteY8" fmla="*/ 60960 h 4870028"/>
                <a:gd name="connsiteX9" fmla="*/ 1739499 w 2132940"/>
                <a:gd name="connsiteY9" fmla="*/ 162100 h 4870028"/>
                <a:gd name="connsiteX10" fmla="*/ 1866574 w 2132940"/>
                <a:gd name="connsiteY10" fmla="*/ 123309 h 4870028"/>
                <a:gd name="connsiteX11" fmla="*/ 1897053 w 2132940"/>
                <a:gd name="connsiteY11" fmla="*/ 74121 h 4870028"/>
                <a:gd name="connsiteX12" fmla="*/ 2132940 w 2132940"/>
                <a:gd name="connsiteY12" fmla="*/ 0 h 4870028"/>
                <a:gd name="connsiteX13" fmla="*/ 1882146 w 2132940"/>
                <a:gd name="connsiteY13" fmla="*/ 762000 h 4870028"/>
                <a:gd name="connsiteX14" fmla="*/ 873226 w 2132940"/>
                <a:gd name="connsiteY14" fmla="*/ 1792249 h 4870028"/>
                <a:gd name="connsiteX15" fmla="*/ 571891 w 2132940"/>
                <a:gd name="connsiteY15" fmla="*/ 3145465 h 4870028"/>
                <a:gd name="connsiteX16" fmla="*/ 932548 w 2132940"/>
                <a:gd name="connsiteY16" fmla="*/ 4452145 h 4870028"/>
                <a:gd name="connsiteX17" fmla="*/ 523257 w 2132940"/>
                <a:gd name="connsiteY17" fmla="*/ 4870028 h 4870028"/>
                <a:gd name="connsiteX18" fmla="*/ 41560 w 2132940"/>
                <a:gd name="connsiteY18" fmla="*/ 2962173 h 4870028"/>
                <a:gd name="connsiteX0" fmla="*/ 41560 w 1897053"/>
                <a:gd name="connsiteY0" fmla="*/ 2901213 h 4809068"/>
                <a:gd name="connsiteX1" fmla="*/ 250907 w 1897053"/>
                <a:gd name="connsiteY1" fmla="*/ 1993964 h 4809068"/>
                <a:gd name="connsiteX2" fmla="*/ 218176 w 1897053"/>
                <a:gd name="connsiteY2" fmla="*/ 1951642 h 4809068"/>
                <a:gd name="connsiteX3" fmla="*/ 290433 w 1897053"/>
                <a:gd name="connsiteY3" fmla="*/ 1687146 h 4809068"/>
                <a:gd name="connsiteX4" fmla="*/ 326149 w 1897053"/>
                <a:gd name="connsiteY4" fmla="*/ 1670101 h 4809068"/>
                <a:gd name="connsiteX5" fmla="*/ 1333506 w 1897053"/>
                <a:gd name="connsiteY5" fmla="*/ 266700 h 4809068"/>
                <a:gd name="connsiteX6" fmla="*/ 1546422 w 1897053"/>
                <a:gd name="connsiteY6" fmla="*/ 166949 h 4809068"/>
                <a:gd name="connsiteX7" fmla="*/ 1526361 w 1897053"/>
                <a:gd name="connsiteY7" fmla="*/ 51958 h 4809068"/>
                <a:gd name="connsiteX8" fmla="*/ 1722126 w 1897053"/>
                <a:gd name="connsiteY8" fmla="*/ 0 h 4809068"/>
                <a:gd name="connsiteX9" fmla="*/ 1739499 w 1897053"/>
                <a:gd name="connsiteY9" fmla="*/ 101140 h 4809068"/>
                <a:gd name="connsiteX10" fmla="*/ 1866574 w 1897053"/>
                <a:gd name="connsiteY10" fmla="*/ 62349 h 4809068"/>
                <a:gd name="connsiteX11" fmla="*/ 1897053 w 1897053"/>
                <a:gd name="connsiteY11" fmla="*/ 13161 h 4809068"/>
                <a:gd name="connsiteX12" fmla="*/ 1882146 w 1897053"/>
                <a:gd name="connsiteY12" fmla="*/ 701040 h 4809068"/>
                <a:gd name="connsiteX13" fmla="*/ 873226 w 1897053"/>
                <a:gd name="connsiteY13" fmla="*/ 1731289 h 4809068"/>
                <a:gd name="connsiteX14" fmla="*/ 571891 w 1897053"/>
                <a:gd name="connsiteY14" fmla="*/ 3084505 h 4809068"/>
                <a:gd name="connsiteX15" fmla="*/ 932548 w 1897053"/>
                <a:gd name="connsiteY15" fmla="*/ 4391185 h 4809068"/>
                <a:gd name="connsiteX16" fmla="*/ 523257 w 1897053"/>
                <a:gd name="connsiteY16" fmla="*/ 4809068 h 4809068"/>
                <a:gd name="connsiteX17" fmla="*/ 41560 w 1897053"/>
                <a:gd name="connsiteY17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739499 w 1882146"/>
                <a:gd name="connsiteY9" fmla="*/ 101140 h 4809068"/>
                <a:gd name="connsiteX10" fmla="*/ 1866574 w 1882146"/>
                <a:gd name="connsiteY10" fmla="*/ 62349 h 4809068"/>
                <a:gd name="connsiteX11" fmla="*/ 1882146 w 1882146"/>
                <a:gd name="connsiteY11" fmla="*/ 701040 h 4809068"/>
                <a:gd name="connsiteX12" fmla="*/ 873226 w 1882146"/>
                <a:gd name="connsiteY12" fmla="*/ 1731289 h 4809068"/>
                <a:gd name="connsiteX13" fmla="*/ 571891 w 1882146"/>
                <a:gd name="connsiteY13" fmla="*/ 3084505 h 4809068"/>
                <a:gd name="connsiteX14" fmla="*/ 932548 w 1882146"/>
                <a:gd name="connsiteY14" fmla="*/ 4391185 h 4809068"/>
                <a:gd name="connsiteX15" fmla="*/ 523257 w 1882146"/>
                <a:gd name="connsiteY15" fmla="*/ 4809068 h 4809068"/>
                <a:gd name="connsiteX16" fmla="*/ 41560 w 1882146"/>
                <a:gd name="connsiteY16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739499 w 1882146"/>
                <a:gd name="connsiteY9" fmla="*/ 101140 h 4809068"/>
                <a:gd name="connsiteX10" fmla="*/ 1882146 w 1882146"/>
                <a:gd name="connsiteY10" fmla="*/ 701040 h 4809068"/>
                <a:gd name="connsiteX11" fmla="*/ 873226 w 1882146"/>
                <a:gd name="connsiteY11" fmla="*/ 1731289 h 4809068"/>
                <a:gd name="connsiteX12" fmla="*/ 571891 w 1882146"/>
                <a:gd name="connsiteY12" fmla="*/ 3084505 h 4809068"/>
                <a:gd name="connsiteX13" fmla="*/ 932548 w 1882146"/>
                <a:gd name="connsiteY13" fmla="*/ 4391185 h 4809068"/>
                <a:gd name="connsiteX14" fmla="*/ 523257 w 1882146"/>
                <a:gd name="connsiteY14" fmla="*/ 4809068 h 4809068"/>
                <a:gd name="connsiteX15" fmla="*/ 41560 w 1882146"/>
                <a:gd name="connsiteY15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882146 w 1882146"/>
                <a:gd name="connsiteY9" fmla="*/ 701040 h 4809068"/>
                <a:gd name="connsiteX10" fmla="*/ 873226 w 1882146"/>
                <a:gd name="connsiteY10" fmla="*/ 1731289 h 4809068"/>
                <a:gd name="connsiteX11" fmla="*/ 571891 w 1882146"/>
                <a:gd name="connsiteY11" fmla="*/ 3084505 h 4809068"/>
                <a:gd name="connsiteX12" fmla="*/ 932548 w 1882146"/>
                <a:gd name="connsiteY12" fmla="*/ 4391185 h 4809068"/>
                <a:gd name="connsiteX13" fmla="*/ 523257 w 1882146"/>
                <a:gd name="connsiteY13" fmla="*/ 4809068 h 4809068"/>
                <a:gd name="connsiteX14" fmla="*/ 41560 w 1882146"/>
                <a:gd name="connsiteY14" fmla="*/ 2901213 h 4809068"/>
                <a:gd name="connsiteX0" fmla="*/ 41560 w 1882146"/>
                <a:gd name="connsiteY0" fmla="*/ 2849255 h 4757110"/>
                <a:gd name="connsiteX1" fmla="*/ 250907 w 1882146"/>
                <a:gd name="connsiteY1" fmla="*/ 1942006 h 4757110"/>
                <a:gd name="connsiteX2" fmla="*/ 218176 w 1882146"/>
                <a:gd name="connsiteY2" fmla="*/ 1899684 h 4757110"/>
                <a:gd name="connsiteX3" fmla="*/ 290433 w 1882146"/>
                <a:gd name="connsiteY3" fmla="*/ 1635188 h 4757110"/>
                <a:gd name="connsiteX4" fmla="*/ 326149 w 1882146"/>
                <a:gd name="connsiteY4" fmla="*/ 1618143 h 4757110"/>
                <a:gd name="connsiteX5" fmla="*/ 1333506 w 1882146"/>
                <a:gd name="connsiteY5" fmla="*/ 214742 h 4757110"/>
                <a:gd name="connsiteX6" fmla="*/ 1546422 w 1882146"/>
                <a:gd name="connsiteY6" fmla="*/ 114991 h 4757110"/>
                <a:gd name="connsiteX7" fmla="*/ 1526361 w 1882146"/>
                <a:gd name="connsiteY7" fmla="*/ 0 h 4757110"/>
                <a:gd name="connsiteX8" fmla="*/ 1882146 w 1882146"/>
                <a:gd name="connsiteY8" fmla="*/ 649082 h 4757110"/>
                <a:gd name="connsiteX9" fmla="*/ 873226 w 1882146"/>
                <a:gd name="connsiteY9" fmla="*/ 1679331 h 4757110"/>
                <a:gd name="connsiteX10" fmla="*/ 571891 w 1882146"/>
                <a:gd name="connsiteY10" fmla="*/ 3032547 h 4757110"/>
                <a:gd name="connsiteX11" fmla="*/ 932548 w 1882146"/>
                <a:gd name="connsiteY11" fmla="*/ 4339227 h 4757110"/>
                <a:gd name="connsiteX12" fmla="*/ 523257 w 1882146"/>
                <a:gd name="connsiteY12" fmla="*/ 4757110 h 4757110"/>
                <a:gd name="connsiteX13" fmla="*/ 41560 w 1882146"/>
                <a:gd name="connsiteY13" fmla="*/ 2849255 h 4757110"/>
                <a:gd name="connsiteX0" fmla="*/ 41560 w 1882146"/>
                <a:gd name="connsiteY0" fmla="*/ 2734264 h 4642119"/>
                <a:gd name="connsiteX1" fmla="*/ 250907 w 1882146"/>
                <a:gd name="connsiteY1" fmla="*/ 1827015 h 4642119"/>
                <a:gd name="connsiteX2" fmla="*/ 218176 w 1882146"/>
                <a:gd name="connsiteY2" fmla="*/ 1784693 h 4642119"/>
                <a:gd name="connsiteX3" fmla="*/ 290433 w 1882146"/>
                <a:gd name="connsiteY3" fmla="*/ 1520197 h 4642119"/>
                <a:gd name="connsiteX4" fmla="*/ 326149 w 1882146"/>
                <a:gd name="connsiteY4" fmla="*/ 1503152 h 4642119"/>
                <a:gd name="connsiteX5" fmla="*/ 1333506 w 1882146"/>
                <a:gd name="connsiteY5" fmla="*/ 99751 h 4642119"/>
                <a:gd name="connsiteX6" fmla="*/ 1546422 w 1882146"/>
                <a:gd name="connsiteY6" fmla="*/ 0 h 4642119"/>
                <a:gd name="connsiteX7" fmla="*/ 1882146 w 1882146"/>
                <a:gd name="connsiteY7" fmla="*/ 534091 h 4642119"/>
                <a:gd name="connsiteX8" fmla="*/ 873226 w 1882146"/>
                <a:gd name="connsiteY8" fmla="*/ 1564340 h 4642119"/>
                <a:gd name="connsiteX9" fmla="*/ 571891 w 1882146"/>
                <a:gd name="connsiteY9" fmla="*/ 2917556 h 4642119"/>
                <a:gd name="connsiteX10" fmla="*/ 932548 w 1882146"/>
                <a:gd name="connsiteY10" fmla="*/ 4224236 h 4642119"/>
                <a:gd name="connsiteX11" fmla="*/ 523257 w 1882146"/>
                <a:gd name="connsiteY11" fmla="*/ 4642119 h 4642119"/>
                <a:gd name="connsiteX12" fmla="*/ 41560 w 1882146"/>
                <a:gd name="connsiteY12" fmla="*/ 2734264 h 4642119"/>
                <a:gd name="connsiteX0" fmla="*/ 41560 w 1882146"/>
                <a:gd name="connsiteY0" fmla="*/ 2634513 h 4542368"/>
                <a:gd name="connsiteX1" fmla="*/ 250907 w 1882146"/>
                <a:gd name="connsiteY1" fmla="*/ 1727264 h 4542368"/>
                <a:gd name="connsiteX2" fmla="*/ 218176 w 1882146"/>
                <a:gd name="connsiteY2" fmla="*/ 1684942 h 4542368"/>
                <a:gd name="connsiteX3" fmla="*/ 290433 w 1882146"/>
                <a:gd name="connsiteY3" fmla="*/ 1420446 h 4542368"/>
                <a:gd name="connsiteX4" fmla="*/ 326149 w 1882146"/>
                <a:gd name="connsiteY4" fmla="*/ 1403401 h 4542368"/>
                <a:gd name="connsiteX5" fmla="*/ 1333506 w 1882146"/>
                <a:gd name="connsiteY5" fmla="*/ 0 h 4542368"/>
                <a:gd name="connsiteX6" fmla="*/ 1882146 w 1882146"/>
                <a:gd name="connsiteY6" fmla="*/ 434340 h 4542368"/>
                <a:gd name="connsiteX7" fmla="*/ 873226 w 1882146"/>
                <a:gd name="connsiteY7" fmla="*/ 1464589 h 4542368"/>
                <a:gd name="connsiteX8" fmla="*/ 571891 w 1882146"/>
                <a:gd name="connsiteY8" fmla="*/ 2817805 h 4542368"/>
                <a:gd name="connsiteX9" fmla="*/ 932548 w 1882146"/>
                <a:gd name="connsiteY9" fmla="*/ 4124485 h 4542368"/>
                <a:gd name="connsiteX10" fmla="*/ 523257 w 1882146"/>
                <a:gd name="connsiteY10" fmla="*/ 4542368 h 4542368"/>
                <a:gd name="connsiteX11" fmla="*/ 41560 w 1882146"/>
                <a:gd name="connsiteY11" fmla="*/ 2634513 h 4542368"/>
                <a:gd name="connsiteX0" fmla="*/ 41560 w 1333506"/>
                <a:gd name="connsiteY0" fmla="*/ 2634513 h 4542368"/>
                <a:gd name="connsiteX1" fmla="*/ 250907 w 1333506"/>
                <a:gd name="connsiteY1" fmla="*/ 1727264 h 4542368"/>
                <a:gd name="connsiteX2" fmla="*/ 218176 w 1333506"/>
                <a:gd name="connsiteY2" fmla="*/ 1684942 h 4542368"/>
                <a:gd name="connsiteX3" fmla="*/ 290433 w 1333506"/>
                <a:gd name="connsiteY3" fmla="*/ 1420446 h 4542368"/>
                <a:gd name="connsiteX4" fmla="*/ 326149 w 1333506"/>
                <a:gd name="connsiteY4" fmla="*/ 1403401 h 4542368"/>
                <a:gd name="connsiteX5" fmla="*/ 1333506 w 1333506"/>
                <a:gd name="connsiteY5" fmla="*/ 0 h 4542368"/>
                <a:gd name="connsiteX6" fmla="*/ 873226 w 1333506"/>
                <a:gd name="connsiteY6" fmla="*/ 1464589 h 4542368"/>
                <a:gd name="connsiteX7" fmla="*/ 571891 w 1333506"/>
                <a:gd name="connsiteY7" fmla="*/ 2817805 h 4542368"/>
                <a:gd name="connsiteX8" fmla="*/ 932548 w 1333506"/>
                <a:gd name="connsiteY8" fmla="*/ 4124485 h 4542368"/>
                <a:gd name="connsiteX9" fmla="*/ 523257 w 1333506"/>
                <a:gd name="connsiteY9" fmla="*/ 4542368 h 4542368"/>
                <a:gd name="connsiteX10" fmla="*/ 41560 w 1333506"/>
                <a:gd name="connsiteY10" fmla="*/ 2634513 h 4542368"/>
                <a:gd name="connsiteX0" fmla="*/ 41560 w 932548"/>
                <a:gd name="connsiteY0" fmla="*/ 1291189 h 3199044"/>
                <a:gd name="connsiteX1" fmla="*/ 250907 w 932548"/>
                <a:gd name="connsiteY1" fmla="*/ 383940 h 3199044"/>
                <a:gd name="connsiteX2" fmla="*/ 218176 w 932548"/>
                <a:gd name="connsiteY2" fmla="*/ 341618 h 3199044"/>
                <a:gd name="connsiteX3" fmla="*/ 290433 w 932548"/>
                <a:gd name="connsiteY3" fmla="*/ 77122 h 3199044"/>
                <a:gd name="connsiteX4" fmla="*/ 326149 w 932548"/>
                <a:gd name="connsiteY4" fmla="*/ 60077 h 3199044"/>
                <a:gd name="connsiteX5" fmla="*/ 873226 w 932548"/>
                <a:gd name="connsiteY5" fmla="*/ 121265 h 3199044"/>
                <a:gd name="connsiteX6" fmla="*/ 571891 w 932548"/>
                <a:gd name="connsiteY6" fmla="*/ 1474481 h 3199044"/>
                <a:gd name="connsiteX7" fmla="*/ 932548 w 932548"/>
                <a:gd name="connsiteY7" fmla="*/ 2781161 h 3199044"/>
                <a:gd name="connsiteX8" fmla="*/ 523257 w 932548"/>
                <a:gd name="connsiteY8" fmla="*/ 3199044 h 3199044"/>
                <a:gd name="connsiteX9" fmla="*/ 41560 w 932548"/>
                <a:gd name="connsiteY9" fmla="*/ 1291189 h 3199044"/>
                <a:gd name="connsiteX0" fmla="*/ 41560 w 932548"/>
                <a:gd name="connsiteY0" fmla="*/ 1254445 h 3162300"/>
                <a:gd name="connsiteX1" fmla="*/ 250907 w 932548"/>
                <a:gd name="connsiteY1" fmla="*/ 347196 h 3162300"/>
                <a:gd name="connsiteX2" fmla="*/ 218176 w 932548"/>
                <a:gd name="connsiteY2" fmla="*/ 304874 h 3162300"/>
                <a:gd name="connsiteX3" fmla="*/ 290433 w 932548"/>
                <a:gd name="connsiteY3" fmla="*/ 40378 h 3162300"/>
                <a:gd name="connsiteX4" fmla="*/ 326149 w 932548"/>
                <a:gd name="connsiteY4" fmla="*/ 23333 h 3162300"/>
                <a:gd name="connsiteX5" fmla="*/ 856831 w 932548"/>
                <a:gd name="connsiteY5" fmla="*/ 147982 h 3162300"/>
                <a:gd name="connsiteX6" fmla="*/ 571891 w 932548"/>
                <a:gd name="connsiteY6" fmla="*/ 1437737 h 3162300"/>
                <a:gd name="connsiteX7" fmla="*/ 932548 w 932548"/>
                <a:gd name="connsiteY7" fmla="*/ 2744417 h 3162300"/>
                <a:gd name="connsiteX8" fmla="*/ 523257 w 932548"/>
                <a:gd name="connsiteY8" fmla="*/ 3162300 h 3162300"/>
                <a:gd name="connsiteX9" fmla="*/ 41560 w 932548"/>
                <a:gd name="connsiteY9" fmla="*/ 1254445 h 3162300"/>
                <a:gd name="connsiteX0" fmla="*/ 41560 w 932548"/>
                <a:gd name="connsiteY0" fmla="*/ 1231112 h 3138967"/>
                <a:gd name="connsiteX1" fmla="*/ 250907 w 932548"/>
                <a:gd name="connsiteY1" fmla="*/ 323863 h 3138967"/>
                <a:gd name="connsiteX2" fmla="*/ 218176 w 932548"/>
                <a:gd name="connsiteY2" fmla="*/ 281541 h 3138967"/>
                <a:gd name="connsiteX3" fmla="*/ 290433 w 932548"/>
                <a:gd name="connsiteY3" fmla="*/ 17045 h 3138967"/>
                <a:gd name="connsiteX4" fmla="*/ 326149 w 932548"/>
                <a:gd name="connsiteY4" fmla="*/ 0 h 3138967"/>
                <a:gd name="connsiteX5" fmla="*/ 856831 w 932548"/>
                <a:gd name="connsiteY5" fmla="*/ 124649 h 3138967"/>
                <a:gd name="connsiteX6" fmla="*/ 571891 w 932548"/>
                <a:gd name="connsiteY6" fmla="*/ 1414404 h 3138967"/>
                <a:gd name="connsiteX7" fmla="*/ 932548 w 932548"/>
                <a:gd name="connsiteY7" fmla="*/ 2721084 h 3138967"/>
                <a:gd name="connsiteX8" fmla="*/ 523257 w 932548"/>
                <a:gd name="connsiteY8" fmla="*/ 3138967 h 3138967"/>
                <a:gd name="connsiteX9" fmla="*/ 41560 w 932548"/>
                <a:gd name="connsiteY9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856831 w 932548"/>
                <a:gd name="connsiteY6" fmla="*/ 124649 h 3138967"/>
                <a:gd name="connsiteX7" fmla="*/ 571891 w 932548"/>
                <a:gd name="connsiteY7" fmla="*/ 1414404 h 3138967"/>
                <a:gd name="connsiteX8" fmla="*/ 932548 w 932548"/>
                <a:gd name="connsiteY8" fmla="*/ 2721084 h 3138967"/>
                <a:gd name="connsiteX9" fmla="*/ 523257 w 932548"/>
                <a:gd name="connsiteY9" fmla="*/ 3138967 h 3138967"/>
                <a:gd name="connsiteX10" fmla="*/ 41560 w 932548"/>
                <a:gd name="connsiteY10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856831 w 932548"/>
                <a:gd name="connsiteY6" fmla="*/ 124649 h 3138967"/>
                <a:gd name="connsiteX7" fmla="*/ 741247 w 932548"/>
                <a:gd name="connsiteY7" fmla="*/ 621542 h 3138967"/>
                <a:gd name="connsiteX8" fmla="*/ 571891 w 932548"/>
                <a:gd name="connsiteY8" fmla="*/ 1414404 h 3138967"/>
                <a:gd name="connsiteX9" fmla="*/ 932548 w 932548"/>
                <a:gd name="connsiteY9" fmla="*/ 2721084 h 3138967"/>
                <a:gd name="connsiteX10" fmla="*/ 523257 w 932548"/>
                <a:gd name="connsiteY10" fmla="*/ 3138967 h 3138967"/>
                <a:gd name="connsiteX11" fmla="*/ 41560 w 932548"/>
                <a:gd name="connsiteY11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741247 w 932548"/>
                <a:gd name="connsiteY6" fmla="*/ 621542 h 3138967"/>
                <a:gd name="connsiteX7" fmla="*/ 571891 w 932548"/>
                <a:gd name="connsiteY7" fmla="*/ 1414404 h 3138967"/>
                <a:gd name="connsiteX8" fmla="*/ 932548 w 932548"/>
                <a:gd name="connsiteY8" fmla="*/ 2721084 h 3138967"/>
                <a:gd name="connsiteX9" fmla="*/ 523257 w 932548"/>
                <a:gd name="connsiteY9" fmla="*/ 3138967 h 3138967"/>
                <a:gd name="connsiteX10" fmla="*/ 41560 w 932548"/>
                <a:gd name="connsiteY10" fmla="*/ 1231112 h 3138967"/>
                <a:gd name="connsiteX0" fmla="*/ 41560 w 932548"/>
                <a:gd name="connsiteY0" fmla="*/ 1214067 h 3121922"/>
                <a:gd name="connsiteX1" fmla="*/ 208393 w 932548"/>
                <a:gd name="connsiteY1" fmla="*/ 504773 h 3121922"/>
                <a:gd name="connsiteX2" fmla="*/ 250907 w 932548"/>
                <a:gd name="connsiteY2" fmla="*/ 306818 h 3121922"/>
                <a:gd name="connsiteX3" fmla="*/ 218176 w 932548"/>
                <a:gd name="connsiteY3" fmla="*/ 264496 h 3121922"/>
                <a:gd name="connsiteX4" fmla="*/ 290433 w 932548"/>
                <a:gd name="connsiteY4" fmla="*/ 0 h 3121922"/>
                <a:gd name="connsiteX5" fmla="*/ 741247 w 932548"/>
                <a:gd name="connsiteY5" fmla="*/ 604497 h 3121922"/>
                <a:gd name="connsiteX6" fmla="*/ 571891 w 932548"/>
                <a:gd name="connsiteY6" fmla="*/ 1397359 h 3121922"/>
                <a:gd name="connsiteX7" fmla="*/ 932548 w 932548"/>
                <a:gd name="connsiteY7" fmla="*/ 2704039 h 3121922"/>
                <a:gd name="connsiteX8" fmla="*/ 523257 w 932548"/>
                <a:gd name="connsiteY8" fmla="*/ 3121922 h 3121922"/>
                <a:gd name="connsiteX9" fmla="*/ 41560 w 932548"/>
                <a:gd name="connsiteY9" fmla="*/ 1214067 h 3121922"/>
                <a:gd name="connsiteX0" fmla="*/ 41560 w 932548"/>
                <a:gd name="connsiteY0" fmla="*/ 949571 h 2857426"/>
                <a:gd name="connsiteX1" fmla="*/ 208393 w 932548"/>
                <a:gd name="connsiteY1" fmla="*/ 240277 h 2857426"/>
                <a:gd name="connsiteX2" fmla="*/ 250907 w 932548"/>
                <a:gd name="connsiteY2" fmla="*/ 42322 h 2857426"/>
                <a:gd name="connsiteX3" fmla="*/ 218176 w 932548"/>
                <a:gd name="connsiteY3" fmla="*/ 0 h 2857426"/>
                <a:gd name="connsiteX4" fmla="*/ 741247 w 932548"/>
                <a:gd name="connsiteY4" fmla="*/ 340001 h 2857426"/>
                <a:gd name="connsiteX5" fmla="*/ 571891 w 932548"/>
                <a:gd name="connsiteY5" fmla="*/ 1132863 h 2857426"/>
                <a:gd name="connsiteX6" fmla="*/ 932548 w 932548"/>
                <a:gd name="connsiteY6" fmla="*/ 2439543 h 2857426"/>
                <a:gd name="connsiteX7" fmla="*/ 523257 w 932548"/>
                <a:gd name="connsiteY7" fmla="*/ 2857426 h 2857426"/>
                <a:gd name="connsiteX8" fmla="*/ 41560 w 932548"/>
                <a:gd name="connsiteY8" fmla="*/ 949571 h 2857426"/>
                <a:gd name="connsiteX0" fmla="*/ 41560 w 932548"/>
                <a:gd name="connsiteY0" fmla="*/ 907249 h 2815104"/>
                <a:gd name="connsiteX1" fmla="*/ 208393 w 932548"/>
                <a:gd name="connsiteY1" fmla="*/ 197955 h 2815104"/>
                <a:gd name="connsiteX2" fmla="*/ 250907 w 932548"/>
                <a:gd name="connsiteY2" fmla="*/ 0 h 2815104"/>
                <a:gd name="connsiteX3" fmla="*/ 741247 w 932548"/>
                <a:gd name="connsiteY3" fmla="*/ 297679 h 2815104"/>
                <a:gd name="connsiteX4" fmla="*/ 571891 w 932548"/>
                <a:gd name="connsiteY4" fmla="*/ 1090541 h 2815104"/>
                <a:gd name="connsiteX5" fmla="*/ 932548 w 932548"/>
                <a:gd name="connsiteY5" fmla="*/ 2397221 h 2815104"/>
                <a:gd name="connsiteX6" fmla="*/ 523257 w 932548"/>
                <a:gd name="connsiteY6" fmla="*/ 2815104 h 2815104"/>
                <a:gd name="connsiteX7" fmla="*/ 41560 w 932548"/>
                <a:gd name="connsiteY7" fmla="*/ 907249 h 2815104"/>
                <a:gd name="connsiteX0" fmla="*/ 41560 w 932548"/>
                <a:gd name="connsiteY0" fmla="*/ 709294 h 2617149"/>
                <a:gd name="connsiteX1" fmla="*/ 208393 w 932548"/>
                <a:gd name="connsiteY1" fmla="*/ 0 h 2617149"/>
                <a:gd name="connsiteX2" fmla="*/ 741247 w 932548"/>
                <a:gd name="connsiteY2" fmla="*/ 99724 h 2617149"/>
                <a:gd name="connsiteX3" fmla="*/ 571891 w 932548"/>
                <a:gd name="connsiteY3" fmla="*/ 892586 h 2617149"/>
                <a:gd name="connsiteX4" fmla="*/ 932548 w 932548"/>
                <a:gd name="connsiteY4" fmla="*/ 2199266 h 2617149"/>
                <a:gd name="connsiteX5" fmla="*/ 523257 w 932548"/>
                <a:gd name="connsiteY5" fmla="*/ 2617149 h 2617149"/>
                <a:gd name="connsiteX6" fmla="*/ 41560 w 932548"/>
                <a:gd name="connsiteY6" fmla="*/ 709294 h 2617149"/>
                <a:gd name="connsiteX0" fmla="*/ 41560 w 932548"/>
                <a:gd name="connsiteY0" fmla="*/ 709294 h 2617149"/>
                <a:gd name="connsiteX1" fmla="*/ 208393 w 932548"/>
                <a:gd name="connsiteY1" fmla="*/ 0 h 2617149"/>
                <a:gd name="connsiteX2" fmla="*/ 593687 w 932548"/>
                <a:gd name="connsiteY2" fmla="*/ 761526 h 2617149"/>
                <a:gd name="connsiteX3" fmla="*/ 571891 w 932548"/>
                <a:gd name="connsiteY3" fmla="*/ 892586 h 2617149"/>
                <a:gd name="connsiteX4" fmla="*/ 932548 w 932548"/>
                <a:gd name="connsiteY4" fmla="*/ 2199266 h 2617149"/>
                <a:gd name="connsiteX5" fmla="*/ 523257 w 932548"/>
                <a:gd name="connsiteY5" fmla="*/ 2617149 h 2617149"/>
                <a:gd name="connsiteX6" fmla="*/ 41560 w 932548"/>
                <a:gd name="connsiteY6" fmla="*/ 709294 h 2617149"/>
                <a:gd name="connsiteX0" fmla="*/ 41560 w 932548"/>
                <a:gd name="connsiteY0" fmla="*/ 101887 h 2009742"/>
                <a:gd name="connsiteX1" fmla="*/ 85427 w 932548"/>
                <a:gd name="connsiteY1" fmla="*/ 0 h 2009742"/>
                <a:gd name="connsiteX2" fmla="*/ 593687 w 932548"/>
                <a:gd name="connsiteY2" fmla="*/ 154119 h 2009742"/>
                <a:gd name="connsiteX3" fmla="*/ 571891 w 932548"/>
                <a:gd name="connsiteY3" fmla="*/ 285179 h 2009742"/>
                <a:gd name="connsiteX4" fmla="*/ 932548 w 932548"/>
                <a:gd name="connsiteY4" fmla="*/ 1591859 h 2009742"/>
                <a:gd name="connsiteX5" fmla="*/ 523257 w 932548"/>
                <a:gd name="connsiteY5" fmla="*/ 2009742 h 2009742"/>
                <a:gd name="connsiteX6" fmla="*/ 41560 w 932548"/>
                <a:gd name="connsiteY6" fmla="*/ 101887 h 2009742"/>
                <a:gd name="connsiteX0" fmla="*/ 41560 w 932548"/>
                <a:gd name="connsiteY0" fmla="*/ 83755 h 1991610"/>
                <a:gd name="connsiteX1" fmla="*/ 60833 w 932548"/>
                <a:gd name="connsiteY1" fmla="*/ 0 h 1991610"/>
                <a:gd name="connsiteX2" fmla="*/ 593687 w 932548"/>
                <a:gd name="connsiteY2" fmla="*/ 135987 h 1991610"/>
                <a:gd name="connsiteX3" fmla="*/ 571891 w 932548"/>
                <a:gd name="connsiteY3" fmla="*/ 267047 h 1991610"/>
                <a:gd name="connsiteX4" fmla="*/ 932548 w 932548"/>
                <a:gd name="connsiteY4" fmla="*/ 1573727 h 1991610"/>
                <a:gd name="connsiteX5" fmla="*/ 523257 w 932548"/>
                <a:gd name="connsiteY5" fmla="*/ 1991610 h 1991610"/>
                <a:gd name="connsiteX6" fmla="*/ 41560 w 932548"/>
                <a:gd name="connsiteY6" fmla="*/ 83755 h 1991610"/>
                <a:gd name="connsiteX0" fmla="*/ 41560 w 932548"/>
                <a:gd name="connsiteY0" fmla="*/ 83755 h 1991610"/>
                <a:gd name="connsiteX1" fmla="*/ 60833 w 932548"/>
                <a:gd name="connsiteY1" fmla="*/ 0 h 1991610"/>
                <a:gd name="connsiteX2" fmla="*/ 610083 w 932548"/>
                <a:gd name="connsiteY2" fmla="*/ 99724 h 1991610"/>
                <a:gd name="connsiteX3" fmla="*/ 571891 w 932548"/>
                <a:gd name="connsiteY3" fmla="*/ 267047 h 1991610"/>
                <a:gd name="connsiteX4" fmla="*/ 932548 w 932548"/>
                <a:gd name="connsiteY4" fmla="*/ 1573727 h 1991610"/>
                <a:gd name="connsiteX5" fmla="*/ 523257 w 932548"/>
                <a:gd name="connsiteY5" fmla="*/ 1991610 h 1991610"/>
                <a:gd name="connsiteX6" fmla="*/ 41560 w 932548"/>
                <a:gd name="connsiteY6" fmla="*/ 83755 h 1991610"/>
                <a:gd name="connsiteX0" fmla="*/ 41560 w 899338"/>
                <a:gd name="connsiteY0" fmla="*/ 83755 h 1991610"/>
                <a:gd name="connsiteX1" fmla="*/ 60833 w 899338"/>
                <a:gd name="connsiteY1" fmla="*/ 0 h 1991610"/>
                <a:gd name="connsiteX2" fmla="*/ 610083 w 899338"/>
                <a:gd name="connsiteY2" fmla="*/ 99724 h 1991610"/>
                <a:gd name="connsiteX3" fmla="*/ 571891 w 899338"/>
                <a:gd name="connsiteY3" fmla="*/ 267047 h 1991610"/>
                <a:gd name="connsiteX4" fmla="*/ 899338 w 899338"/>
                <a:gd name="connsiteY4" fmla="*/ 1611424 h 1991610"/>
                <a:gd name="connsiteX5" fmla="*/ 523257 w 899338"/>
                <a:gd name="connsiteY5" fmla="*/ 1991610 h 1991610"/>
                <a:gd name="connsiteX6" fmla="*/ 41560 w 899338"/>
                <a:gd name="connsiteY6" fmla="*/ 83755 h 1991610"/>
                <a:gd name="connsiteX0" fmla="*/ 42693 w 900471"/>
                <a:gd name="connsiteY0" fmla="*/ 83755 h 2018536"/>
                <a:gd name="connsiteX1" fmla="*/ 61966 w 900471"/>
                <a:gd name="connsiteY1" fmla="*/ 0 h 2018536"/>
                <a:gd name="connsiteX2" fmla="*/ 611216 w 900471"/>
                <a:gd name="connsiteY2" fmla="*/ 99724 h 2018536"/>
                <a:gd name="connsiteX3" fmla="*/ 573024 w 900471"/>
                <a:gd name="connsiteY3" fmla="*/ 267047 h 2018536"/>
                <a:gd name="connsiteX4" fmla="*/ 900471 w 900471"/>
                <a:gd name="connsiteY4" fmla="*/ 1611424 h 2018536"/>
                <a:gd name="connsiteX5" fmla="*/ 510156 w 900471"/>
                <a:gd name="connsiteY5" fmla="*/ 2018536 h 2018536"/>
                <a:gd name="connsiteX6" fmla="*/ 42693 w 900471"/>
                <a:gd name="connsiteY6" fmla="*/ 83755 h 2018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471" h="2018536">
                  <a:moveTo>
                    <a:pt x="42693" y="83755"/>
                  </a:moveTo>
                  <a:lnTo>
                    <a:pt x="61966" y="0"/>
                  </a:lnTo>
                  <a:lnTo>
                    <a:pt x="611216" y="99724"/>
                  </a:lnTo>
                  <a:lnTo>
                    <a:pt x="573024" y="267047"/>
                  </a:lnTo>
                  <a:cubicBezTo>
                    <a:pt x="476528" y="669906"/>
                    <a:pt x="597580" y="1264389"/>
                    <a:pt x="900471" y="1611424"/>
                  </a:cubicBezTo>
                  <a:cubicBezTo>
                    <a:pt x="764041" y="1750718"/>
                    <a:pt x="646586" y="1879242"/>
                    <a:pt x="510156" y="2018536"/>
                  </a:cubicBezTo>
                  <a:cubicBezTo>
                    <a:pt x="241207" y="1755480"/>
                    <a:pt x="-125906" y="841115"/>
                    <a:pt x="42693" y="83755"/>
                  </a:cubicBezTo>
                  <a:close/>
                </a:path>
              </a:pathLst>
            </a:custGeom>
            <a:solidFill>
              <a:srgbClr val="0070C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G021">
              <a:extLst>
                <a:ext uri="{FF2B5EF4-FFF2-40B4-BE49-F238E27FC236}">
                  <a16:creationId xmlns:a16="http://schemas.microsoft.com/office/drawing/2014/main" id="{A399F408-CD30-4BF4-AE92-6B64AB3D98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187378" y="6960299"/>
              <a:ext cx="116561" cy="112165"/>
            </a:xfrm>
            <a:custGeom>
              <a:avLst/>
              <a:gdLst>
                <a:gd name="connsiteX0" fmla="*/ 0 w 348343"/>
                <a:gd name="connsiteY0" fmla="*/ 500742 h 522514"/>
                <a:gd name="connsiteX1" fmla="*/ 293914 w 348343"/>
                <a:gd name="connsiteY1" fmla="*/ 522514 h 522514"/>
                <a:gd name="connsiteX2" fmla="*/ 348343 w 348343"/>
                <a:gd name="connsiteY2" fmla="*/ 21771 h 522514"/>
                <a:gd name="connsiteX3" fmla="*/ 65314 w 348343"/>
                <a:gd name="connsiteY3" fmla="*/ 0 h 522514"/>
                <a:gd name="connsiteX4" fmla="*/ 0 w 348343"/>
                <a:gd name="connsiteY4" fmla="*/ 500742 h 522514"/>
                <a:gd name="connsiteX0" fmla="*/ 0 w 348343"/>
                <a:gd name="connsiteY0" fmla="*/ 523891 h 545663"/>
                <a:gd name="connsiteX1" fmla="*/ 293914 w 348343"/>
                <a:gd name="connsiteY1" fmla="*/ 545663 h 545663"/>
                <a:gd name="connsiteX2" fmla="*/ 348343 w 348343"/>
                <a:gd name="connsiteY2" fmla="*/ 44920 h 545663"/>
                <a:gd name="connsiteX3" fmla="*/ 57597 w 348343"/>
                <a:gd name="connsiteY3" fmla="*/ 0 h 545663"/>
                <a:gd name="connsiteX4" fmla="*/ 0 w 348343"/>
                <a:gd name="connsiteY4" fmla="*/ 523891 h 545663"/>
                <a:gd name="connsiteX0" fmla="*/ 0 w 348343"/>
                <a:gd name="connsiteY0" fmla="*/ 523891 h 545663"/>
                <a:gd name="connsiteX1" fmla="*/ 293914 w 348343"/>
                <a:gd name="connsiteY1" fmla="*/ 545663 h 545663"/>
                <a:gd name="connsiteX2" fmla="*/ 348343 w 348343"/>
                <a:gd name="connsiteY2" fmla="*/ 21770 h 545663"/>
                <a:gd name="connsiteX3" fmla="*/ 57597 w 348343"/>
                <a:gd name="connsiteY3" fmla="*/ 0 h 545663"/>
                <a:gd name="connsiteX4" fmla="*/ 0 w 348343"/>
                <a:gd name="connsiteY4" fmla="*/ 523891 h 545663"/>
                <a:gd name="connsiteX0" fmla="*/ 0 w 432999"/>
                <a:gd name="connsiteY0" fmla="*/ 523891 h 545663"/>
                <a:gd name="connsiteX1" fmla="*/ 378570 w 432999"/>
                <a:gd name="connsiteY1" fmla="*/ 545663 h 545663"/>
                <a:gd name="connsiteX2" fmla="*/ 432999 w 432999"/>
                <a:gd name="connsiteY2" fmla="*/ 21770 h 545663"/>
                <a:gd name="connsiteX3" fmla="*/ 142253 w 432999"/>
                <a:gd name="connsiteY3" fmla="*/ 0 h 545663"/>
                <a:gd name="connsiteX4" fmla="*/ 0 w 432999"/>
                <a:gd name="connsiteY4" fmla="*/ 523891 h 545663"/>
                <a:gd name="connsiteX0" fmla="*/ 0 w 432999"/>
                <a:gd name="connsiteY0" fmla="*/ 539386 h 561158"/>
                <a:gd name="connsiteX1" fmla="*/ 378570 w 432999"/>
                <a:gd name="connsiteY1" fmla="*/ 561158 h 561158"/>
                <a:gd name="connsiteX2" fmla="*/ 432999 w 432999"/>
                <a:gd name="connsiteY2" fmla="*/ 37265 h 561158"/>
                <a:gd name="connsiteX3" fmla="*/ 173999 w 432999"/>
                <a:gd name="connsiteY3" fmla="*/ 0 h 561158"/>
                <a:gd name="connsiteX4" fmla="*/ 0 w 432999"/>
                <a:gd name="connsiteY4" fmla="*/ 539386 h 561158"/>
                <a:gd name="connsiteX0" fmla="*/ 0 w 432999"/>
                <a:gd name="connsiteY0" fmla="*/ 539386 h 561158"/>
                <a:gd name="connsiteX1" fmla="*/ 378570 w 432999"/>
                <a:gd name="connsiteY1" fmla="*/ 561158 h 561158"/>
                <a:gd name="connsiteX2" fmla="*/ 432999 w 432999"/>
                <a:gd name="connsiteY2" fmla="*/ 99245 h 561158"/>
                <a:gd name="connsiteX3" fmla="*/ 173999 w 432999"/>
                <a:gd name="connsiteY3" fmla="*/ 0 h 561158"/>
                <a:gd name="connsiteX4" fmla="*/ 0 w 432999"/>
                <a:gd name="connsiteY4" fmla="*/ 539386 h 561158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0 w 432999"/>
                <a:gd name="connsiteY4" fmla="*/ 539386 h 646380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51966 w 432999"/>
                <a:gd name="connsiteY4" fmla="*/ 368457 h 646380"/>
                <a:gd name="connsiteX5" fmla="*/ 0 w 432999"/>
                <a:gd name="connsiteY5" fmla="*/ 539386 h 646380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66075 w 432999"/>
                <a:gd name="connsiteY4" fmla="*/ 321972 h 646380"/>
                <a:gd name="connsiteX5" fmla="*/ 51966 w 432999"/>
                <a:gd name="connsiteY5" fmla="*/ 368457 h 646380"/>
                <a:gd name="connsiteX6" fmla="*/ 0 w 432999"/>
                <a:gd name="connsiteY6" fmla="*/ 539386 h 646380"/>
                <a:gd name="connsiteX0" fmla="*/ 18580 w 451579"/>
                <a:gd name="connsiteY0" fmla="*/ 539386 h 646380"/>
                <a:gd name="connsiteX1" fmla="*/ 273694 w 451579"/>
                <a:gd name="connsiteY1" fmla="*/ 646380 h 646380"/>
                <a:gd name="connsiteX2" fmla="*/ 451579 w 451579"/>
                <a:gd name="connsiteY2" fmla="*/ 99245 h 646380"/>
                <a:gd name="connsiteX3" fmla="*/ 192579 w 451579"/>
                <a:gd name="connsiteY3" fmla="*/ 0 h 646380"/>
                <a:gd name="connsiteX4" fmla="*/ 84655 w 451579"/>
                <a:gd name="connsiteY4" fmla="*/ 321972 h 646380"/>
                <a:gd name="connsiteX5" fmla="*/ 0 w 451579"/>
                <a:gd name="connsiteY5" fmla="*/ 178644 h 646380"/>
                <a:gd name="connsiteX6" fmla="*/ 18580 w 451579"/>
                <a:gd name="connsiteY6" fmla="*/ 539386 h 646380"/>
                <a:gd name="connsiteX0" fmla="*/ 0 w 545873"/>
                <a:gd name="connsiteY0" fmla="*/ 489027 h 646380"/>
                <a:gd name="connsiteX1" fmla="*/ 367988 w 545873"/>
                <a:gd name="connsiteY1" fmla="*/ 646380 h 646380"/>
                <a:gd name="connsiteX2" fmla="*/ 545873 w 545873"/>
                <a:gd name="connsiteY2" fmla="*/ 99245 h 646380"/>
                <a:gd name="connsiteX3" fmla="*/ 286873 w 545873"/>
                <a:gd name="connsiteY3" fmla="*/ 0 h 646380"/>
                <a:gd name="connsiteX4" fmla="*/ 178949 w 545873"/>
                <a:gd name="connsiteY4" fmla="*/ 321972 h 646380"/>
                <a:gd name="connsiteX5" fmla="*/ 94294 w 545873"/>
                <a:gd name="connsiteY5" fmla="*/ 178644 h 646380"/>
                <a:gd name="connsiteX6" fmla="*/ 0 w 545873"/>
                <a:gd name="connsiteY6" fmla="*/ 489027 h 646380"/>
                <a:gd name="connsiteX0" fmla="*/ 0 w 545873"/>
                <a:gd name="connsiteY0" fmla="*/ 489027 h 646380"/>
                <a:gd name="connsiteX1" fmla="*/ 367988 w 545873"/>
                <a:gd name="connsiteY1" fmla="*/ 646380 h 646380"/>
                <a:gd name="connsiteX2" fmla="*/ 545873 w 545873"/>
                <a:gd name="connsiteY2" fmla="*/ 99245 h 646380"/>
                <a:gd name="connsiteX3" fmla="*/ 286873 w 545873"/>
                <a:gd name="connsiteY3" fmla="*/ 0 h 646380"/>
                <a:gd name="connsiteX4" fmla="*/ 210695 w 545873"/>
                <a:gd name="connsiteY4" fmla="*/ 229002 h 646380"/>
                <a:gd name="connsiteX5" fmla="*/ 94294 w 545873"/>
                <a:gd name="connsiteY5" fmla="*/ 178644 h 646380"/>
                <a:gd name="connsiteX6" fmla="*/ 0 w 545873"/>
                <a:gd name="connsiteY6" fmla="*/ 489027 h 646380"/>
                <a:gd name="connsiteX0" fmla="*/ 0 w 556455"/>
                <a:gd name="connsiteY0" fmla="*/ 485154 h 646380"/>
                <a:gd name="connsiteX1" fmla="*/ 378570 w 556455"/>
                <a:gd name="connsiteY1" fmla="*/ 646380 h 646380"/>
                <a:gd name="connsiteX2" fmla="*/ 556455 w 556455"/>
                <a:gd name="connsiteY2" fmla="*/ 99245 h 646380"/>
                <a:gd name="connsiteX3" fmla="*/ 297455 w 556455"/>
                <a:gd name="connsiteY3" fmla="*/ 0 h 646380"/>
                <a:gd name="connsiteX4" fmla="*/ 221277 w 556455"/>
                <a:gd name="connsiteY4" fmla="*/ 229002 h 646380"/>
                <a:gd name="connsiteX5" fmla="*/ 104876 w 556455"/>
                <a:gd name="connsiteY5" fmla="*/ 178644 h 646380"/>
                <a:gd name="connsiteX6" fmla="*/ 0 w 556455"/>
                <a:gd name="connsiteY6" fmla="*/ 485154 h 646380"/>
                <a:gd name="connsiteX0" fmla="*/ 0 w 556455"/>
                <a:gd name="connsiteY0" fmla="*/ 492901 h 654127"/>
                <a:gd name="connsiteX1" fmla="*/ 378570 w 556455"/>
                <a:gd name="connsiteY1" fmla="*/ 654127 h 654127"/>
                <a:gd name="connsiteX2" fmla="*/ 556455 w 556455"/>
                <a:gd name="connsiteY2" fmla="*/ 106992 h 654127"/>
                <a:gd name="connsiteX3" fmla="*/ 300982 w 556455"/>
                <a:gd name="connsiteY3" fmla="*/ 0 h 654127"/>
                <a:gd name="connsiteX4" fmla="*/ 221277 w 556455"/>
                <a:gd name="connsiteY4" fmla="*/ 236749 h 654127"/>
                <a:gd name="connsiteX5" fmla="*/ 104876 w 556455"/>
                <a:gd name="connsiteY5" fmla="*/ 186391 h 654127"/>
                <a:gd name="connsiteX6" fmla="*/ 0 w 556455"/>
                <a:gd name="connsiteY6" fmla="*/ 492901 h 65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6455" h="654127">
                  <a:moveTo>
                    <a:pt x="0" y="492901"/>
                  </a:moveTo>
                  <a:lnTo>
                    <a:pt x="378570" y="654127"/>
                  </a:lnTo>
                  <a:lnTo>
                    <a:pt x="556455" y="106992"/>
                  </a:lnTo>
                  <a:lnTo>
                    <a:pt x="300982" y="0"/>
                  </a:lnTo>
                  <a:lnTo>
                    <a:pt x="221277" y="236749"/>
                  </a:lnTo>
                  <a:lnTo>
                    <a:pt x="104876" y="186391"/>
                  </a:lnTo>
                  <a:lnTo>
                    <a:pt x="0" y="492901"/>
                  </a:lnTo>
                  <a:close/>
                </a:path>
              </a:pathLst>
            </a:custGeom>
            <a:solidFill>
              <a:srgbClr val="FF990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8" name="Textfeld 107">
            <a:extLst>
              <a:ext uri="{FF2B5EF4-FFF2-40B4-BE49-F238E27FC236}">
                <a16:creationId xmlns:a16="http://schemas.microsoft.com/office/drawing/2014/main" id="{C377B81D-D009-4413-9E43-108F5291063A}"/>
              </a:ext>
            </a:extLst>
          </p:cNvPr>
          <p:cNvSpPr txBox="1"/>
          <p:nvPr/>
        </p:nvSpPr>
        <p:spPr>
          <a:xfrm>
            <a:off x="1622176" y="3065757"/>
            <a:ext cx="6408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rgbClr val="C00000"/>
                </a:solidFill>
                <a:latin typeface="Wingdings 2" panose="05020102010507070707" pitchFamily="18" charset="2"/>
              </a:rPr>
              <a:t>u</a:t>
            </a:r>
            <a:endParaRPr lang="de-DE" sz="3600" dirty="0">
              <a:solidFill>
                <a:srgbClr val="C00000"/>
              </a:solidFill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C155CFF5-FEB9-4AFB-8D6E-48929174F343}"/>
              </a:ext>
            </a:extLst>
          </p:cNvPr>
          <p:cNvSpPr txBox="1"/>
          <p:nvPr/>
        </p:nvSpPr>
        <p:spPr>
          <a:xfrm>
            <a:off x="1652363" y="5041762"/>
            <a:ext cx="7589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rgbClr val="DF80B2"/>
                </a:solidFill>
                <a:latin typeface="Wingdings 2" panose="05020102010507070707" pitchFamily="18" charset="2"/>
              </a:rPr>
              <a:t>v</a:t>
            </a:r>
            <a:endParaRPr lang="de-DE" sz="3600" dirty="0">
              <a:solidFill>
                <a:srgbClr val="DF80B2"/>
              </a:solidFill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C5ABB978-BCAE-41C0-A51E-57310AF4CD4A}"/>
              </a:ext>
            </a:extLst>
          </p:cNvPr>
          <p:cNvSpPr txBox="1"/>
          <p:nvPr/>
        </p:nvSpPr>
        <p:spPr>
          <a:xfrm>
            <a:off x="5262175" y="6149110"/>
            <a:ext cx="7589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rgbClr val="00B050"/>
                </a:solidFill>
                <a:latin typeface="Wingdings 2" panose="05020102010507070707" pitchFamily="18" charset="2"/>
              </a:rPr>
              <a:t>w</a:t>
            </a:r>
            <a:endParaRPr lang="de-DE" sz="3600" dirty="0">
              <a:solidFill>
                <a:srgbClr val="00B050"/>
              </a:solidFill>
            </a:endParaRP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E0C014E0-BF90-48E5-8E46-A5B7855B99C8}"/>
              </a:ext>
            </a:extLst>
          </p:cNvPr>
          <p:cNvSpPr txBox="1"/>
          <p:nvPr/>
        </p:nvSpPr>
        <p:spPr>
          <a:xfrm>
            <a:off x="5268791" y="7187698"/>
            <a:ext cx="7589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rgbClr val="0070C0"/>
                </a:solidFill>
                <a:latin typeface="Wingdings 2" panose="05020102010507070707" pitchFamily="18" charset="2"/>
              </a:rPr>
              <a:t>x</a:t>
            </a:r>
            <a:endParaRPr lang="de-DE" sz="3600" dirty="0">
              <a:solidFill>
                <a:srgbClr val="0070C0"/>
              </a:solidFill>
            </a:endParaRP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B54A6EA1-F611-4059-9151-FD0E31D0517A}"/>
              </a:ext>
            </a:extLst>
          </p:cNvPr>
          <p:cNvSpPr txBox="1"/>
          <p:nvPr/>
        </p:nvSpPr>
        <p:spPr>
          <a:xfrm>
            <a:off x="6393732" y="8015223"/>
            <a:ext cx="7589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rgbClr val="FF9900"/>
                </a:solidFill>
                <a:latin typeface="Wingdings 2" panose="05020102010507070707" pitchFamily="18" charset="2"/>
              </a:rPr>
              <a:t>y</a:t>
            </a:r>
            <a:endParaRPr lang="de-DE" sz="3600" dirty="0">
              <a:solidFill>
                <a:srgbClr val="FF9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85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kt 6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4" name="Objekt 6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58750" cy="158750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/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7CAB08F-CCEA-462B-BE32-9F261D37804A}"/>
              </a:ext>
            </a:extLst>
          </p:cNvPr>
          <p:cNvSpPr>
            <a:spLocks/>
          </p:cNvSpPr>
          <p:nvPr/>
        </p:nvSpPr>
        <p:spPr bwMode="auto">
          <a:xfrm>
            <a:off x="488950" y="211259"/>
            <a:ext cx="1245738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3 Schedule and Status</a:t>
            </a: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3.2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Detailed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Schedule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based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on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31A56343-5266-4DE4-8B28-F63DC0B02B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9695" y="2041864"/>
            <a:ext cx="6322705" cy="6473103"/>
          </a:xfrm>
          <a:prstGeom prst="rect">
            <a:avLst/>
          </a:prstGeom>
        </p:spPr>
      </p:pic>
      <p:graphicFrame>
        <p:nvGraphicFramePr>
          <p:cNvPr id="104" name="Objekt 103">
            <a:extLst>
              <a:ext uri="{FF2B5EF4-FFF2-40B4-BE49-F238E27FC236}">
                <a16:creationId xmlns:a16="http://schemas.microsoft.com/office/drawing/2014/main" id="{6DE5C8F1-8988-4036-860C-D49A1846CB2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3675136"/>
              </p:ext>
            </p:extLst>
          </p:nvPr>
        </p:nvGraphicFramePr>
        <p:xfrm>
          <a:off x="11034713" y="7445375"/>
          <a:ext cx="1646237" cy="646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Objekt-Manager-Shellobjekt" showAsIcon="1" r:id="rId9" imgW="1158480" imgH="453600" progId="Package">
                  <p:embed/>
                </p:oleObj>
              </mc:Choice>
              <mc:Fallback>
                <p:oleObj name="Objekt-Manager-Shellobjekt" showAsIcon="1" r:id="rId9" imgW="1158480" imgH="453600" progId="Package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F73674FD-44FE-4870-8D45-5A9EDCE7F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034713" y="7445375"/>
                        <a:ext cx="1646237" cy="6461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Textfeld 105">
            <a:extLst>
              <a:ext uri="{FF2B5EF4-FFF2-40B4-BE49-F238E27FC236}">
                <a16:creationId xmlns:a16="http://schemas.microsoft.com/office/drawing/2014/main" id="{9619E642-D6B0-4421-8EED-C207F4C6C93F}"/>
              </a:ext>
            </a:extLst>
          </p:cNvPr>
          <p:cNvSpPr txBox="1"/>
          <p:nvPr/>
        </p:nvSpPr>
        <p:spPr>
          <a:xfrm>
            <a:off x="6560723" y="4150127"/>
            <a:ext cx="6177717" cy="1453218"/>
          </a:xfrm>
          <a:prstGeom prst="rect">
            <a:avLst/>
          </a:prstGeom>
        </p:spPr>
        <p:txBody>
          <a:bodyPr vert="horz" wrap="none" lIns="130048" tIns="65024" rIns="130048" bIns="65024" rtlCol="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de-DE" sz="1991" dirty="0"/>
              <a:t>Der Weg von Einzelanlagen zu einer Gesamtanlage</a:t>
            </a:r>
          </a:p>
          <a:p>
            <a:pPr algn="l">
              <a:lnSpc>
                <a:spcPct val="150000"/>
              </a:lnSpc>
            </a:pPr>
            <a:r>
              <a:rPr lang="de-DE" sz="1991" dirty="0"/>
              <a:t>wird durch das Gewerkeübergreifende IBN Konzept </a:t>
            </a:r>
          </a:p>
          <a:p>
            <a:pPr algn="l">
              <a:lnSpc>
                <a:spcPct val="150000"/>
              </a:lnSpc>
            </a:pPr>
            <a:r>
              <a:rPr lang="de-DE" sz="1991" dirty="0"/>
              <a:t>sichergestellt.</a:t>
            </a:r>
          </a:p>
        </p:txBody>
      </p:sp>
    </p:spTree>
    <p:extLst>
      <p:ext uri="{BB962C8B-B14F-4D97-AF65-F5344CB8AC3E}">
        <p14:creationId xmlns:p14="http://schemas.microsoft.com/office/powerpoint/2010/main" val="365972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kt 6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4" name="Objekt 6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58750" cy="158750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/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7CAB08F-CCEA-462B-BE32-9F261D37804A}"/>
              </a:ext>
            </a:extLst>
          </p:cNvPr>
          <p:cNvSpPr>
            <a:spLocks/>
          </p:cNvSpPr>
          <p:nvPr/>
        </p:nvSpPr>
        <p:spPr bwMode="auto">
          <a:xfrm>
            <a:off x="488950" y="211259"/>
            <a:ext cx="1245738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3 Schedule and Status</a:t>
            </a: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3.3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Detailed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Schedule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based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on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B31DCB-232A-4DEA-8C30-D26E58D056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2029" y="2453308"/>
            <a:ext cx="12381648" cy="630007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4C15A6EB-6F7C-4848-B8CC-D48FCE7CA1DF}"/>
              </a:ext>
            </a:extLst>
          </p:cNvPr>
          <p:cNvSpPr txBox="1"/>
          <p:nvPr/>
        </p:nvSpPr>
        <p:spPr>
          <a:xfrm>
            <a:off x="488950" y="1644383"/>
            <a:ext cx="1209833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 err="1">
                <a:solidFill>
                  <a:srgbClr val="002060"/>
                </a:solidFill>
              </a:rPr>
              <a:t>Example</a:t>
            </a:r>
            <a:r>
              <a:rPr lang="de-DE" dirty="0">
                <a:solidFill>
                  <a:srgbClr val="002060"/>
                </a:solidFill>
              </a:rPr>
              <a:t> G0704A HEBT </a:t>
            </a:r>
            <a:r>
              <a:rPr lang="de-DE" dirty="0" err="1">
                <a:solidFill>
                  <a:srgbClr val="002060"/>
                </a:solidFill>
              </a:rPr>
              <a:t>supply</a:t>
            </a:r>
            <a:r>
              <a:rPr lang="de-DE" dirty="0">
                <a:solidFill>
                  <a:srgbClr val="002060"/>
                </a:solidFill>
              </a:rPr>
              <a:t> </a:t>
            </a:r>
            <a:r>
              <a:rPr lang="de-DE" dirty="0" err="1">
                <a:solidFill>
                  <a:srgbClr val="002060"/>
                </a:solidFill>
              </a:rPr>
              <a:t>building</a:t>
            </a:r>
            <a:endParaRPr lang="de-DE" dirty="0">
              <a:solidFill>
                <a:srgbClr val="002060"/>
              </a:solidFill>
            </a:endParaRPr>
          </a:p>
          <a:p>
            <a:pPr algn="ctr"/>
            <a:endParaRPr lang="de-DE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28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720000" y="1466989"/>
            <a:ext cx="12119104" cy="1925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de-DE" b="1" dirty="0">
                <a:solidFill>
                  <a:srgbClr val="00599D"/>
                </a:solidFill>
                <a:latin typeface="+mn-lt"/>
              </a:rPr>
              <a:t>TOP 1: </a:t>
            </a:r>
            <a:r>
              <a:rPr lang="de-DE" b="1" dirty="0" err="1">
                <a:solidFill>
                  <a:srgbClr val="00599D"/>
                </a:solidFill>
                <a:latin typeface="+mn-lt"/>
              </a:rPr>
              <a:t>Commissioning</a:t>
            </a:r>
            <a:r>
              <a:rPr lang="de-DE" b="1" dirty="0">
                <a:solidFill>
                  <a:srgbClr val="00599D"/>
                </a:solidFill>
                <a:latin typeface="+mn-lt"/>
              </a:rPr>
              <a:t> Concept</a:t>
            </a:r>
          </a:p>
          <a:p>
            <a:pPr>
              <a:lnSpc>
                <a:spcPts val="5000"/>
              </a:lnSpc>
            </a:pPr>
            <a:r>
              <a:rPr lang="de-DE" sz="2400" b="1" dirty="0">
                <a:solidFill>
                  <a:srgbClr val="00599D"/>
                </a:solidFill>
                <a:latin typeface="+mn-lt"/>
              </a:rPr>
              <a:t>TOP 2: </a:t>
            </a:r>
            <a:r>
              <a:rPr lang="de-DE" b="1" dirty="0" err="1">
                <a:solidFill>
                  <a:srgbClr val="00599D"/>
                </a:solidFill>
                <a:latin typeface="+mn-lt"/>
              </a:rPr>
              <a:t>Commissioning</a:t>
            </a:r>
            <a:r>
              <a:rPr lang="de-DE" b="1" dirty="0">
                <a:solidFill>
                  <a:srgbClr val="00599D"/>
                </a:solidFill>
                <a:latin typeface="+mn-lt"/>
              </a:rPr>
              <a:t> </a:t>
            </a:r>
            <a:r>
              <a:rPr lang="de-DE" b="1" dirty="0" err="1">
                <a:solidFill>
                  <a:srgbClr val="00599D"/>
                </a:solidFill>
                <a:latin typeface="+mn-lt"/>
              </a:rPr>
              <a:t>Strategy</a:t>
            </a:r>
            <a:endParaRPr lang="de-DE" sz="2400" b="1" dirty="0">
              <a:solidFill>
                <a:srgbClr val="00599D"/>
              </a:solidFill>
              <a:latin typeface="+mn-lt"/>
            </a:endParaRPr>
          </a:p>
          <a:p>
            <a:pPr>
              <a:lnSpc>
                <a:spcPts val="5000"/>
              </a:lnSpc>
            </a:pPr>
            <a:r>
              <a:rPr lang="de-DE" b="1" dirty="0">
                <a:solidFill>
                  <a:srgbClr val="00599D"/>
                </a:solidFill>
                <a:latin typeface="+mn-lt"/>
              </a:rPr>
              <a:t>TOP 3: Schedule and Status</a:t>
            </a:r>
          </a:p>
        </p:txBody>
      </p:sp>
      <p:sp>
        <p:nvSpPr>
          <p:cNvPr id="5" name="Rectangle 11"/>
          <p:cNvSpPr>
            <a:spLocks/>
          </p:cNvSpPr>
          <p:nvPr/>
        </p:nvSpPr>
        <p:spPr bwMode="auto">
          <a:xfrm>
            <a:off x="381720" y="413465"/>
            <a:ext cx="1245738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3" bIns="0">
            <a:spAutoFit/>
          </a:bodyPr>
          <a:lstStyle>
            <a:lvl1pPr marL="5715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r>
              <a:rPr lang="de-DE" sz="2800" b="1" dirty="0">
                <a:solidFill>
                  <a:srgbClr val="00599D"/>
                </a:solidFill>
                <a:latin typeface="+mn-lt"/>
              </a:rPr>
              <a:t>Content</a:t>
            </a:r>
            <a:endParaRPr lang="de-DE" sz="2600" b="1" dirty="0">
              <a:solidFill>
                <a:srgbClr val="00599D"/>
              </a:solidFill>
              <a:latin typeface="+mn-lt"/>
            </a:endParaRPr>
          </a:p>
          <a:p>
            <a:pPr eaLnBrk="1" hangingPunct="1"/>
            <a:endParaRPr lang="de-DE" altLang="de-DE" sz="2800" b="1" dirty="0">
              <a:solidFill>
                <a:srgbClr val="00599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340667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 descr="Ein Bild, das Kinderkunst, Zeichnung, Entwurf enthält.&#10;&#10;Automatisch generierte Beschreibung">
            <a:extLst>
              <a:ext uri="{FF2B5EF4-FFF2-40B4-BE49-F238E27FC236}">
                <a16:creationId xmlns:a16="http://schemas.microsoft.com/office/drawing/2014/main" id="{A15D2271-4DEF-C037-CC16-BB4DE1A154A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0988"/>
            <a:ext cx="13004800" cy="6411625"/>
          </a:xfrm>
          <a:prstGeom prst="rect">
            <a:avLst/>
          </a:prstGeom>
        </p:spPr>
      </p:pic>
      <p:sp>
        <p:nvSpPr>
          <p:cNvPr id="12" name="Legende: Linie 11">
            <a:extLst>
              <a:ext uri="{FF2B5EF4-FFF2-40B4-BE49-F238E27FC236}">
                <a16:creationId xmlns:a16="http://schemas.microsoft.com/office/drawing/2014/main" id="{84455AE3-AEFF-A272-B73B-891560B25BE8}"/>
              </a:ext>
            </a:extLst>
          </p:cNvPr>
          <p:cNvSpPr/>
          <p:nvPr/>
        </p:nvSpPr>
        <p:spPr>
          <a:xfrm>
            <a:off x="7261013" y="3142827"/>
            <a:ext cx="1075200" cy="216747"/>
          </a:xfrm>
          <a:prstGeom prst="borderCallout1">
            <a:avLst>
              <a:gd name="adj1" fmla="val 50000"/>
              <a:gd name="adj2" fmla="val 190"/>
              <a:gd name="adj3" fmla="val 288644"/>
              <a:gd name="adj4" fmla="val -79154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H0719A</a:t>
            </a:r>
          </a:p>
        </p:txBody>
      </p:sp>
      <p:sp>
        <p:nvSpPr>
          <p:cNvPr id="13" name="Legende: Linie 12">
            <a:extLst>
              <a:ext uri="{FF2B5EF4-FFF2-40B4-BE49-F238E27FC236}">
                <a16:creationId xmlns:a16="http://schemas.microsoft.com/office/drawing/2014/main" id="{1E31118F-88A8-9863-BD73-9EF2B441EA89}"/>
              </a:ext>
            </a:extLst>
          </p:cNvPr>
          <p:cNvSpPr/>
          <p:nvPr/>
        </p:nvSpPr>
        <p:spPr>
          <a:xfrm>
            <a:off x="8432799" y="4009813"/>
            <a:ext cx="1075200" cy="216747"/>
          </a:xfrm>
          <a:prstGeom prst="borderCallout1">
            <a:avLst>
              <a:gd name="adj1" fmla="val 50000"/>
              <a:gd name="adj2" fmla="val 190"/>
              <a:gd name="adj3" fmla="val 396457"/>
              <a:gd name="adj4" fmla="val -53025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720A</a:t>
            </a:r>
          </a:p>
        </p:txBody>
      </p:sp>
      <p:sp>
        <p:nvSpPr>
          <p:cNvPr id="14" name="Legende: Linie 13">
            <a:extLst>
              <a:ext uri="{FF2B5EF4-FFF2-40B4-BE49-F238E27FC236}">
                <a16:creationId xmlns:a16="http://schemas.microsoft.com/office/drawing/2014/main" id="{EBB9030B-3285-69FF-AE51-972BAC218B64}"/>
              </a:ext>
            </a:extLst>
          </p:cNvPr>
          <p:cNvSpPr/>
          <p:nvPr/>
        </p:nvSpPr>
        <p:spPr>
          <a:xfrm>
            <a:off x="7514382" y="7228156"/>
            <a:ext cx="1075200" cy="216747"/>
          </a:xfrm>
          <a:prstGeom prst="borderCallout1">
            <a:avLst>
              <a:gd name="adj1" fmla="val 52605"/>
              <a:gd name="adj2" fmla="val -367"/>
              <a:gd name="adj3" fmla="val -649377"/>
              <a:gd name="adj4" fmla="val -128015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L0516A</a:t>
            </a:r>
          </a:p>
        </p:txBody>
      </p:sp>
      <p:sp>
        <p:nvSpPr>
          <p:cNvPr id="15" name="Legende: Linie 14">
            <a:extLst>
              <a:ext uri="{FF2B5EF4-FFF2-40B4-BE49-F238E27FC236}">
                <a16:creationId xmlns:a16="http://schemas.microsoft.com/office/drawing/2014/main" id="{21E7005F-483A-ABB9-8FF1-A4B1DEAE7DCB}"/>
              </a:ext>
            </a:extLst>
          </p:cNvPr>
          <p:cNvSpPr/>
          <p:nvPr/>
        </p:nvSpPr>
        <p:spPr>
          <a:xfrm>
            <a:off x="5852160" y="8128000"/>
            <a:ext cx="1075200" cy="216747"/>
          </a:xfrm>
          <a:prstGeom prst="borderCallout1">
            <a:avLst>
              <a:gd name="adj1" fmla="val 0"/>
              <a:gd name="adj2" fmla="val 49906"/>
              <a:gd name="adj3" fmla="val -492607"/>
              <a:gd name="adj4" fmla="val -20142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L0409A</a:t>
            </a:r>
          </a:p>
        </p:txBody>
      </p:sp>
      <p:sp>
        <p:nvSpPr>
          <p:cNvPr id="17" name="Legende: Linie 16">
            <a:extLst>
              <a:ext uri="{FF2B5EF4-FFF2-40B4-BE49-F238E27FC236}">
                <a16:creationId xmlns:a16="http://schemas.microsoft.com/office/drawing/2014/main" id="{BD4D8BE6-3C2E-6CE6-24FF-433793668C49}"/>
              </a:ext>
            </a:extLst>
          </p:cNvPr>
          <p:cNvSpPr/>
          <p:nvPr/>
        </p:nvSpPr>
        <p:spPr>
          <a:xfrm>
            <a:off x="5256107" y="8453120"/>
            <a:ext cx="1075200" cy="216747"/>
          </a:xfrm>
          <a:prstGeom prst="borderCallout1">
            <a:avLst>
              <a:gd name="adj1" fmla="val -1562"/>
              <a:gd name="adj2" fmla="val 43088"/>
              <a:gd name="adj3" fmla="val -706669"/>
              <a:gd name="adj4" fmla="val -49206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L0321A</a:t>
            </a:r>
          </a:p>
        </p:txBody>
      </p:sp>
      <p:sp>
        <p:nvSpPr>
          <p:cNvPr id="18" name="Legende: Linie 17">
            <a:hlinkClick r:id="rId4" action="ppaction://hlinksldjump"/>
            <a:extLst>
              <a:ext uri="{FF2B5EF4-FFF2-40B4-BE49-F238E27FC236}">
                <a16:creationId xmlns:a16="http://schemas.microsoft.com/office/drawing/2014/main" id="{F1590F02-6047-680E-68C3-32402D70951E}"/>
              </a:ext>
            </a:extLst>
          </p:cNvPr>
          <p:cNvSpPr/>
          <p:nvPr/>
        </p:nvSpPr>
        <p:spPr>
          <a:xfrm>
            <a:off x="3519249" y="8453120"/>
            <a:ext cx="1075200" cy="216747"/>
          </a:xfrm>
          <a:prstGeom prst="borderCallout1">
            <a:avLst>
              <a:gd name="adj1" fmla="val 0"/>
              <a:gd name="adj2" fmla="val 52179"/>
              <a:gd name="adj3" fmla="val -695731"/>
              <a:gd name="adj4" fmla="val -47786"/>
            </a:avLst>
          </a:prstGeom>
          <a:solidFill>
            <a:srgbClr val="F4D26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>
                <a:solidFill>
                  <a:schemeClr val="tx1"/>
                </a:solidFill>
              </a:rPr>
              <a:t>K0314A</a:t>
            </a:r>
          </a:p>
        </p:txBody>
      </p:sp>
      <p:sp>
        <p:nvSpPr>
          <p:cNvPr id="22" name="Legende: Linie 21">
            <a:extLst>
              <a:ext uri="{FF2B5EF4-FFF2-40B4-BE49-F238E27FC236}">
                <a16:creationId xmlns:a16="http://schemas.microsoft.com/office/drawing/2014/main" id="{36418295-D586-6FD4-43A4-6A831E839FFE}"/>
              </a:ext>
            </a:extLst>
          </p:cNvPr>
          <p:cNvSpPr/>
          <p:nvPr/>
        </p:nvSpPr>
        <p:spPr>
          <a:xfrm>
            <a:off x="4163974" y="5233412"/>
            <a:ext cx="1075200" cy="216747"/>
          </a:xfrm>
          <a:prstGeom prst="borderCallout1">
            <a:avLst>
              <a:gd name="adj1" fmla="val 51562"/>
              <a:gd name="adj2" fmla="val 99622"/>
              <a:gd name="adj3" fmla="val 70414"/>
              <a:gd name="adj4" fmla="val 131833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519A</a:t>
            </a:r>
          </a:p>
        </p:txBody>
      </p:sp>
      <p:sp>
        <p:nvSpPr>
          <p:cNvPr id="23" name="Legende: Linie 22">
            <a:extLst>
              <a:ext uri="{FF2B5EF4-FFF2-40B4-BE49-F238E27FC236}">
                <a16:creationId xmlns:a16="http://schemas.microsoft.com/office/drawing/2014/main" id="{8B1A028E-52C0-A3EA-7E45-C7A0D5F9F993}"/>
              </a:ext>
            </a:extLst>
          </p:cNvPr>
          <p:cNvSpPr/>
          <p:nvPr/>
        </p:nvSpPr>
        <p:spPr>
          <a:xfrm>
            <a:off x="2275840" y="4030132"/>
            <a:ext cx="1075200" cy="216747"/>
          </a:xfrm>
          <a:prstGeom prst="borderCallout1">
            <a:avLst>
              <a:gd name="adj1" fmla="val 0"/>
              <a:gd name="adj2" fmla="val 58713"/>
              <a:gd name="adj3" fmla="val -108231"/>
              <a:gd name="adj4" fmla="val 112218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G0702A</a:t>
            </a:r>
          </a:p>
        </p:txBody>
      </p:sp>
      <p:sp>
        <p:nvSpPr>
          <p:cNvPr id="24" name="Legende: Linie 23">
            <a:extLst>
              <a:ext uri="{FF2B5EF4-FFF2-40B4-BE49-F238E27FC236}">
                <a16:creationId xmlns:a16="http://schemas.microsoft.com/office/drawing/2014/main" id="{6FFD274F-E294-7939-AB90-5CD8A4111008}"/>
              </a:ext>
            </a:extLst>
          </p:cNvPr>
          <p:cNvSpPr/>
          <p:nvPr/>
        </p:nvSpPr>
        <p:spPr>
          <a:xfrm>
            <a:off x="2012056" y="8082612"/>
            <a:ext cx="1075200" cy="216747"/>
          </a:xfrm>
          <a:prstGeom prst="borderCallout1">
            <a:avLst>
              <a:gd name="adj1" fmla="val 0"/>
              <a:gd name="adj2" fmla="val 58713"/>
              <a:gd name="adj3" fmla="val -383231"/>
              <a:gd name="adj4" fmla="val 107493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308A</a:t>
            </a:r>
          </a:p>
        </p:txBody>
      </p:sp>
      <p:sp>
        <p:nvSpPr>
          <p:cNvPr id="26" name="Legende: Linie 25">
            <a:extLst>
              <a:ext uri="{FF2B5EF4-FFF2-40B4-BE49-F238E27FC236}">
                <a16:creationId xmlns:a16="http://schemas.microsoft.com/office/drawing/2014/main" id="{620CD0C1-F1BD-6310-93B0-EF692A8EC5F2}"/>
              </a:ext>
            </a:extLst>
          </p:cNvPr>
          <p:cNvSpPr/>
          <p:nvPr/>
        </p:nvSpPr>
        <p:spPr>
          <a:xfrm>
            <a:off x="7514382" y="7607465"/>
            <a:ext cx="1075200" cy="216747"/>
          </a:xfrm>
          <a:prstGeom prst="borderCallout1">
            <a:avLst>
              <a:gd name="adj1" fmla="val 52083"/>
              <a:gd name="adj2" fmla="val -83"/>
              <a:gd name="adj3" fmla="val -591565"/>
              <a:gd name="adj4" fmla="val -172314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410A</a:t>
            </a:r>
          </a:p>
        </p:txBody>
      </p:sp>
      <p:sp>
        <p:nvSpPr>
          <p:cNvPr id="39" name="Legende: Linie 38">
            <a:hlinkClick r:id="rId4" action="ppaction://hlinksldjump"/>
            <a:extLst>
              <a:ext uri="{FF2B5EF4-FFF2-40B4-BE49-F238E27FC236}">
                <a16:creationId xmlns:a16="http://schemas.microsoft.com/office/drawing/2014/main" id="{4C1AAD30-0935-1CA5-3DF6-623E66BD33FC}"/>
              </a:ext>
            </a:extLst>
          </p:cNvPr>
          <p:cNvSpPr/>
          <p:nvPr/>
        </p:nvSpPr>
        <p:spPr>
          <a:xfrm>
            <a:off x="1542190" y="7816079"/>
            <a:ext cx="1075200" cy="216747"/>
          </a:xfrm>
          <a:prstGeom prst="borderCallout1">
            <a:avLst>
              <a:gd name="adj1" fmla="val 0"/>
              <a:gd name="adj2" fmla="val 52179"/>
              <a:gd name="adj3" fmla="val -716564"/>
              <a:gd name="adj4" fmla="val 172700"/>
            </a:avLst>
          </a:prstGeom>
          <a:solidFill>
            <a:srgbClr val="F4D26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>
                <a:solidFill>
                  <a:schemeClr val="tx1"/>
                </a:solidFill>
              </a:rPr>
              <a:t>K0321A</a:t>
            </a:r>
          </a:p>
        </p:txBody>
      </p:sp>
      <p:sp>
        <p:nvSpPr>
          <p:cNvPr id="40" name="Legende: Linie 39">
            <a:hlinkClick r:id="rId4" action="ppaction://hlinksldjump"/>
            <a:extLst>
              <a:ext uri="{FF2B5EF4-FFF2-40B4-BE49-F238E27FC236}">
                <a16:creationId xmlns:a16="http://schemas.microsoft.com/office/drawing/2014/main" id="{D8D15881-CBBB-0DD7-E9E7-6FBE4AA51741}"/>
              </a:ext>
            </a:extLst>
          </p:cNvPr>
          <p:cNvSpPr/>
          <p:nvPr/>
        </p:nvSpPr>
        <p:spPr>
          <a:xfrm>
            <a:off x="758613" y="5706359"/>
            <a:ext cx="1075200" cy="216747"/>
          </a:xfrm>
          <a:prstGeom prst="borderCallout1">
            <a:avLst>
              <a:gd name="adj1" fmla="val 50000"/>
              <a:gd name="adj2" fmla="val 100371"/>
              <a:gd name="adj3" fmla="val 57394"/>
              <a:gd name="adj4" fmla="val 299217"/>
            </a:avLst>
          </a:prstGeom>
          <a:solidFill>
            <a:srgbClr val="F4D26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>
                <a:solidFill>
                  <a:schemeClr val="tx1"/>
                </a:solidFill>
              </a:rPr>
              <a:t>K0406A</a:t>
            </a:r>
          </a:p>
        </p:txBody>
      </p:sp>
      <p:sp>
        <p:nvSpPr>
          <p:cNvPr id="43" name="Legende: Linie 42">
            <a:extLst>
              <a:ext uri="{FF2B5EF4-FFF2-40B4-BE49-F238E27FC236}">
                <a16:creationId xmlns:a16="http://schemas.microsoft.com/office/drawing/2014/main" id="{06AC3E00-01BF-1262-1A63-B4C236872A54}"/>
              </a:ext>
            </a:extLst>
          </p:cNvPr>
          <p:cNvSpPr/>
          <p:nvPr/>
        </p:nvSpPr>
        <p:spPr>
          <a:xfrm>
            <a:off x="8352469" y="5859174"/>
            <a:ext cx="1075200" cy="216747"/>
          </a:xfrm>
          <a:prstGeom prst="borderCallout1">
            <a:avLst>
              <a:gd name="adj1" fmla="val 50000"/>
              <a:gd name="adj2" fmla="val 190"/>
              <a:gd name="adj3" fmla="val -319774"/>
              <a:gd name="adj4" fmla="val -152622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619A</a:t>
            </a:r>
          </a:p>
        </p:txBody>
      </p:sp>
      <p:sp>
        <p:nvSpPr>
          <p:cNvPr id="44" name="Legende: Linie 43">
            <a:extLst>
              <a:ext uri="{FF2B5EF4-FFF2-40B4-BE49-F238E27FC236}">
                <a16:creationId xmlns:a16="http://schemas.microsoft.com/office/drawing/2014/main" id="{2D31839A-CC3A-3559-DCAC-0BEEECD60178}"/>
              </a:ext>
            </a:extLst>
          </p:cNvPr>
          <p:cNvSpPr/>
          <p:nvPr/>
        </p:nvSpPr>
        <p:spPr>
          <a:xfrm>
            <a:off x="10403840" y="3684693"/>
            <a:ext cx="1075200" cy="216747"/>
          </a:xfrm>
          <a:prstGeom prst="borderCallout1">
            <a:avLst>
              <a:gd name="adj1" fmla="val 100000"/>
              <a:gd name="adj2" fmla="val 50902"/>
              <a:gd name="adj3" fmla="val 490207"/>
              <a:gd name="adj4" fmla="val 74857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923A</a:t>
            </a:r>
          </a:p>
        </p:txBody>
      </p:sp>
      <p:sp>
        <p:nvSpPr>
          <p:cNvPr id="45" name="Legende: Linie 44">
            <a:extLst>
              <a:ext uri="{FF2B5EF4-FFF2-40B4-BE49-F238E27FC236}">
                <a16:creationId xmlns:a16="http://schemas.microsoft.com/office/drawing/2014/main" id="{8C4AA40C-173C-CD8B-8498-A2AF546B4682}"/>
              </a:ext>
            </a:extLst>
          </p:cNvPr>
          <p:cNvSpPr/>
          <p:nvPr/>
        </p:nvSpPr>
        <p:spPr>
          <a:xfrm>
            <a:off x="2275840" y="4833670"/>
            <a:ext cx="1075200" cy="216747"/>
          </a:xfrm>
          <a:prstGeom prst="borderCallout1">
            <a:avLst>
              <a:gd name="adj1" fmla="val 84895"/>
              <a:gd name="adj2" fmla="val 99622"/>
              <a:gd name="adj3" fmla="val 541247"/>
              <a:gd name="adj4" fmla="val 259295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503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AB7BD0-ED42-2D4A-D769-A90BD7FFDA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8316914" y="6607177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0EB1892-0917-4FA9-A029-51E69D69068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0E8972-1371-9E9C-CDF6-0DBBDF97B1FD}"/>
              </a:ext>
            </a:extLst>
          </p:cNvPr>
          <p:cNvSpPr txBox="1"/>
          <p:nvPr/>
        </p:nvSpPr>
        <p:spPr>
          <a:xfrm>
            <a:off x="10426724" y="5743787"/>
            <a:ext cx="2342394" cy="439158"/>
          </a:xfrm>
          <a:prstGeom prst="rect">
            <a:avLst/>
          </a:prstGeom>
          <a:solidFill>
            <a:srgbClr val="7BD471"/>
          </a:solidFill>
          <a:ln w="63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sz="1280" dirty="0">
                <a:solidFill>
                  <a:schemeClr val="bg1"/>
                </a:solidFill>
              </a:rPr>
              <a:t>beam </a:t>
            </a:r>
            <a:r>
              <a:rPr lang="de-DE" sz="1280" dirty="0" err="1">
                <a:solidFill>
                  <a:schemeClr val="bg1"/>
                </a:solidFill>
              </a:rPr>
              <a:t>line</a:t>
            </a:r>
            <a:r>
              <a:rPr lang="de-DE" sz="1280" dirty="0">
                <a:solidFill>
                  <a:schemeClr val="bg1"/>
                </a:solidFill>
              </a:rPr>
              <a:t> / </a:t>
            </a:r>
            <a:r>
              <a:rPr lang="de-DE" sz="1280" dirty="0" err="1">
                <a:solidFill>
                  <a:schemeClr val="bg1"/>
                </a:solidFill>
              </a:rPr>
              <a:t>utility</a:t>
            </a:r>
            <a:r>
              <a:rPr lang="de-DE" sz="1280" dirty="0">
                <a:solidFill>
                  <a:schemeClr val="bg1"/>
                </a:solidFill>
              </a:rPr>
              <a:t> </a:t>
            </a:r>
            <a:r>
              <a:rPr lang="de-DE" sz="1280" dirty="0" err="1">
                <a:solidFill>
                  <a:schemeClr val="bg1"/>
                </a:solidFill>
              </a:rPr>
              <a:t>distribution</a:t>
            </a:r>
            <a:br>
              <a:rPr lang="de-DE" sz="1280" dirty="0">
                <a:solidFill>
                  <a:schemeClr val="bg1"/>
                </a:solidFill>
              </a:rPr>
            </a:br>
            <a:r>
              <a:rPr lang="de-DE" sz="1280" dirty="0" err="1">
                <a:solidFill>
                  <a:schemeClr val="bg1"/>
                </a:solidFill>
              </a:rPr>
              <a:t>full</a:t>
            </a:r>
            <a:r>
              <a:rPr lang="de-DE" sz="1280" dirty="0">
                <a:solidFill>
                  <a:schemeClr val="bg1"/>
                </a:solidFill>
              </a:rPr>
              <a:t> </a:t>
            </a:r>
            <a:r>
              <a:rPr lang="de-DE" sz="1280" dirty="0" err="1">
                <a:solidFill>
                  <a:schemeClr val="bg1"/>
                </a:solidFill>
              </a:rPr>
              <a:t>configuration</a:t>
            </a:r>
            <a:r>
              <a:rPr lang="de-DE" sz="1280" dirty="0">
                <a:solidFill>
                  <a:schemeClr val="bg1"/>
                </a:solidFill>
              </a:rPr>
              <a:t> F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9A21BC8-C513-5021-F348-AA13F3AEB025}"/>
              </a:ext>
            </a:extLst>
          </p:cNvPr>
          <p:cNvSpPr txBox="1"/>
          <p:nvPr/>
        </p:nvSpPr>
        <p:spPr>
          <a:xfrm>
            <a:off x="10426724" y="6251111"/>
            <a:ext cx="2342394" cy="438029"/>
          </a:xfrm>
          <a:prstGeom prst="rect">
            <a:avLst/>
          </a:prstGeom>
          <a:solidFill>
            <a:srgbClr val="66789F"/>
          </a:solidFill>
          <a:ln w="63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sz="1280" dirty="0" err="1">
                <a:solidFill>
                  <a:schemeClr val="bg1"/>
                </a:solidFill>
              </a:rPr>
              <a:t>utility</a:t>
            </a:r>
            <a:r>
              <a:rPr lang="de-DE" sz="1280" dirty="0">
                <a:solidFill>
                  <a:schemeClr val="bg1"/>
                </a:solidFill>
              </a:rPr>
              <a:t> </a:t>
            </a:r>
            <a:r>
              <a:rPr lang="de-DE" sz="1280" dirty="0" err="1">
                <a:solidFill>
                  <a:schemeClr val="bg1"/>
                </a:solidFill>
              </a:rPr>
              <a:t>supply</a:t>
            </a:r>
            <a:r>
              <a:rPr lang="de-DE" sz="1280" dirty="0">
                <a:solidFill>
                  <a:schemeClr val="bg1"/>
                </a:solidFill>
              </a:rPr>
              <a:t> </a:t>
            </a:r>
            <a:br>
              <a:rPr lang="de-DE" sz="1280" dirty="0">
                <a:solidFill>
                  <a:schemeClr val="bg1"/>
                </a:solidFill>
              </a:rPr>
            </a:br>
            <a:r>
              <a:rPr lang="de-DE" sz="1280" dirty="0" err="1">
                <a:solidFill>
                  <a:schemeClr val="bg1"/>
                </a:solidFill>
              </a:rPr>
              <a:t>full</a:t>
            </a:r>
            <a:r>
              <a:rPr lang="de-DE" sz="1280" dirty="0">
                <a:solidFill>
                  <a:schemeClr val="bg1"/>
                </a:solidFill>
              </a:rPr>
              <a:t> </a:t>
            </a:r>
            <a:r>
              <a:rPr lang="de-DE" sz="1280" dirty="0" err="1">
                <a:solidFill>
                  <a:schemeClr val="bg1"/>
                </a:solidFill>
              </a:rPr>
              <a:t>configuration</a:t>
            </a:r>
            <a:r>
              <a:rPr lang="de-DE" sz="1280" dirty="0">
                <a:solidFill>
                  <a:schemeClr val="bg1"/>
                </a:solidFill>
              </a:rPr>
              <a:t> FS</a:t>
            </a:r>
          </a:p>
        </p:txBody>
      </p:sp>
      <p:sp>
        <p:nvSpPr>
          <p:cNvPr id="19" name="Textfeld 18">
            <a:hlinkClick r:id="rId4" action="ppaction://hlinksldjump"/>
            <a:extLst>
              <a:ext uri="{FF2B5EF4-FFF2-40B4-BE49-F238E27FC236}">
                <a16:creationId xmlns:a16="http://schemas.microsoft.com/office/drawing/2014/main" id="{6D40DD39-0E83-0C37-DAC8-A17C4061BA5C}"/>
              </a:ext>
            </a:extLst>
          </p:cNvPr>
          <p:cNvSpPr txBox="1"/>
          <p:nvPr/>
        </p:nvSpPr>
        <p:spPr>
          <a:xfrm>
            <a:off x="10426724" y="6757853"/>
            <a:ext cx="2342394" cy="438029"/>
          </a:xfrm>
          <a:prstGeom prst="rect">
            <a:avLst/>
          </a:prstGeom>
          <a:solidFill>
            <a:srgbClr val="F5D266"/>
          </a:solidFill>
          <a:ln w="63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sz="1280" dirty="0" err="1">
                <a:solidFill>
                  <a:schemeClr val="tx1"/>
                </a:solidFill>
              </a:rPr>
              <a:t>utility</a:t>
            </a:r>
            <a:r>
              <a:rPr lang="de-DE" sz="1280" dirty="0">
                <a:solidFill>
                  <a:schemeClr val="tx1"/>
                </a:solidFill>
              </a:rPr>
              <a:t> </a:t>
            </a:r>
            <a:r>
              <a:rPr lang="de-DE" sz="1280" dirty="0" err="1">
                <a:solidFill>
                  <a:schemeClr val="tx1"/>
                </a:solidFill>
              </a:rPr>
              <a:t>supply</a:t>
            </a:r>
            <a:br>
              <a:rPr lang="de-DE" sz="1280" dirty="0">
                <a:solidFill>
                  <a:schemeClr val="tx1"/>
                </a:solidFill>
              </a:rPr>
            </a:br>
            <a:r>
              <a:rPr lang="de-DE" sz="1280" dirty="0" err="1">
                <a:solidFill>
                  <a:schemeClr val="tx1"/>
                </a:solidFill>
              </a:rPr>
              <a:t>reduced</a:t>
            </a:r>
            <a:r>
              <a:rPr lang="de-DE" sz="1280" dirty="0">
                <a:solidFill>
                  <a:schemeClr val="tx1"/>
                </a:solidFill>
              </a:rPr>
              <a:t> </a:t>
            </a:r>
            <a:r>
              <a:rPr lang="de-DE" sz="1280" dirty="0" err="1">
                <a:solidFill>
                  <a:schemeClr val="tx1"/>
                </a:solidFill>
              </a:rPr>
              <a:t>configuration</a:t>
            </a:r>
            <a:r>
              <a:rPr lang="de-DE" sz="1280" dirty="0">
                <a:solidFill>
                  <a:schemeClr val="tx1"/>
                </a:solidFill>
              </a:rPr>
              <a:t> F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E1CC18B-3A2E-A1D0-471B-3B62C9CBE1A0}"/>
              </a:ext>
            </a:extLst>
          </p:cNvPr>
          <p:cNvSpPr txBox="1"/>
          <p:nvPr/>
        </p:nvSpPr>
        <p:spPr>
          <a:xfrm>
            <a:off x="10426724" y="7267620"/>
            <a:ext cx="2342394" cy="440320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sz="1280" dirty="0" err="1">
                <a:solidFill>
                  <a:srgbClr val="FF0000"/>
                </a:solidFill>
              </a:rPr>
              <a:t>beamline</a:t>
            </a:r>
            <a:endParaRPr lang="de-DE" sz="1280" dirty="0">
              <a:solidFill>
                <a:srgbClr val="FF0000"/>
              </a:solidFill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827887B-1DBE-94CD-2CBA-CF6EA20BE066}"/>
              </a:ext>
            </a:extLst>
          </p:cNvPr>
          <p:cNvCxnSpPr>
            <a:cxnSpLocks/>
          </p:cNvCxnSpPr>
          <p:nvPr/>
        </p:nvCxnSpPr>
        <p:spPr>
          <a:xfrm>
            <a:off x="10535097" y="7475536"/>
            <a:ext cx="5120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FBBD392-34BC-4C10-5734-585093E38BBC}"/>
              </a:ext>
            </a:extLst>
          </p:cNvPr>
          <p:cNvCxnSpPr>
            <a:cxnSpLocks/>
          </p:cNvCxnSpPr>
          <p:nvPr/>
        </p:nvCxnSpPr>
        <p:spPr>
          <a:xfrm>
            <a:off x="12160697" y="7477760"/>
            <a:ext cx="460800" cy="0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Legende: Linie 3">
            <a:extLst>
              <a:ext uri="{FF2B5EF4-FFF2-40B4-BE49-F238E27FC236}">
                <a16:creationId xmlns:a16="http://schemas.microsoft.com/office/drawing/2014/main" id="{A20C731A-A66E-79AB-8EAC-2EEB51EBA16B}"/>
              </a:ext>
            </a:extLst>
          </p:cNvPr>
          <p:cNvSpPr/>
          <p:nvPr/>
        </p:nvSpPr>
        <p:spPr>
          <a:xfrm>
            <a:off x="4163974" y="4942043"/>
            <a:ext cx="1075200" cy="216747"/>
          </a:xfrm>
          <a:prstGeom prst="borderCallout1">
            <a:avLst>
              <a:gd name="adj1" fmla="val 50000"/>
              <a:gd name="adj2" fmla="val 100290"/>
              <a:gd name="adj3" fmla="val 36561"/>
              <a:gd name="adj4" fmla="val 161670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K0617A</a:t>
            </a:r>
          </a:p>
        </p:txBody>
      </p:sp>
      <p:sp>
        <p:nvSpPr>
          <p:cNvPr id="8" name="Legende: Linie 7">
            <a:hlinkClick r:id="rId4" action="ppaction://hlinksldjump"/>
            <a:extLst>
              <a:ext uri="{FF2B5EF4-FFF2-40B4-BE49-F238E27FC236}">
                <a16:creationId xmlns:a16="http://schemas.microsoft.com/office/drawing/2014/main" id="{9F34EEC7-9FB3-A168-5AF3-0FA995433FF7}"/>
              </a:ext>
            </a:extLst>
          </p:cNvPr>
          <p:cNvSpPr/>
          <p:nvPr/>
        </p:nvSpPr>
        <p:spPr>
          <a:xfrm>
            <a:off x="4594449" y="8778240"/>
            <a:ext cx="1075200" cy="216747"/>
          </a:xfrm>
          <a:prstGeom prst="borderCallout1">
            <a:avLst>
              <a:gd name="adj1" fmla="val 0"/>
              <a:gd name="adj2" fmla="val 52179"/>
              <a:gd name="adj3" fmla="val -588440"/>
              <a:gd name="adj4" fmla="val -70780"/>
            </a:avLst>
          </a:prstGeom>
          <a:solidFill>
            <a:srgbClr val="F4D26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>
                <a:solidFill>
                  <a:schemeClr val="tx1"/>
                </a:solidFill>
              </a:rPr>
              <a:t>L0317A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5617C2-E3D2-9BD4-5337-3B9AE02A0D2D}"/>
              </a:ext>
            </a:extLst>
          </p:cNvPr>
          <p:cNvSpPr txBox="1"/>
          <p:nvPr/>
        </p:nvSpPr>
        <p:spPr>
          <a:xfrm>
            <a:off x="3917116" y="8938351"/>
            <a:ext cx="2441284" cy="245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96" dirty="0">
                <a:solidFill>
                  <a:srgbClr val="FF0000"/>
                </a:solidFill>
              </a:rPr>
              <a:t>Optionsgebäude</a:t>
            </a:r>
          </a:p>
        </p:txBody>
      </p:sp>
      <p:sp>
        <p:nvSpPr>
          <p:cNvPr id="5" name="Legende: Linie 4">
            <a:hlinkClick r:id="rId4" action="ppaction://hlinksldjump"/>
            <a:extLst>
              <a:ext uri="{FF2B5EF4-FFF2-40B4-BE49-F238E27FC236}">
                <a16:creationId xmlns:a16="http://schemas.microsoft.com/office/drawing/2014/main" id="{505E5315-6C7A-0457-AC3A-3B7A0806FBE3}"/>
              </a:ext>
            </a:extLst>
          </p:cNvPr>
          <p:cNvSpPr/>
          <p:nvPr/>
        </p:nvSpPr>
        <p:spPr>
          <a:xfrm>
            <a:off x="8347954" y="6719147"/>
            <a:ext cx="1075200" cy="216747"/>
          </a:xfrm>
          <a:prstGeom prst="borderCallout1">
            <a:avLst>
              <a:gd name="adj1" fmla="val 50000"/>
              <a:gd name="adj2" fmla="val -108"/>
              <a:gd name="adj3" fmla="val -348856"/>
              <a:gd name="adj4" fmla="val -94403"/>
            </a:avLst>
          </a:prstGeom>
          <a:solidFill>
            <a:srgbClr val="F5D26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>
                <a:solidFill>
                  <a:schemeClr val="tx1"/>
                </a:solidFill>
              </a:rPr>
              <a:t>L0608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5DF81B4-0FD6-6BFC-36E6-8AAC3E5FC63D}"/>
              </a:ext>
            </a:extLst>
          </p:cNvPr>
          <p:cNvSpPr txBox="1"/>
          <p:nvPr/>
        </p:nvSpPr>
        <p:spPr>
          <a:xfrm>
            <a:off x="7664912" y="6884799"/>
            <a:ext cx="2441284" cy="245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96" dirty="0">
                <a:solidFill>
                  <a:srgbClr val="FF0000"/>
                </a:solidFill>
              </a:rPr>
              <a:t>Optionsgebäude</a:t>
            </a:r>
          </a:p>
        </p:txBody>
      </p:sp>
      <p:sp>
        <p:nvSpPr>
          <p:cNvPr id="31" name="Legende: Linie 30">
            <a:extLst>
              <a:ext uri="{FF2B5EF4-FFF2-40B4-BE49-F238E27FC236}">
                <a16:creationId xmlns:a16="http://schemas.microsoft.com/office/drawing/2014/main" id="{7C72EE23-B9C3-DAA6-17D1-4D0FF79CFE8F}"/>
              </a:ext>
            </a:extLst>
          </p:cNvPr>
          <p:cNvSpPr/>
          <p:nvPr/>
        </p:nvSpPr>
        <p:spPr>
          <a:xfrm>
            <a:off x="4594449" y="2526726"/>
            <a:ext cx="1075200" cy="216747"/>
          </a:xfrm>
          <a:prstGeom prst="borderCallout1">
            <a:avLst>
              <a:gd name="adj1" fmla="val 99480"/>
              <a:gd name="adj2" fmla="val 49368"/>
              <a:gd name="adj3" fmla="val 828748"/>
              <a:gd name="adj4" fmla="val 90274"/>
            </a:avLst>
          </a:prstGeom>
          <a:solidFill>
            <a:srgbClr val="7BD47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H0705A</a:t>
            </a:r>
          </a:p>
        </p:txBody>
      </p:sp>
      <p:sp>
        <p:nvSpPr>
          <p:cNvPr id="32" name="Legende: Linie 31">
            <a:extLst>
              <a:ext uri="{FF2B5EF4-FFF2-40B4-BE49-F238E27FC236}">
                <a16:creationId xmlns:a16="http://schemas.microsoft.com/office/drawing/2014/main" id="{C6924CC0-410A-2E8E-19E8-2B7EEC4A9358}"/>
              </a:ext>
            </a:extLst>
          </p:cNvPr>
          <p:cNvSpPr/>
          <p:nvPr/>
        </p:nvSpPr>
        <p:spPr>
          <a:xfrm>
            <a:off x="4009813" y="2874539"/>
            <a:ext cx="1075200" cy="216747"/>
          </a:xfrm>
          <a:prstGeom prst="borderCallout1">
            <a:avLst>
              <a:gd name="adj1" fmla="val 101562"/>
              <a:gd name="adj2" fmla="val 49196"/>
              <a:gd name="adj3" fmla="val 423539"/>
              <a:gd name="adj4" fmla="val 96177"/>
            </a:avLst>
          </a:prstGeom>
          <a:solidFill>
            <a:srgbClr val="66789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7" dirty="0"/>
              <a:t>G0704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7F9C290-4C09-4D8C-A2A2-75FACB4EA5C4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1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Overall Operation Concept</a:t>
            </a:r>
          </a:p>
        </p:txBody>
      </p:sp>
    </p:spTree>
    <p:extLst>
      <p:ext uri="{BB962C8B-B14F-4D97-AF65-F5344CB8AC3E}">
        <p14:creationId xmlns:p14="http://schemas.microsoft.com/office/powerpoint/2010/main" val="396629757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FA1EAA4-0E35-465B-BDC6-E9A48561F918}"/>
              </a:ext>
            </a:extLst>
          </p:cNvPr>
          <p:cNvSpPr txBox="1"/>
          <p:nvPr/>
        </p:nvSpPr>
        <p:spPr>
          <a:xfrm>
            <a:off x="7144772" y="1767840"/>
            <a:ext cx="5442516" cy="419602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800">
                <a:solidFill>
                  <a:srgbClr val="00599D"/>
                </a:solidFill>
              </a:defRPr>
            </a:lvl1pPr>
          </a:lstStyle>
          <a:p>
            <a:r>
              <a:rPr lang="de-DE" dirty="0"/>
              <a:t>The </a:t>
            </a:r>
            <a:r>
              <a:rPr lang="de-DE" dirty="0" err="1"/>
              <a:t>complex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facilities</a:t>
            </a:r>
            <a:r>
              <a:rPr lang="de-DE" dirty="0"/>
              <a:t> </a:t>
            </a:r>
            <a:r>
              <a:rPr lang="de-DE" dirty="0" err="1"/>
              <a:t>requires</a:t>
            </a:r>
            <a:r>
              <a:rPr lang="de-DE" dirty="0"/>
              <a:t> a</a:t>
            </a:r>
          </a:p>
          <a:p>
            <a:r>
              <a:rPr lang="de-DE" dirty="0" err="1"/>
              <a:t>systematic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missioning</a:t>
            </a:r>
            <a:r>
              <a:rPr lang="de-DE" dirty="0"/>
              <a:t> </a:t>
            </a:r>
            <a:r>
              <a:rPr lang="de-DE" dirty="0" err="1"/>
              <a:t>activiti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atic</a:t>
            </a:r>
            <a:r>
              <a:rPr lang="de-DE" dirty="0"/>
              <a:t> </a:t>
            </a:r>
            <a:r>
              <a:rPr lang="de-DE" dirty="0" err="1"/>
              <a:t>dependencie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ifferent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faciliti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consis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pprox</a:t>
            </a:r>
            <a:r>
              <a:rPr lang="de-DE" dirty="0"/>
              <a:t>. 3.000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facilities</a:t>
            </a:r>
            <a:r>
              <a:rPr lang="de-DE" dirty="0"/>
              <a:t> </a:t>
            </a:r>
            <a:r>
              <a:rPr lang="de-DE" dirty="0" err="1"/>
              <a:t>combining</a:t>
            </a:r>
            <a:r>
              <a:rPr lang="de-DE" dirty="0"/>
              <a:t> </a:t>
            </a:r>
            <a:r>
              <a:rPr lang="de-DE" dirty="0" err="1"/>
              <a:t>approx</a:t>
            </a:r>
            <a:r>
              <a:rPr lang="de-DE" dirty="0"/>
              <a:t>. 107.000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.</a:t>
            </a:r>
          </a:p>
        </p:txBody>
      </p:sp>
      <p:pic>
        <p:nvPicPr>
          <p:cNvPr id="3" name="Grafik 2" descr="Ein Bild, das Text, Handschrift, Dokument enthält.&#10;&#10;Automatisch generierte Beschreibung">
            <a:extLst>
              <a:ext uri="{FF2B5EF4-FFF2-40B4-BE49-F238E27FC236}">
                <a16:creationId xmlns:a16="http://schemas.microsoft.com/office/drawing/2014/main" id="{628503D4-818D-4C85-AC8E-23D3A6B4B4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518" y="1436914"/>
            <a:ext cx="6282105" cy="7745967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6E6C9357-3038-46E8-AEED-D79A2B5B9B3C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1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  <a:p>
            <a:pPr marL="57150" eaLnBrk="0" hangingPunct="0"/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7F8B0C1-DC66-45AE-B14C-BC3882C663E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3312793"/>
              </p:ext>
            </p:extLst>
          </p:nvPr>
        </p:nvGraphicFramePr>
        <p:xfrm>
          <a:off x="9639259" y="8514549"/>
          <a:ext cx="3057525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Objekt-Manager-Shellobjekt" showAsIcon="1" r:id="rId5" imgW="3057805" imgH="514350" progId="Package">
                  <p:embed/>
                </p:oleObj>
              </mc:Choice>
              <mc:Fallback>
                <p:oleObj name="Objekt-Manager-Shellobjekt" showAsIcon="1" r:id="rId5" imgW="3057805" imgH="51435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9259" y="8514549"/>
                        <a:ext cx="3057525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16241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iagramm, Screenshot, Text, Reihe enthält.&#10;&#10;Automatisch generierte Beschreibung">
            <a:extLst>
              <a:ext uri="{FF2B5EF4-FFF2-40B4-BE49-F238E27FC236}">
                <a16:creationId xmlns:a16="http://schemas.microsoft.com/office/drawing/2014/main" id="{099ACBFF-5272-413C-80A4-BA927296EA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6" y="2841810"/>
            <a:ext cx="12251127" cy="385943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FFB0860-F4E0-445A-886E-3420F724FEA2}"/>
              </a:ext>
            </a:extLst>
          </p:cNvPr>
          <p:cNvSpPr txBox="1"/>
          <p:nvPr/>
        </p:nvSpPr>
        <p:spPr>
          <a:xfrm>
            <a:off x="488950" y="8256929"/>
            <a:ext cx="10855235" cy="87203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800">
                <a:solidFill>
                  <a:srgbClr val="00599D"/>
                </a:solidFill>
              </a:defRPr>
            </a:lvl1pPr>
          </a:lstStyle>
          <a:p>
            <a:r>
              <a:rPr lang="de-DE" dirty="0"/>
              <a:t>PDB = </a:t>
            </a:r>
            <a:r>
              <a:rPr lang="de-DE" dirty="0" err="1"/>
              <a:t>Planning</a:t>
            </a:r>
            <a:r>
              <a:rPr lang="de-DE" dirty="0"/>
              <a:t> Database FSB</a:t>
            </a:r>
          </a:p>
          <a:p>
            <a:r>
              <a:rPr lang="de-DE" dirty="0"/>
              <a:t>CDB = Components Database </a:t>
            </a:r>
            <a:r>
              <a:rPr lang="de-DE" dirty="0" err="1"/>
              <a:t>Owner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95DB4E-77C7-43C7-975B-30F027EC210A}"/>
              </a:ext>
            </a:extLst>
          </p:cNvPr>
          <p:cNvSpPr/>
          <p:nvPr/>
        </p:nvSpPr>
        <p:spPr bwMode="auto">
          <a:xfrm>
            <a:off x="805742" y="7181850"/>
            <a:ext cx="2462168" cy="407851"/>
          </a:xfrm>
          <a:prstGeom prst="rect">
            <a:avLst/>
          </a:prstGeom>
          <a:solidFill>
            <a:srgbClr val="98009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Power Supply</a:t>
            </a: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3BF92F7-DBE4-4CB5-81DB-667F45B8C69D}"/>
              </a:ext>
            </a:extLst>
          </p:cNvPr>
          <p:cNvSpPr/>
          <p:nvPr/>
        </p:nvSpPr>
        <p:spPr bwMode="auto">
          <a:xfrm>
            <a:off x="3757984" y="7181850"/>
            <a:ext cx="2462168" cy="407851"/>
          </a:xfrm>
          <a:prstGeom prst="rect">
            <a:avLst/>
          </a:prstGeom>
          <a:solidFill>
            <a:srgbClr val="1998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Building Automation </a:t>
            </a: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B954BB1-D921-42A8-8397-C96F97CEB9E7}"/>
              </a:ext>
            </a:extLst>
          </p:cNvPr>
          <p:cNvSpPr/>
          <p:nvPr/>
        </p:nvSpPr>
        <p:spPr bwMode="auto">
          <a:xfrm>
            <a:off x="6763945" y="7181849"/>
            <a:ext cx="2462168" cy="407851"/>
          </a:xfrm>
          <a:prstGeom prst="rect">
            <a:avLst/>
          </a:prstGeom>
          <a:solidFill>
            <a:srgbClr val="0000CA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dirty="0" err="1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eating</a:t>
            </a:r>
            <a:r>
              <a:rPr lang="de-DE" sz="1800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/ Cooling</a:t>
            </a: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227807D-9D47-4767-A017-AA3FEA819FBA}"/>
              </a:ext>
            </a:extLst>
          </p:cNvPr>
          <p:cNvSpPr/>
          <p:nvPr/>
        </p:nvSpPr>
        <p:spPr bwMode="auto">
          <a:xfrm>
            <a:off x="9716187" y="7181850"/>
            <a:ext cx="2462168" cy="4078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dirty="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ustomer Equipment</a:t>
            </a: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1394973-035D-4420-BD29-4F1F7E853EF4}"/>
              </a:ext>
            </a:extLst>
          </p:cNvPr>
          <p:cNvSpPr txBox="1"/>
          <p:nvPr/>
        </p:nvSpPr>
        <p:spPr>
          <a:xfrm>
            <a:off x="488950" y="1644383"/>
            <a:ext cx="120983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002060"/>
                </a:solidFill>
              </a:rPr>
              <a:t>Interface </a:t>
            </a:r>
            <a:r>
              <a:rPr lang="de-DE" dirty="0" err="1">
                <a:solidFill>
                  <a:srgbClr val="002060"/>
                </a:solidFill>
              </a:rPr>
              <a:t>matrix</a:t>
            </a:r>
            <a:r>
              <a:rPr lang="de-DE" dirty="0">
                <a:solidFill>
                  <a:srgbClr val="002060"/>
                </a:solidFill>
              </a:rPr>
              <a:t> PDB-CDB (TGA - Customer)</a:t>
            </a:r>
          </a:p>
          <a:p>
            <a:pPr algn="ctr"/>
            <a:r>
              <a:rPr lang="de-DE" dirty="0" err="1">
                <a:solidFill>
                  <a:srgbClr val="002060"/>
                </a:solidFill>
              </a:rPr>
              <a:t>Example</a:t>
            </a:r>
            <a:r>
              <a:rPr lang="de-DE" dirty="0">
                <a:solidFill>
                  <a:srgbClr val="002060"/>
                </a:solidFill>
              </a:rPr>
              <a:t> T1S1MH01 (</a:t>
            </a:r>
            <a:r>
              <a:rPr lang="de-DE" dirty="0" err="1">
                <a:solidFill>
                  <a:srgbClr val="002060"/>
                </a:solidFill>
              </a:rPr>
              <a:t>magnet</a:t>
            </a:r>
            <a:r>
              <a:rPr lang="de-DE" dirty="0">
                <a:solidFill>
                  <a:srgbClr val="002060"/>
                </a:solidFill>
              </a:rPr>
              <a:t> </a:t>
            </a:r>
            <a:r>
              <a:rPr lang="de-DE" dirty="0" err="1">
                <a:solidFill>
                  <a:srgbClr val="002060"/>
                </a:solidFill>
              </a:rPr>
              <a:t>with</a:t>
            </a:r>
            <a:r>
              <a:rPr lang="de-DE" dirty="0">
                <a:solidFill>
                  <a:srgbClr val="002060"/>
                </a:solidFill>
              </a:rPr>
              <a:t> power </a:t>
            </a:r>
            <a:r>
              <a:rPr lang="de-DE" dirty="0" err="1">
                <a:solidFill>
                  <a:srgbClr val="002060"/>
                </a:solidFill>
              </a:rPr>
              <a:t>supply</a:t>
            </a:r>
            <a:r>
              <a:rPr lang="de-DE" dirty="0">
                <a:solidFill>
                  <a:srgbClr val="002060"/>
                </a:solidFill>
              </a:rPr>
              <a:t> and </a:t>
            </a:r>
            <a:r>
              <a:rPr lang="de-DE" dirty="0" err="1">
                <a:solidFill>
                  <a:srgbClr val="002060"/>
                </a:solidFill>
              </a:rPr>
              <a:t>rack</a:t>
            </a:r>
            <a:r>
              <a:rPr lang="de-DE" dirty="0">
                <a:solidFill>
                  <a:srgbClr val="002060"/>
                </a:solidFill>
              </a:rPr>
              <a:t>)</a:t>
            </a:r>
          </a:p>
          <a:p>
            <a:pPr algn="ctr"/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B6C007-3E80-4EE1-B7DD-0E652D89FC35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1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  <a:p>
            <a:pPr marL="57150" eaLnBrk="0" hangingPunct="0"/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22EF7442-DE6E-4EC4-9ACB-3EAC85179DB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6779805"/>
              </p:ext>
            </p:extLst>
          </p:nvPr>
        </p:nvGraphicFramePr>
        <p:xfrm>
          <a:off x="10947271" y="8502630"/>
          <a:ext cx="1485900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Objekt-Manager-Shellobjekt" showAsIcon="1" r:id="rId4" imgW="1485740" imgH="514350" progId="Package">
                  <p:embed/>
                </p:oleObj>
              </mc:Choice>
              <mc:Fallback>
                <p:oleObj name="Objekt-Manager-Shellobjekt" showAsIcon="1" r:id="rId4" imgW="1485740" imgH="51435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947271" y="8502630"/>
                        <a:ext cx="1485900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466179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EA886F0-F9DF-4D1B-9502-485F11DE1D9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56" y="1769479"/>
            <a:ext cx="9190534" cy="631233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431A752-896A-4AA5-9989-FDE80EB78DD0}"/>
              </a:ext>
            </a:extLst>
          </p:cNvPr>
          <p:cNvSpPr txBox="1"/>
          <p:nvPr/>
        </p:nvSpPr>
        <p:spPr>
          <a:xfrm>
            <a:off x="9286043" y="1982261"/>
            <a:ext cx="3543267" cy="544251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de-DE" sz="1800" dirty="0">
                <a:solidFill>
                  <a:srgbClr val="00599D"/>
                </a:solidFill>
              </a:rPr>
              <a:t>The </a:t>
            </a:r>
            <a:r>
              <a:rPr lang="de-DE" sz="1800" dirty="0" err="1">
                <a:solidFill>
                  <a:srgbClr val="00599D"/>
                </a:solidFill>
              </a:rPr>
              <a:t>commissioning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process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of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each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technical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facility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consists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br>
              <a:rPr lang="de-DE" sz="1800" dirty="0">
                <a:solidFill>
                  <a:srgbClr val="00599D"/>
                </a:solidFill>
              </a:rPr>
            </a:br>
            <a:r>
              <a:rPr lang="de-DE" sz="1800" dirty="0" err="1">
                <a:solidFill>
                  <a:srgbClr val="00599D"/>
                </a:solidFill>
              </a:rPr>
              <a:t>of</a:t>
            </a:r>
            <a:r>
              <a:rPr lang="de-DE" sz="1800" dirty="0">
                <a:solidFill>
                  <a:srgbClr val="00599D"/>
                </a:solidFill>
              </a:rPr>
              <a:t> 7 </a:t>
            </a:r>
            <a:r>
              <a:rPr lang="de-DE" sz="1800" dirty="0" err="1">
                <a:solidFill>
                  <a:srgbClr val="00599D"/>
                </a:solidFill>
              </a:rPr>
              <a:t>phases</a:t>
            </a:r>
            <a:r>
              <a:rPr lang="de-DE" sz="1800" dirty="0">
                <a:solidFill>
                  <a:srgbClr val="00599D"/>
                </a:solidFill>
              </a:rPr>
              <a:t>:</a:t>
            </a:r>
          </a:p>
          <a:p>
            <a:pPr algn="l">
              <a:lnSpc>
                <a:spcPct val="150000"/>
              </a:lnSpc>
            </a:pP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Design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Construction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Construction </a:t>
            </a:r>
            <a:r>
              <a:rPr lang="de-DE" sz="1800" dirty="0" err="1">
                <a:solidFill>
                  <a:srgbClr val="00599D"/>
                </a:solidFill>
              </a:rPr>
              <a:t>verification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Internal </a:t>
            </a:r>
            <a:r>
              <a:rPr lang="de-DE" sz="1800" dirty="0" err="1">
                <a:solidFill>
                  <a:srgbClr val="00599D"/>
                </a:solidFill>
              </a:rPr>
              <a:t>commissioning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Integrated </a:t>
            </a:r>
            <a:r>
              <a:rPr lang="de-DE" sz="1800" dirty="0" err="1">
                <a:solidFill>
                  <a:srgbClr val="00599D"/>
                </a:solidFill>
              </a:rPr>
              <a:t>commissioining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Plant-</a:t>
            </a:r>
            <a:r>
              <a:rPr lang="de-DE" sz="1800" dirty="0" err="1">
                <a:solidFill>
                  <a:srgbClr val="00599D"/>
                </a:solidFill>
              </a:rPr>
              <a:t>wide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commissioing</a:t>
            </a:r>
            <a:r>
              <a:rPr lang="de-DE" sz="1800" dirty="0">
                <a:solidFill>
                  <a:srgbClr val="00599D"/>
                </a:solidFill>
              </a:rPr>
              <a:t> and </a:t>
            </a:r>
            <a:r>
              <a:rPr lang="de-DE" sz="1800" dirty="0" err="1">
                <a:solidFill>
                  <a:srgbClr val="00599D"/>
                </a:solidFill>
              </a:rPr>
              <a:t>testing</a:t>
            </a:r>
            <a:r>
              <a:rPr lang="de-DE" sz="1800" dirty="0">
                <a:solidFill>
                  <a:srgbClr val="00599D"/>
                </a:solidFill>
              </a:rPr>
              <a:t> (</a:t>
            </a:r>
            <a:r>
              <a:rPr lang="de-DE" sz="1800" dirty="0" err="1">
                <a:solidFill>
                  <a:srgbClr val="00599D"/>
                </a:solidFill>
              </a:rPr>
              <a:t>approval</a:t>
            </a:r>
            <a:r>
              <a:rPr lang="de-DE" sz="1800" dirty="0">
                <a:solidFill>
                  <a:srgbClr val="00599D"/>
                </a:solidFill>
              </a:rPr>
              <a:t>)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Start-up and </a:t>
            </a:r>
            <a:r>
              <a:rPr lang="de-DE" sz="1800" dirty="0" err="1">
                <a:solidFill>
                  <a:srgbClr val="00599D"/>
                </a:solidFill>
              </a:rPr>
              <a:t>operation</a:t>
            </a:r>
            <a:endParaRPr lang="de-DE" sz="1800" dirty="0">
              <a:solidFill>
                <a:srgbClr val="00599D"/>
              </a:solidFill>
            </a:endParaRPr>
          </a:p>
          <a:p>
            <a:pPr algn="l">
              <a:lnSpc>
                <a:spcPct val="150000"/>
              </a:lnSpc>
            </a:pPr>
            <a:endParaRPr lang="de-DE" sz="1800" dirty="0">
              <a:solidFill>
                <a:srgbClr val="00599D"/>
              </a:solidFill>
            </a:endParaRPr>
          </a:p>
        </p:txBody>
      </p:sp>
      <p:pic>
        <p:nvPicPr>
          <p:cNvPr id="3" name="Grafik 2">
            <a:hlinkClick r:id="rId4"/>
            <a:extLst>
              <a:ext uri="{FF2B5EF4-FFF2-40B4-BE49-F238E27FC236}">
                <a16:creationId xmlns:a16="http://schemas.microsoft.com/office/drawing/2014/main" id="{3A9D6FB1-B605-AE8E-7B28-667179F41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73825" y="8255773"/>
            <a:ext cx="1253111" cy="861774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BBE3ED9-6782-488D-8557-62A62B393D35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1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  <a:p>
            <a:pPr marL="57150" eaLnBrk="0" hangingPunct="0"/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Process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247475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EA886F0-F9DF-4D1B-9502-485F11DE1D9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56" y="1769479"/>
            <a:ext cx="9190534" cy="6312339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A8A33907-00F3-4940-92DC-74F0E4AA4156}"/>
              </a:ext>
            </a:extLst>
          </p:cNvPr>
          <p:cNvSpPr/>
          <p:nvPr/>
        </p:nvSpPr>
        <p:spPr bwMode="auto">
          <a:xfrm>
            <a:off x="733425" y="2119313"/>
            <a:ext cx="2028824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I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C8A5750-94A1-44F4-8655-E6286C9B104C}"/>
              </a:ext>
            </a:extLst>
          </p:cNvPr>
          <p:cNvSpPr/>
          <p:nvPr/>
        </p:nvSpPr>
        <p:spPr bwMode="auto">
          <a:xfrm>
            <a:off x="2828925" y="2119312"/>
            <a:ext cx="442913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II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6A3435-7245-4942-89A7-7C846F1FD385}"/>
              </a:ext>
            </a:extLst>
          </p:cNvPr>
          <p:cNvSpPr/>
          <p:nvPr/>
        </p:nvSpPr>
        <p:spPr bwMode="auto">
          <a:xfrm>
            <a:off x="3314698" y="2119312"/>
            <a:ext cx="442913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III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D3425BF-A269-4B43-8907-51A72A7D807D}"/>
              </a:ext>
            </a:extLst>
          </p:cNvPr>
          <p:cNvSpPr/>
          <p:nvPr/>
        </p:nvSpPr>
        <p:spPr bwMode="auto">
          <a:xfrm>
            <a:off x="3824287" y="2119311"/>
            <a:ext cx="1295401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IV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1DDB87-0B69-41E9-84B9-F17161C50EFA}"/>
              </a:ext>
            </a:extLst>
          </p:cNvPr>
          <p:cNvSpPr/>
          <p:nvPr/>
        </p:nvSpPr>
        <p:spPr bwMode="auto">
          <a:xfrm>
            <a:off x="5183625" y="2119310"/>
            <a:ext cx="1318775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500" b="1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V</a:t>
            </a:r>
            <a:endParaRPr kumimoji="0" lang="de-DE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CF07731-C4D0-4F8D-9BBF-CC43DCB77A2B}"/>
              </a:ext>
            </a:extLst>
          </p:cNvPr>
          <p:cNvSpPr/>
          <p:nvPr/>
        </p:nvSpPr>
        <p:spPr bwMode="auto">
          <a:xfrm>
            <a:off x="6556813" y="2119310"/>
            <a:ext cx="1362075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500" b="1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VI</a:t>
            </a:r>
            <a:endParaRPr kumimoji="0" lang="de-DE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59D1C14-AC2B-4A3A-B40C-EF0F71DC78BC}"/>
              </a:ext>
            </a:extLst>
          </p:cNvPr>
          <p:cNvSpPr/>
          <p:nvPr/>
        </p:nvSpPr>
        <p:spPr bwMode="auto">
          <a:xfrm>
            <a:off x="7976915" y="2119310"/>
            <a:ext cx="1127563" cy="295275"/>
          </a:xfrm>
          <a:prstGeom prst="rect">
            <a:avLst/>
          </a:prstGeom>
          <a:solidFill>
            <a:srgbClr val="BE00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500" b="1" dirty="0">
                <a:solidFill>
                  <a:schemeClr val="bg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VII</a:t>
            </a:r>
            <a:endParaRPr kumimoji="0" lang="de-DE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86878D3-F764-432B-A343-E151BA456D63}"/>
              </a:ext>
            </a:extLst>
          </p:cNvPr>
          <p:cNvSpPr/>
          <p:nvPr/>
        </p:nvSpPr>
        <p:spPr bwMode="auto">
          <a:xfrm>
            <a:off x="733425" y="2471738"/>
            <a:ext cx="8371053" cy="585787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FSB 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mmissioning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M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anagemen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B9681F6-20F9-4827-AAC2-DACA82BE594F}"/>
              </a:ext>
            </a:extLst>
          </p:cNvPr>
          <p:cNvSpPr/>
          <p:nvPr/>
        </p:nvSpPr>
        <p:spPr bwMode="auto">
          <a:xfrm>
            <a:off x="733425" y="3126437"/>
            <a:ext cx="8371053" cy="1512238"/>
          </a:xfrm>
          <a:prstGeom prst="rect">
            <a:avLst/>
          </a:prstGeom>
          <a:solidFill>
            <a:srgbClr val="D3830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ntractor</a:t>
            </a:r>
            <a:endParaRPr lang="de-DE" sz="1600" dirty="0"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Design, Construction, 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mmissioning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469EE99-1F42-444D-A025-82B68E27A8E2}"/>
              </a:ext>
            </a:extLst>
          </p:cNvPr>
          <p:cNvSpPr/>
          <p:nvPr/>
        </p:nvSpPr>
        <p:spPr bwMode="auto">
          <a:xfrm>
            <a:off x="733424" y="4688537"/>
            <a:ext cx="3024187" cy="585787"/>
          </a:xfrm>
          <a:prstGeom prst="rect">
            <a:avLst/>
          </a:prstGeom>
          <a:solidFill>
            <a:srgbClr val="DAEA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Technical 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E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xperts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design/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construction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)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13D01A3-9AC0-4F6E-8F2F-657DE578E363}"/>
              </a:ext>
            </a:extLst>
          </p:cNvPr>
          <p:cNvSpPr/>
          <p:nvPr/>
        </p:nvSpPr>
        <p:spPr bwMode="auto">
          <a:xfrm>
            <a:off x="3824287" y="4688537"/>
            <a:ext cx="5280191" cy="585787"/>
          </a:xfrm>
          <a:prstGeom prst="rect">
            <a:avLst/>
          </a:prstGeom>
          <a:solidFill>
            <a:srgbClr val="DAEA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Technical 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Experts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and 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Authorities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tests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and 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acceptance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)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E3F4217-FD7B-4566-A258-1DE148374C42}"/>
              </a:ext>
            </a:extLst>
          </p:cNvPr>
          <p:cNvSpPr/>
          <p:nvPr/>
        </p:nvSpPr>
        <p:spPr bwMode="auto">
          <a:xfrm>
            <a:off x="733424" y="5593412"/>
            <a:ext cx="2050257" cy="704994"/>
          </a:xfrm>
          <a:prstGeom prst="rect">
            <a:avLst/>
          </a:prstGeom>
          <a:solidFill>
            <a:srgbClr val="168DC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Fire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</a:t>
            </a: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Safety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Design)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ADEDC97-02B4-4423-9D04-593C5E00AB50}"/>
              </a:ext>
            </a:extLst>
          </p:cNvPr>
          <p:cNvSpPr/>
          <p:nvPr/>
        </p:nvSpPr>
        <p:spPr bwMode="auto">
          <a:xfrm>
            <a:off x="2828925" y="5593412"/>
            <a:ext cx="5089963" cy="704994"/>
          </a:xfrm>
          <a:prstGeom prst="rect">
            <a:avLst/>
          </a:prstGeom>
          <a:solidFill>
            <a:srgbClr val="168DC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600" dirty="0" err="1">
                <a:latin typeface="Arial" charset="0"/>
                <a:ea typeface="ヒラギノ角ゴ ProN W3" charset="0"/>
                <a:sym typeface="Arial" charset="0"/>
              </a:rPr>
              <a:t>Fire</a:t>
            </a:r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 </a:t>
            </a:r>
            <a:r>
              <a:rPr lang="de-DE" sz="1600" dirty="0" err="1">
                <a:latin typeface="Arial" charset="0"/>
                <a:ea typeface="ヒラギノ角ゴ ProN W3" charset="0"/>
                <a:sym typeface="Arial" charset="0"/>
              </a:rPr>
              <a:t>Safety</a:t>
            </a:r>
            <a:endParaRPr lang="de-DE" sz="1600" dirty="0">
              <a:latin typeface="Arial" charset="0"/>
              <a:ea typeface="ヒラギノ角ゴ ProN W3" charset="0"/>
              <a:sym typeface="Arial" charset="0"/>
            </a:endParaRPr>
          </a:p>
          <a:p>
            <a:pPr algn="ctr"/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(</a:t>
            </a:r>
            <a:r>
              <a:rPr lang="de-DE" sz="1600" dirty="0" err="1">
                <a:latin typeface="Arial" charset="0"/>
                <a:ea typeface="ヒラギノ角ゴ ProN W3" charset="0"/>
                <a:sym typeface="Arial" charset="0"/>
              </a:rPr>
              <a:t>during</a:t>
            </a:r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 </a:t>
            </a:r>
            <a:r>
              <a:rPr lang="de-DE" sz="1600" dirty="0" err="1">
                <a:latin typeface="Arial" charset="0"/>
                <a:ea typeface="ヒラギノ角ゴ ProN W3" charset="0"/>
                <a:sym typeface="Arial" charset="0"/>
              </a:rPr>
              <a:t>construction</a:t>
            </a:r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 and </a:t>
            </a:r>
            <a:r>
              <a:rPr lang="de-DE" sz="1600" dirty="0" err="1">
                <a:latin typeface="Arial" charset="0"/>
                <a:ea typeface="ヒラギノ角ゴ ProN W3" charset="0"/>
                <a:sym typeface="Arial" charset="0"/>
              </a:rPr>
              <a:t>commissioing</a:t>
            </a:r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FA7807-E0DC-4C80-AEB3-49ED3B69AD5D}"/>
              </a:ext>
            </a:extLst>
          </p:cNvPr>
          <p:cNvSpPr/>
          <p:nvPr/>
        </p:nvSpPr>
        <p:spPr bwMode="auto">
          <a:xfrm>
            <a:off x="733424" y="6364937"/>
            <a:ext cx="2050257" cy="9788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Plann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LPh1-5)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D483A39-DC65-4B3D-88EA-1AB1143D3137}"/>
              </a:ext>
            </a:extLst>
          </p:cNvPr>
          <p:cNvSpPr/>
          <p:nvPr/>
        </p:nvSpPr>
        <p:spPr bwMode="auto">
          <a:xfrm>
            <a:off x="2828925" y="6364937"/>
            <a:ext cx="6275553" cy="9788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Planner</a:t>
            </a:r>
          </a:p>
          <a:p>
            <a:pPr algn="ctr"/>
            <a:r>
              <a:rPr lang="de-DE" sz="1600" dirty="0">
                <a:latin typeface="Arial" charset="0"/>
                <a:ea typeface="ヒラギノ角ゴ ProN W3" charset="0"/>
                <a:sym typeface="Arial" charset="0"/>
              </a:rPr>
              <a:t>(LPh8-9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BFF78AB-85C0-4A9A-8CC9-5CD557F940B6}"/>
              </a:ext>
            </a:extLst>
          </p:cNvPr>
          <p:cNvSpPr/>
          <p:nvPr/>
        </p:nvSpPr>
        <p:spPr bwMode="auto">
          <a:xfrm>
            <a:off x="3824287" y="7395874"/>
            <a:ext cx="5280191" cy="513524"/>
          </a:xfrm>
          <a:prstGeom prst="rect">
            <a:avLst/>
          </a:prstGeom>
          <a:solidFill>
            <a:srgbClr val="E8DA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Owner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(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training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und 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instruction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)  (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turnover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and </a:t>
            </a:r>
            <a:r>
              <a:rPr lang="de-DE" sz="1600" dirty="0" err="1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operation</a:t>
            </a: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)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8CFB4B3-11D1-4E5F-832B-47F5AF50FEB6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1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Concept</a:t>
            </a:r>
          </a:p>
          <a:p>
            <a:pPr marL="57150" eaLnBrk="0" hangingPunct="0"/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Responsibilities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9CE17A5-D2F8-4001-B232-8FD3017BD278}"/>
              </a:ext>
            </a:extLst>
          </p:cNvPr>
          <p:cNvSpPr txBox="1"/>
          <p:nvPr/>
        </p:nvSpPr>
        <p:spPr>
          <a:xfrm>
            <a:off x="9286043" y="1982261"/>
            <a:ext cx="3543267" cy="544251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de-DE" sz="1800" dirty="0">
                <a:solidFill>
                  <a:srgbClr val="00599D"/>
                </a:solidFill>
              </a:rPr>
              <a:t>The </a:t>
            </a:r>
            <a:r>
              <a:rPr lang="de-DE" sz="1800" dirty="0" err="1">
                <a:solidFill>
                  <a:srgbClr val="00599D"/>
                </a:solidFill>
              </a:rPr>
              <a:t>commissioning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process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of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each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technical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facility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consists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br>
              <a:rPr lang="de-DE" sz="1800" dirty="0">
                <a:solidFill>
                  <a:srgbClr val="00599D"/>
                </a:solidFill>
              </a:rPr>
            </a:br>
            <a:r>
              <a:rPr lang="de-DE" sz="1800" dirty="0" err="1">
                <a:solidFill>
                  <a:srgbClr val="00599D"/>
                </a:solidFill>
              </a:rPr>
              <a:t>of</a:t>
            </a:r>
            <a:r>
              <a:rPr lang="de-DE" sz="1800" dirty="0">
                <a:solidFill>
                  <a:srgbClr val="00599D"/>
                </a:solidFill>
              </a:rPr>
              <a:t> 7 </a:t>
            </a:r>
            <a:r>
              <a:rPr lang="de-DE" sz="1800" dirty="0" err="1">
                <a:solidFill>
                  <a:srgbClr val="00599D"/>
                </a:solidFill>
              </a:rPr>
              <a:t>phases</a:t>
            </a:r>
            <a:r>
              <a:rPr lang="de-DE" sz="1800" dirty="0">
                <a:solidFill>
                  <a:srgbClr val="00599D"/>
                </a:solidFill>
              </a:rPr>
              <a:t>:</a:t>
            </a:r>
          </a:p>
          <a:p>
            <a:pPr algn="l">
              <a:lnSpc>
                <a:spcPct val="150000"/>
              </a:lnSpc>
            </a:pP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Design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Construction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Construction </a:t>
            </a:r>
            <a:r>
              <a:rPr lang="de-DE" sz="1800" dirty="0" err="1">
                <a:solidFill>
                  <a:srgbClr val="00599D"/>
                </a:solidFill>
              </a:rPr>
              <a:t>verification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Internal </a:t>
            </a:r>
            <a:r>
              <a:rPr lang="de-DE" sz="1800" dirty="0" err="1">
                <a:solidFill>
                  <a:srgbClr val="00599D"/>
                </a:solidFill>
              </a:rPr>
              <a:t>commissioning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Integrated </a:t>
            </a:r>
            <a:r>
              <a:rPr lang="de-DE" sz="1800" dirty="0" err="1">
                <a:solidFill>
                  <a:srgbClr val="00599D"/>
                </a:solidFill>
              </a:rPr>
              <a:t>commissioining</a:t>
            </a:r>
            <a:endParaRPr lang="de-DE" sz="1800" dirty="0">
              <a:solidFill>
                <a:srgbClr val="00599D"/>
              </a:solidFill>
            </a:endParaRP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Plant-</a:t>
            </a:r>
            <a:r>
              <a:rPr lang="de-DE" sz="1800" dirty="0" err="1">
                <a:solidFill>
                  <a:srgbClr val="00599D"/>
                </a:solidFill>
              </a:rPr>
              <a:t>wide</a:t>
            </a:r>
            <a:r>
              <a:rPr lang="de-DE" sz="1800" dirty="0">
                <a:solidFill>
                  <a:srgbClr val="00599D"/>
                </a:solidFill>
              </a:rPr>
              <a:t> </a:t>
            </a:r>
            <a:r>
              <a:rPr lang="de-DE" sz="1800" dirty="0" err="1">
                <a:solidFill>
                  <a:srgbClr val="00599D"/>
                </a:solidFill>
              </a:rPr>
              <a:t>commissioing</a:t>
            </a:r>
            <a:r>
              <a:rPr lang="de-DE" sz="1800" dirty="0">
                <a:solidFill>
                  <a:srgbClr val="00599D"/>
                </a:solidFill>
              </a:rPr>
              <a:t> and </a:t>
            </a:r>
            <a:r>
              <a:rPr lang="de-DE" sz="1800" dirty="0" err="1">
                <a:solidFill>
                  <a:srgbClr val="00599D"/>
                </a:solidFill>
              </a:rPr>
              <a:t>testing</a:t>
            </a:r>
            <a:r>
              <a:rPr lang="de-DE" sz="1800" dirty="0">
                <a:solidFill>
                  <a:srgbClr val="00599D"/>
                </a:solidFill>
              </a:rPr>
              <a:t> (</a:t>
            </a:r>
            <a:r>
              <a:rPr lang="de-DE" sz="1800" dirty="0" err="1">
                <a:solidFill>
                  <a:srgbClr val="00599D"/>
                </a:solidFill>
              </a:rPr>
              <a:t>approval</a:t>
            </a:r>
            <a:r>
              <a:rPr lang="de-DE" sz="1800" dirty="0">
                <a:solidFill>
                  <a:srgbClr val="00599D"/>
                </a:solidFill>
              </a:rPr>
              <a:t>)</a:t>
            </a:r>
          </a:p>
          <a:p>
            <a:pPr marL="400050" indent="-400050" algn="l">
              <a:lnSpc>
                <a:spcPct val="150000"/>
              </a:lnSpc>
              <a:buFont typeface="+mj-lt"/>
              <a:buAutoNum type="romanUcPeriod"/>
            </a:pPr>
            <a:r>
              <a:rPr lang="de-DE" sz="1800" dirty="0">
                <a:solidFill>
                  <a:srgbClr val="00599D"/>
                </a:solidFill>
              </a:rPr>
              <a:t>Start-up and </a:t>
            </a:r>
            <a:r>
              <a:rPr lang="de-DE" sz="1800" dirty="0" err="1">
                <a:solidFill>
                  <a:srgbClr val="00599D"/>
                </a:solidFill>
              </a:rPr>
              <a:t>operation</a:t>
            </a:r>
            <a:endParaRPr lang="de-DE" sz="1800" dirty="0">
              <a:solidFill>
                <a:srgbClr val="00599D"/>
              </a:solidFill>
            </a:endParaRPr>
          </a:p>
          <a:p>
            <a:pPr algn="l">
              <a:lnSpc>
                <a:spcPct val="150000"/>
              </a:lnSpc>
            </a:pPr>
            <a:endParaRPr lang="de-DE" sz="1800" dirty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41727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069057-9CDF-46FE-82DA-4043BDF5F9E8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2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Strategy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Power Suppl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ADB0E6-FA23-446C-B664-F8A7A5B61F7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82" t="2799" r="4902" b="11765"/>
          <a:stretch/>
        </p:blipFill>
        <p:spPr>
          <a:xfrm>
            <a:off x="155048" y="2192783"/>
            <a:ext cx="12807902" cy="6205491"/>
          </a:xfrm>
          <a:prstGeom prst="rect">
            <a:avLst/>
          </a:prstGeom>
        </p:spPr>
      </p:pic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7A7B7572-6A28-484C-AD6B-A83CA6DA668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7717196"/>
              </p:ext>
            </p:extLst>
          </p:nvPr>
        </p:nvGraphicFramePr>
        <p:xfrm>
          <a:off x="9917128" y="8683133"/>
          <a:ext cx="3238500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Objekt-Manager-Shellobjekt" showAsIcon="1" r:id="rId4" imgW="3238373" imgH="514553" progId="Package">
                  <p:embed/>
                </p:oleObj>
              </mc:Choice>
              <mc:Fallback>
                <p:oleObj name="Objekt-Manager-Shellobjekt" showAsIcon="1" r:id="rId4" imgW="3238373" imgH="514553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17128" y="8683133"/>
                        <a:ext cx="3238500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855797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069057-9CDF-46FE-82DA-4043BDF5F9E8}"/>
              </a:ext>
            </a:extLst>
          </p:cNvPr>
          <p:cNvSpPr/>
          <p:nvPr/>
        </p:nvSpPr>
        <p:spPr>
          <a:xfrm>
            <a:off x="309712" y="178651"/>
            <a:ext cx="109452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7774" bIns="0" anchor="t">
            <a:spAutoFit/>
          </a:bodyPr>
          <a:lstStyle/>
          <a:p>
            <a:pPr marL="57150" eaLnBrk="0" hangingPunct="0"/>
            <a:r>
              <a:rPr lang="de-DE" alt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TOP 2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Commissioning</a:t>
            </a:r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 </a:t>
            </a:r>
            <a:r>
              <a:rPr lang="de-DE" sz="2800" b="1" dirty="0" err="1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Strategy</a:t>
            </a:r>
            <a:endParaRPr lang="de-DE" sz="2800" b="1" dirty="0">
              <a:solidFill>
                <a:srgbClr val="003366"/>
              </a:solidFill>
              <a:latin typeface="+mj-lt"/>
              <a:ea typeface="ヒラギノ角ゴ ProN W3"/>
              <a:cs typeface="Arial"/>
            </a:endParaRPr>
          </a:p>
          <a:p>
            <a:pPr marL="57150" eaLnBrk="0" hangingPunct="0"/>
            <a:r>
              <a:rPr lang="de-DE" sz="2800" b="1" dirty="0">
                <a:solidFill>
                  <a:srgbClr val="003366"/>
                </a:solidFill>
                <a:latin typeface="+mj-lt"/>
                <a:ea typeface="ヒラギノ角ゴ ProN W3"/>
                <a:cs typeface="Arial"/>
              </a:rPr>
              <a:t>Power Supply (General Power)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24BC8E3-1855-4E5E-A222-1F569C90D7AE}"/>
              </a:ext>
            </a:extLst>
          </p:cNvPr>
          <p:cNvSpPr/>
          <p:nvPr/>
        </p:nvSpPr>
        <p:spPr bwMode="auto">
          <a:xfrm>
            <a:off x="3537750" y="3575767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0719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5BDBD74-2605-4D14-A224-B57985C84A9D}"/>
              </a:ext>
            </a:extLst>
          </p:cNvPr>
          <p:cNvSpPr/>
          <p:nvPr/>
        </p:nvSpPr>
        <p:spPr bwMode="auto">
          <a:xfrm>
            <a:off x="3539229" y="6156217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314A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813D66D6-A163-4F7C-9F44-9CBF0BF2F7AB}"/>
              </a:ext>
            </a:extLst>
          </p:cNvPr>
          <p:cNvSpPr/>
          <p:nvPr/>
        </p:nvSpPr>
        <p:spPr bwMode="auto">
          <a:xfrm>
            <a:off x="1748900" y="1688046"/>
            <a:ext cx="1038687" cy="97654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UA</a:t>
            </a:r>
            <a:b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</a:b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Nord</a:t>
            </a:r>
          </a:p>
          <a:p>
            <a:pPr algn="ctr"/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PP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DF1C18B4-1395-4FDB-9A2D-93EC62BBD6A6}"/>
              </a:ext>
            </a:extLst>
          </p:cNvPr>
          <p:cNvSpPr/>
          <p:nvPr/>
        </p:nvSpPr>
        <p:spPr bwMode="auto">
          <a:xfrm>
            <a:off x="1748899" y="7840272"/>
            <a:ext cx="1038687" cy="97654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UA</a:t>
            </a:r>
            <a:b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</a:br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Süd</a:t>
            </a:r>
          </a:p>
          <a:p>
            <a:pPr algn="ctr"/>
            <a:r>
              <a:rPr lang="de-DE" sz="1600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AV</a:t>
            </a:r>
          </a:p>
        </p:txBody>
      </p:sp>
      <p:cxnSp>
        <p:nvCxnSpPr>
          <p:cNvPr id="9" name="Verbinder: gewinkelt 8">
            <a:extLst>
              <a:ext uri="{FF2B5EF4-FFF2-40B4-BE49-F238E27FC236}">
                <a16:creationId xmlns:a16="http://schemas.microsoft.com/office/drawing/2014/main" id="{154999F8-7F25-4E9C-AA25-EDDD6B88DC4E}"/>
              </a:ext>
            </a:extLst>
          </p:cNvPr>
          <p:cNvCxnSpPr>
            <a:cxnSpLocks/>
            <a:stCxn id="4" idx="4"/>
            <a:endCxn id="3" idx="0"/>
          </p:cNvCxnSpPr>
          <p:nvPr/>
        </p:nvCxnSpPr>
        <p:spPr bwMode="auto">
          <a:xfrm rot="16200000" flipH="1">
            <a:off x="2809173" y="2123659"/>
            <a:ext cx="911178" cy="199303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22C929DC-C04B-4613-A0FA-2A87A32C726D}"/>
              </a:ext>
            </a:extLst>
          </p:cNvPr>
          <p:cNvCxnSpPr>
            <a:cxnSpLocks/>
            <a:stCxn id="3" idx="1"/>
            <a:endCxn id="7" idx="0"/>
          </p:cNvCxnSpPr>
          <p:nvPr/>
        </p:nvCxnSpPr>
        <p:spPr bwMode="auto">
          <a:xfrm rot="10800000" flipV="1">
            <a:off x="2268244" y="3828780"/>
            <a:ext cx="1269507" cy="4011491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4005E46C-5803-408E-A774-A2A2FC1DE053}"/>
              </a:ext>
            </a:extLst>
          </p:cNvPr>
          <p:cNvCxnSpPr>
            <a:cxnSpLocks/>
            <a:stCxn id="7" idx="0"/>
            <a:endCxn id="5" idx="1"/>
          </p:cNvCxnSpPr>
          <p:nvPr/>
        </p:nvCxnSpPr>
        <p:spPr bwMode="auto">
          <a:xfrm rot="5400000" flipH="1" flipV="1">
            <a:off x="2188216" y="6489259"/>
            <a:ext cx="1431041" cy="1270986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6D680124-142A-4278-9907-41A5043B4F7C}"/>
              </a:ext>
            </a:extLst>
          </p:cNvPr>
          <p:cNvSpPr/>
          <p:nvPr/>
        </p:nvSpPr>
        <p:spPr bwMode="auto">
          <a:xfrm>
            <a:off x="5740892" y="2058554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720A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3E979BA-DB11-408F-87A9-94C041B0942D}"/>
              </a:ext>
            </a:extLst>
          </p:cNvPr>
          <p:cNvSpPr/>
          <p:nvPr/>
        </p:nvSpPr>
        <p:spPr bwMode="auto">
          <a:xfrm>
            <a:off x="5740891" y="2817160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923A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5DB01B7-49C4-47CC-B839-37B241CA0852}"/>
              </a:ext>
            </a:extLst>
          </p:cNvPr>
          <p:cNvSpPr/>
          <p:nvPr/>
        </p:nvSpPr>
        <p:spPr bwMode="auto">
          <a:xfrm>
            <a:off x="5740891" y="357576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608A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05B82BD-4FD2-4E44-8BD6-408CD891FE92}"/>
              </a:ext>
            </a:extLst>
          </p:cNvPr>
          <p:cNvSpPr/>
          <p:nvPr/>
        </p:nvSpPr>
        <p:spPr bwMode="auto">
          <a:xfrm>
            <a:off x="5740890" y="433437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H0705A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57E4A32-9753-449D-B7F3-68799BDFB24B}"/>
              </a:ext>
            </a:extLst>
          </p:cNvPr>
          <p:cNvSpPr/>
          <p:nvPr/>
        </p:nvSpPr>
        <p:spPr bwMode="auto">
          <a:xfrm>
            <a:off x="7942551" y="433437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516A</a:t>
            </a:r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F8BE8B82-9291-4B0C-95F5-B71D88A1E862}"/>
              </a:ext>
            </a:extLst>
          </p:cNvPr>
          <p:cNvCxnSpPr>
            <a:cxnSpLocks/>
            <a:stCxn id="3" idx="3"/>
            <a:endCxn id="23" idx="1"/>
          </p:cNvCxnSpPr>
          <p:nvPr/>
        </p:nvCxnSpPr>
        <p:spPr bwMode="auto">
          <a:xfrm flipV="1">
            <a:off x="4984811" y="2311568"/>
            <a:ext cx="756081" cy="151721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Verbinder: gewinkelt 30">
            <a:extLst>
              <a:ext uri="{FF2B5EF4-FFF2-40B4-BE49-F238E27FC236}">
                <a16:creationId xmlns:a16="http://schemas.microsoft.com/office/drawing/2014/main" id="{767E94A6-15D7-410E-8D04-CCFB00BD4683}"/>
              </a:ext>
            </a:extLst>
          </p:cNvPr>
          <p:cNvCxnSpPr>
            <a:cxnSpLocks/>
            <a:stCxn id="3" idx="3"/>
            <a:endCxn id="24" idx="1"/>
          </p:cNvCxnSpPr>
          <p:nvPr/>
        </p:nvCxnSpPr>
        <p:spPr bwMode="auto">
          <a:xfrm flipV="1">
            <a:off x="4984811" y="3070174"/>
            <a:ext cx="756080" cy="75860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1E04F4E-ABEB-4F9C-A1A7-E987CD43FA72}"/>
              </a:ext>
            </a:extLst>
          </p:cNvPr>
          <p:cNvCxnSpPr>
            <a:cxnSpLocks/>
            <a:stCxn id="3" idx="3"/>
            <a:endCxn id="25" idx="1"/>
          </p:cNvCxnSpPr>
          <p:nvPr/>
        </p:nvCxnSpPr>
        <p:spPr bwMode="auto">
          <a:xfrm flipV="1">
            <a:off x="4984811" y="3828780"/>
            <a:ext cx="756080" cy="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Verbinder: gewinkelt 36">
            <a:extLst>
              <a:ext uri="{FF2B5EF4-FFF2-40B4-BE49-F238E27FC236}">
                <a16:creationId xmlns:a16="http://schemas.microsoft.com/office/drawing/2014/main" id="{EF6F4967-25BE-44A1-9CB1-EFF0175179B5}"/>
              </a:ext>
            </a:extLst>
          </p:cNvPr>
          <p:cNvCxnSpPr>
            <a:cxnSpLocks/>
            <a:stCxn id="3" idx="3"/>
            <a:endCxn id="26" idx="1"/>
          </p:cNvCxnSpPr>
          <p:nvPr/>
        </p:nvCxnSpPr>
        <p:spPr bwMode="auto">
          <a:xfrm>
            <a:off x="4984811" y="3828781"/>
            <a:ext cx="756079" cy="758605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993DCAA0-0648-413F-8D22-95BB1483CBE2}"/>
              </a:ext>
            </a:extLst>
          </p:cNvPr>
          <p:cNvSpPr/>
          <p:nvPr/>
        </p:nvSpPr>
        <p:spPr bwMode="auto">
          <a:xfrm>
            <a:off x="5740890" y="615621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308A</a:t>
            </a: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A25F2BEA-68E7-46A5-969E-48C23AEB68F2}"/>
              </a:ext>
            </a:extLst>
          </p:cNvPr>
          <p:cNvCxnSpPr>
            <a:stCxn id="3" idx="2"/>
            <a:endCxn id="5" idx="0"/>
          </p:cNvCxnSpPr>
          <p:nvPr/>
        </p:nvCxnSpPr>
        <p:spPr bwMode="auto">
          <a:xfrm rot="16200000" flipH="1">
            <a:off x="3224809" y="5118266"/>
            <a:ext cx="2074422" cy="1479"/>
          </a:xfrm>
          <a:prstGeom prst="bentConnector3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FB45FD12-6B63-4C6D-AF5D-01B4C8660494}"/>
              </a:ext>
            </a:extLst>
          </p:cNvPr>
          <p:cNvCxnSpPr>
            <a:cxnSpLocks/>
            <a:stCxn id="5" idx="3"/>
            <a:endCxn id="44" idx="1"/>
          </p:cNvCxnSpPr>
          <p:nvPr/>
        </p:nvCxnSpPr>
        <p:spPr bwMode="auto">
          <a:xfrm flipV="1">
            <a:off x="4986290" y="6409230"/>
            <a:ext cx="754600" cy="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C30F3369-D6FF-480E-9918-8E82AE42F4AD}"/>
              </a:ext>
            </a:extLst>
          </p:cNvPr>
          <p:cNvSpPr/>
          <p:nvPr/>
        </p:nvSpPr>
        <p:spPr bwMode="auto">
          <a:xfrm>
            <a:off x="10144212" y="433437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409A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69EEEA33-8E04-4F9F-BFC3-02F3C8A18461}"/>
              </a:ext>
            </a:extLst>
          </p:cNvPr>
          <p:cNvCxnSpPr>
            <a:stCxn id="26" idx="3"/>
            <a:endCxn id="27" idx="1"/>
          </p:cNvCxnSpPr>
          <p:nvPr/>
        </p:nvCxnSpPr>
        <p:spPr bwMode="auto">
          <a:xfrm>
            <a:off x="7187951" y="4587386"/>
            <a:ext cx="754600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65DA866-E6A4-4582-A101-817DAFB85B3A}"/>
              </a:ext>
            </a:extLst>
          </p:cNvPr>
          <p:cNvCxnSpPr>
            <a:cxnSpLocks/>
            <a:stCxn id="27" idx="3"/>
            <a:endCxn id="50" idx="1"/>
          </p:cNvCxnSpPr>
          <p:nvPr/>
        </p:nvCxnSpPr>
        <p:spPr bwMode="auto">
          <a:xfrm>
            <a:off x="9389612" y="4587386"/>
            <a:ext cx="754600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Rechteck 56">
            <a:extLst>
              <a:ext uri="{FF2B5EF4-FFF2-40B4-BE49-F238E27FC236}">
                <a16:creationId xmlns:a16="http://schemas.microsoft.com/office/drawing/2014/main" id="{7E8AEDE5-DBB2-4179-BCF1-2B572ED8C8B5}"/>
              </a:ext>
            </a:extLst>
          </p:cNvPr>
          <p:cNvSpPr/>
          <p:nvPr/>
        </p:nvSpPr>
        <p:spPr bwMode="auto">
          <a:xfrm>
            <a:off x="5740890" y="692883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321A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30B7E576-54AF-4940-A6E0-A29925347388}"/>
              </a:ext>
            </a:extLst>
          </p:cNvPr>
          <p:cNvSpPr/>
          <p:nvPr/>
        </p:nvSpPr>
        <p:spPr bwMode="auto">
          <a:xfrm>
            <a:off x="5740889" y="770145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406A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A03085CB-867D-45FC-B256-681262489FEF}"/>
              </a:ext>
            </a:extLst>
          </p:cNvPr>
          <p:cNvSpPr/>
          <p:nvPr/>
        </p:nvSpPr>
        <p:spPr bwMode="auto">
          <a:xfrm>
            <a:off x="7952904" y="692883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410A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A6ED2BD2-8190-4F32-ACCA-FB9B2CA2A910}"/>
              </a:ext>
            </a:extLst>
          </p:cNvPr>
          <p:cNvSpPr/>
          <p:nvPr/>
        </p:nvSpPr>
        <p:spPr bwMode="auto">
          <a:xfrm>
            <a:off x="7942550" y="6156216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L0317A</a:t>
            </a:r>
          </a:p>
        </p:txBody>
      </p:sp>
      <p:cxnSp>
        <p:nvCxnSpPr>
          <p:cNvPr id="61" name="Verbinder: gewinkelt 60">
            <a:extLst>
              <a:ext uri="{FF2B5EF4-FFF2-40B4-BE49-F238E27FC236}">
                <a16:creationId xmlns:a16="http://schemas.microsoft.com/office/drawing/2014/main" id="{88AF97FF-EACC-4DAE-9B29-A12497D7CE60}"/>
              </a:ext>
            </a:extLst>
          </p:cNvPr>
          <p:cNvCxnSpPr>
            <a:cxnSpLocks/>
            <a:stCxn id="57" idx="3"/>
            <a:endCxn id="60" idx="1"/>
          </p:cNvCxnSpPr>
          <p:nvPr/>
        </p:nvCxnSpPr>
        <p:spPr bwMode="auto">
          <a:xfrm flipV="1">
            <a:off x="7187951" y="6409230"/>
            <a:ext cx="754599" cy="77262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E9FFF109-E9FD-47F2-8E6A-643333CB53AE}"/>
              </a:ext>
            </a:extLst>
          </p:cNvPr>
          <p:cNvCxnSpPr>
            <a:cxnSpLocks/>
            <a:endCxn id="59" idx="1"/>
          </p:cNvCxnSpPr>
          <p:nvPr/>
        </p:nvCxnSpPr>
        <p:spPr bwMode="auto">
          <a:xfrm flipV="1">
            <a:off x="7292512" y="7181850"/>
            <a:ext cx="660392" cy="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Verbinder: gewinkelt 66">
            <a:extLst>
              <a:ext uri="{FF2B5EF4-FFF2-40B4-BE49-F238E27FC236}">
                <a16:creationId xmlns:a16="http://schemas.microsoft.com/office/drawing/2014/main" id="{81901ECD-A01B-4381-B3E8-4B15DB82889B}"/>
              </a:ext>
            </a:extLst>
          </p:cNvPr>
          <p:cNvCxnSpPr>
            <a:cxnSpLocks/>
            <a:stCxn id="5" idx="3"/>
            <a:endCxn id="57" idx="1"/>
          </p:cNvCxnSpPr>
          <p:nvPr/>
        </p:nvCxnSpPr>
        <p:spPr bwMode="auto">
          <a:xfrm>
            <a:off x="4986290" y="6409231"/>
            <a:ext cx="754600" cy="77261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B17DF3D8-06F2-4CB8-9524-706D354F5722}"/>
              </a:ext>
            </a:extLst>
          </p:cNvPr>
          <p:cNvSpPr/>
          <p:nvPr/>
        </p:nvSpPr>
        <p:spPr bwMode="auto">
          <a:xfrm>
            <a:off x="5740888" y="5096294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G0704A</a:t>
            </a:r>
          </a:p>
        </p:txBody>
      </p:sp>
      <p:cxnSp>
        <p:nvCxnSpPr>
          <p:cNvPr id="71" name="Verbinder: gewinkelt 70">
            <a:extLst>
              <a:ext uri="{FF2B5EF4-FFF2-40B4-BE49-F238E27FC236}">
                <a16:creationId xmlns:a16="http://schemas.microsoft.com/office/drawing/2014/main" id="{181D9B54-2169-4D8B-91FA-F795773008E3}"/>
              </a:ext>
            </a:extLst>
          </p:cNvPr>
          <p:cNvCxnSpPr>
            <a:cxnSpLocks/>
            <a:stCxn id="3" idx="3"/>
            <a:endCxn id="70" idx="1"/>
          </p:cNvCxnSpPr>
          <p:nvPr/>
        </p:nvCxnSpPr>
        <p:spPr bwMode="auto">
          <a:xfrm>
            <a:off x="4984811" y="3828781"/>
            <a:ext cx="756077" cy="152052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hteck 73">
            <a:extLst>
              <a:ext uri="{FF2B5EF4-FFF2-40B4-BE49-F238E27FC236}">
                <a16:creationId xmlns:a16="http://schemas.microsoft.com/office/drawing/2014/main" id="{6CAC47A9-18D1-4E1B-8DA6-0E056062E15E}"/>
              </a:ext>
            </a:extLst>
          </p:cNvPr>
          <p:cNvSpPr/>
          <p:nvPr/>
        </p:nvSpPr>
        <p:spPr bwMode="auto">
          <a:xfrm>
            <a:off x="7942546" y="5092978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G0702A</a:t>
            </a: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53854E1C-0E00-49A0-8CE1-6364969EFA7E}"/>
              </a:ext>
            </a:extLst>
          </p:cNvPr>
          <p:cNvCxnSpPr>
            <a:cxnSpLocks/>
            <a:stCxn id="70" idx="3"/>
            <a:endCxn id="74" idx="1"/>
          </p:cNvCxnSpPr>
          <p:nvPr/>
        </p:nvCxnSpPr>
        <p:spPr bwMode="auto">
          <a:xfrm flipV="1">
            <a:off x="7187949" y="5345992"/>
            <a:ext cx="754597" cy="331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hteck 77">
            <a:extLst>
              <a:ext uri="{FF2B5EF4-FFF2-40B4-BE49-F238E27FC236}">
                <a16:creationId xmlns:a16="http://schemas.microsoft.com/office/drawing/2014/main" id="{596BB688-8545-4116-8B2D-AB07A54795CE}"/>
              </a:ext>
            </a:extLst>
          </p:cNvPr>
          <p:cNvSpPr/>
          <p:nvPr/>
        </p:nvSpPr>
        <p:spPr bwMode="auto">
          <a:xfrm>
            <a:off x="7942546" y="3578625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617A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D3F442-4EC3-4F8C-BF76-9107D7BE238D}"/>
              </a:ext>
            </a:extLst>
          </p:cNvPr>
          <p:cNvSpPr/>
          <p:nvPr/>
        </p:nvSpPr>
        <p:spPr bwMode="auto">
          <a:xfrm>
            <a:off x="7938116" y="2816942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619A</a:t>
            </a:r>
          </a:p>
        </p:txBody>
      </p:sp>
      <p:cxnSp>
        <p:nvCxnSpPr>
          <p:cNvPr id="80" name="Verbinder: gewinkelt 79">
            <a:extLst>
              <a:ext uri="{FF2B5EF4-FFF2-40B4-BE49-F238E27FC236}">
                <a16:creationId xmlns:a16="http://schemas.microsoft.com/office/drawing/2014/main" id="{4F481D1B-2490-463A-A6DF-17ECBDB9D315}"/>
              </a:ext>
            </a:extLst>
          </p:cNvPr>
          <p:cNvCxnSpPr>
            <a:cxnSpLocks/>
            <a:stCxn id="26" idx="3"/>
            <a:endCxn id="79" idx="1"/>
          </p:cNvCxnSpPr>
          <p:nvPr/>
        </p:nvCxnSpPr>
        <p:spPr bwMode="auto">
          <a:xfrm flipV="1">
            <a:off x="7187951" y="3069956"/>
            <a:ext cx="750165" cy="151743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Verbinder: gewinkelt 82">
            <a:extLst>
              <a:ext uri="{FF2B5EF4-FFF2-40B4-BE49-F238E27FC236}">
                <a16:creationId xmlns:a16="http://schemas.microsoft.com/office/drawing/2014/main" id="{7060D7D3-AC5E-4405-8C0B-A150738CF72F}"/>
              </a:ext>
            </a:extLst>
          </p:cNvPr>
          <p:cNvCxnSpPr>
            <a:cxnSpLocks/>
            <a:stCxn id="26" idx="3"/>
            <a:endCxn id="78" idx="1"/>
          </p:cNvCxnSpPr>
          <p:nvPr/>
        </p:nvCxnSpPr>
        <p:spPr bwMode="auto">
          <a:xfrm flipV="1">
            <a:off x="7187951" y="3831639"/>
            <a:ext cx="754595" cy="75574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523DDC5D-BEDA-4837-954B-9C7D269F465B}"/>
              </a:ext>
            </a:extLst>
          </p:cNvPr>
          <p:cNvCxnSpPr>
            <a:cxnSpLocks/>
            <a:stCxn id="5" idx="3"/>
            <a:endCxn id="58" idx="1"/>
          </p:cNvCxnSpPr>
          <p:nvPr/>
        </p:nvCxnSpPr>
        <p:spPr bwMode="auto">
          <a:xfrm>
            <a:off x="4986290" y="6409231"/>
            <a:ext cx="754599" cy="154523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hteck 88">
            <a:extLst>
              <a:ext uri="{FF2B5EF4-FFF2-40B4-BE49-F238E27FC236}">
                <a16:creationId xmlns:a16="http://schemas.microsoft.com/office/drawing/2014/main" id="{E0B7293E-16E5-4E63-A231-4D4F58CB0A4E}"/>
              </a:ext>
            </a:extLst>
          </p:cNvPr>
          <p:cNvSpPr/>
          <p:nvPr/>
        </p:nvSpPr>
        <p:spPr bwMode="auto">
          <a:xfrm>
            <a:off x="10144211" y="5090119"/>
            <a:ext cx="1447061" cy="5060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K0503A</a:t>
            </a:r>
          </a:p>
        </p:txBody>
      </p:sp>
      <p:cxnSp>
        <p:nvCxnSpPr>
          <p:cNvPr id="90" name="Verbinder: gewinkelt 89">
            <a:extLst>
              <a:ext uri="{FF2B5EF4-FFF2-40B4-BE49-F238E27FC236}">
                <a16:creationId xmlns:a16="http://schemas.microsoft.com/office/drawing/2014/main" id="{B9CD1661-5AE2-4C0F-B181-65A1DCDE0A01}"/>
              </a:ext>
            </a:extLst>
          </p:cNvPr>
          <p:cNvCxnSpPr>
            <a:cxnSpLocks/>
            <a:stCxn id="27" idx="3"/>
            <a:endCxn id="89" idx="1"/>
          </p:cNvCxnSpPr>
          <p:nvPr/>
        </p:nvCxnSpPr>
        <p:spPr bwMode="auto">
          <a:xfrm>
            <a:off x="9389612" y="4587386"/>
            <a:ext cx="754599" cy="75574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BE0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6" name="Freihandform: Form 95">
            <a:extLst>
              <a:ext uri="{FF2B5EF4-FFF2-40B4-BE49-F238E27FC236}">
                <a16:creationId xmlns:a16="http://schemas.microsoft.com/office/drawing/2014/main" id="{03AF0077-9DAF-4891-A356-90C97AE0A26F}"/>
              </a:ext>
            </a:extLst>
          </p:cNvPr>
          <p:cNvSpPr/>
          <p:nvPr/>
        </p:nvSpPr>
        <p:spPr bwMode="auto">
          <a:xfrm>
            <a:off x="2432482" y="2148396"/>
            <a:ext cx="3311370" cy="5708342"/>
          </a:xfrm>
          <a:custGeom>
            <a:avLst/>
            <a:gdLst>
              <a:gd name="connsiteX0" fmla="*/ 0 w 3311370"/>
              <a:gd name="connsiteY0" fmla="*/ 5708342 h 5708342"/>
              <a:gd name="connsiteX1" fmla="*/ 692458 w 3311370"/>
              <a:gd name="connsiteY1" fmla="*/ 1074198 h 5708342"/>
              <a:gd name="connsiteX2" fmla="*/ 3311370 w 3311370"/>
              <a:gd name="connsiteY2" fmla="*/ 0 h 5708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11370" h="5708342">
                <a:moveTo>
                  <a:pt x="0" y="5708342"/>
                </a:moveTo>
                <a:cubicBezTo>
                  <a:pt x="70281" y="3866965"/>
                  <a:pt x="140563" y="2025588"/>
                  <a:pt x="692458" y="1074198"/>
                </a:cubicBezTo>
                <a:cubicBezTo>
                  <a:pt x="1244353" y="122808"/>
                  <a:pt x="2962182" y="115410"/>
                  <a:pt x="3311370" y="0"/>
                </a:cubicBezTo>
              </a:path>
            </a:pathLst>
          </a:custGeom>
          <a:noFill/>
          <a:ln w="38100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3F64AA0D-BDD5-4CBB-8132-4D781B2291F8}"/>
              </a:ext>
            </a:extLst>
          </p:cNvPr>
          <p:cNvSpPr txBox="1"/>
          <p:nvPr/>
        </p:nvSpPr>
        <p:spPr>
          <a:xfrm rot="20014184">
            <a:off x="2632522" y="2357854"/>
            <a:ext cx="21146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rgbClr val="0070C0"/>
                </a:solidFill>
              </a:rPr>
              <a:t>provisional</a:t>
            </a:r>
            <a:r>
              <a:rPr lang="de-DE" sz="1400" dirty="0">
                <a:solidFill>
                  <a:srgbClr val="0070C0"/>
                </a:solidFill>
              </a:rPr>
              <a:t> Link 12/2024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2BFCC092-1F72-4E5A-8AF9-543A98CE30C2}"/>
              </a:ext>
            </a:extLst>
          </p:cNvPr>
          <p:cNvSpPr txBox="1"/>
          <p:nvPr/>
        </p:nvSpPr>
        <p:spPr>
          <a:xfrm>
            <a:off x="3573496" y="2768904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2/2025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FD87BCC3-E8FE-4B1B-A602-17AB0187A3A2}"/>
              </a:ext>
            </a:extLst>
          </p:cNvPr>
          <p:cNvSpPr txBox="1"/>
          <p:nvPr/>
        </p:nvSpPr>
        <p:spPr>
          <a:xfrm>
            <a:off x="2493463" y="6058485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4/2025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1A532166-9B22-44EC-938B-8F9294435B26}"/>
              </a:ext>
            </a:extLst>
          </p:cNvPr>
          <p:cNvSpPr txBox="1"/>
          <p:nvPr/>
        </p:nvSpPr>
        <p:spPr>
          <a:xfrm>
            <a:off x="2469701" y="3818541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>
                <a:solidFill>
                  <a:srgbClr val="00B050"/>
                </a:solidFill>
              </a:rPr>
              <a:t>Q4/2025</a:t>
            </a:r>
          </a:p>
        </p:txBody>
      </p:sp>
    </p:spTree>
    <p:extLst>
      <p:ext uri="{BB962C8B-B14F-4D97-AF65-F5344CB8AC3E}">
        <p14:creationId xmlns:p14="http://schemas.microsoft.com/office/powerpoint/2010/main" val="36000553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j.UgDSzWCQel805q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j.UgDSzWCQel805qN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j.UgDSzWCQel805qNFw"/>
</p:tagLst>
</file>

<file path=ppt/theme/theme1.xml><?xml version="1.0" encoding="utf-8"?>
<a:theme xmlns:a="http://schemas.openxmlformats.org/drawingml/2006/main" name="Vorlage_Präsentation Gensior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8FF"/>
      </a:accent1>
      <a:accent2>
        <a:srgbClr val="333399"/>
      </a:accent2>
      <a:accent3>
        <a:srgbClr val="FFFFFF"/>
      </a:accent3>
      <a:accent4>
        <a:srgbClr val="000000"/>
      </a:accent4>
      <a:accent5>
        <a:srgbClr val="AAD8F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Arial"/>
        <a:ea typeface="ヒラギノ角ゴ ProN W3"/>
        <a:cs typeface="ヒラギノ角ゴ ProN W3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82BA2E1314C0442B88A2EDFDA9A3971" ma:contentTypeVersion="18" ma:contentTypeDescription="Ein neues Dokument erstellen." ma:contentTypeScope="" ma:versionID="f40ca634c91b4c335e5d6720546f58c7">
  <xsd:schema xmlns:xsd="http://www.w3.org/2001/XMLSchema" xmlns:xs="http://www.w3.org/2001/XMLSchema" xmlns:p="http://schemas.microsoft.com/office/2006/metadata/properties" xmlns:ns2="2f769cef-ac90-419a-9a38-2cb0893ec5a9" xmlns:ns3="d80c50d3-5300-4cc6-960c-111bd22096bf" targetNamespace="http://schemas.microsoft.com/office/2006/metadata/properties" ma:root="true" ma:fieldsID="1435cbb7c03982d39b41d378e1b13f3b" ns2:_="" ns3:_="">
    <xsd:import namespace="2f769cef-ac90-419a-9a38-2cb0893ec5a9"/>
    <xsd:import namespace="d80c50d3-5300-4cc6-960c-111bd22096b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769cef-ac90-419a-9a38-2cb0893ec5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00890d99-d67a-41ac-8b34-f6631a239d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0c50d3-5300-4cc6-960c-111bd22096b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9e56e94-8d19-4ce0-a8a6-a27d0e145918}" ma:internalName="TaxCatchAll" ma:showField="CatchAllData" ma:web="d80c50d3-5300-4cc6-960c-111bd22096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80c50d3-5300-4cc6-960c-111bd22096bf" xsi:nil="true"/>
    <lcf76f155ced4ddcb4097134ff3c332f xmlns="2f769cef-ac90-419a-9a38-2cb0893ec5a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6639759-B1B1-469D-9718-DB92630A4D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769cef-ac90-419a-9a38-2cb0893ec5a9"/>
    <ds:schemaRef ds:uri="d80c50d3-5300-4cc6-960c-111bd22096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AE24A5-5F8F-44D4-A615-FDC3020324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9ECC4D6-CD6A-48A2-8D66-F97019E8455C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d80c50d3-5300-4cc6-960c-111bd22096bf"/>
    <ds:schemaRef ds:uri="2f769cef-ac90-419a-9a38-2cb0893ec5a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0</Words>
  <Application>Microsoft Office PowerPoint</Application>
  <PresentationFormat>Benutzerdefiniert</PresentationFormat>
  <Paragraphs>225</Paragraphs>
  <Slides>14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14</vt:i4>
      </vt:variant>
    </vt:vector>
  </HeadingPairs>
  <TitlesOfParts>
    <vt:vector size="23" baseType="lpstr">
      <vt:lpstr>Arial Italic</vt:lpstr>
      <vt:lpstr>Arial</vt:lpstr>
      <vt:lpstr>Arial Narrow</vt:lpstr>
      <vt:lpstr>Calibri</vt:lpstr>
      <vt:lpstr>Wingdings 2</vt:lpstr>
      <vt:lpstr>Vorlage_Präsentation Gensior</vt:lpstr>
      <vt:lpstr>think-cell Folie</vt:lpstr>
      <vt:lpstr>Objekt-Manager-Shellobjekt</vt:lpstr>
      <vt:lpstr>Pake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SI Helmholzzentrum für Schwerionenforschung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eb, Jessica</dc:creator>
  <cp:lastModifiedBy>May, Holger</cp:lastModifiedBy>
  <cp:revision>667</cp:revision>
  <cp:lastPrinted>2024-10-24T13:07:40Z</cp:lastPrinted>
  <dcterms:created xsi:type="dcterms:W3CDTF">2015-01-29T12:40:21Z</dcterms:created>
  <dcterms:modified xsi:type="dcterms:W3CDTF">2024-11-06T10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2BA2E1314C0442B88A2EDFDA9A3971</vt:lpwstr>
  </property>
  <property fmtid="{D5CDD505-2E9C-101B-9397-08002B2CF9AE}" pid="3" name="MediaServiceImageTags">
    <vt:lpwstr/>
  </property>
</Properties>
</file>